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2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tags/tag63.xml" ContentType="application/vnd.openxmlformats-officedocument.presentationml.tags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64.xml" ContentType="application/vnd.openxmlformats-officedocument.presentationml.tags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71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72.xml" ContentType="application/vnd.openxmlformats-officedocument.presentationml.tag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73.xml" ContentType="application/vnd.openxmlformats-officedocument.presentationml.tags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74.xml" ContentType="application/vnd.openxmlformats-officedocument.presentationml.tags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3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67"/>
  </p:notesMasterIdLst>
  <p:handoutMasterIdLst>
    <p:handoutMasterId r:id="rId68"/>
  </p:handoutMasterIdLst>
  <p:sldIdLst>
    <p:sldId id="341" r:id="rId5"/>
    <p:sldId id="337" r:id="rId6"/>
    <p:sldId id="335" r:id="rId7"/>
    <p:sldId id="284" r:id="rId8"/>
    <p:sldId id="318" r:id="rId9"/>
    <p:sldId id="339" r:id="rId10"/>
    <p:sldId id="257" r:id="rId11"/>
    <p:sldId id="258" r:id="rId12"/>
    <p:sldId id="259" r:id="rId13"/>
    <p:sldId id="260" r:id="rId14"/>
    <p:sldId id="261" r:id="rId15"/>
    <p:sldId id="262" r:id="rId16"/>
    <p:sldId id="263" r:id="rId17"/>
    <p:sldId id="264" r:id="rId18"/>
    <p:sldId id="265" r:id="rId19"/>
    <p:sldId id="266" r:id="rId20"/>
    <p:sldId id="267" r:id="rId21"/>
    <p:sldId id="268" r:id="rId22"/>
    <p:sldId id="269" r:id="rId23"/>
    <p:sldId id="270" r:id="rId24"/>
    <p:sldId id="271" r:id="rId25"/>
    <p:sldId id="272" r:id="rId26"/>
    <p:sldId id="273" r:id="rId27"/>
    <p:sldId id="274" r:id="rId28"/>
    <p:sldId id="275" r:id="rId29"/>
    <p:sldId id="291" r:id="rId30"/>
    <p:sldId id="293" r:id="rId31"/>
    <p:sldId id="276" r:id="rId32"/>
    <p:sldId id="277" r:id="rId33"/>
    <p:sldId id="279" r:id="rId34"/>
    <p:sldId id="280" r:id="rId35"/>
    <p:sldId id="281" r:id="rId36"/>
    <p:sldId id="282" r:id="rId37"/>
    <p:sldId id="285" r:id="rId38"/>
    <p:sldId id="283" r:id="rId39"/>
    <p:sldId id="286" r:id="rId40"/>
    <p:sldId id="287" r:id="rId41"/>
    <p:sldId id="288" r:id="rId42"/>
    <p:sldId id="278" r:id="rId43"/>
    <p:sldId id="289" r:id="rId44"/>
    <p:sldId id="290" r:id="rId45"/>
    <p:sldId id="294" r:id="rId46"/>
    <p:sldId id="295" r:id="rId47"/>
    <p:sldId id="296" r:id="rId48"/>
    <p:sldId id="297" r:id="rId49"/>
    <p:sldId id="298" r:id="rId50"/>
    <p:sldId id="299" r:id="rId51"/>
    <p:sldId id="300" r:id="rId52"/>
    <p:sldId id="301" r:id="rId53"/>
    <p:sldId id="302" r:id="rId54"/>
    <p:sldId id="303" r:id="rId55"/>
    <p:sldId id="304" r:id="rId56"/>
    <p:sldId id="305" r:id="rId57"/>
    <p:sldId id="306" r:id="rId58"/>
    <p:sldId id="307" r:id="rId59"/>
    <p:sldId id="309" r:id="rId60"/>
    <p:sldId id="310" r:id="rId61"/>
    <p:sldId id="311" r:id="rId62"/>
    <p:sldId id="314" r:id="rId63"/>
    <p:sldId id="315" r:id="rId64"/>
    <p:sldId id="316" r:id="rId65"/>
    <p:sldId id="317" r:id="rId66"/>
  </p:sldIdLst>
  <p:sldSz cx="12192000" cy="6858000"/>
  <p:notesSz cx="6858000" cy="9144000"/>
  <p:custDataLst>
    <p:tags r:id="rId6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el" id="{B876642A-CAE4-49D5-8EEE-113F5705A5F2}">
          <p14:sldIdLst>
            <p14:sldId id="341"/>
          </p14:sldIdLst>
        </p14:section>
        <p14:section name="Mini-Styleguide" id="{39D5ADB3-DA69-460C-A06D-3683522E5CF4}">
          <p14:sldIdLst>
            <p14:sldId id="337"/>
            <p14:sldId id="335"/>
            <p14:sldId id="284"/>
            <p14:sldId id="318"/>
          </p14:sldIdLst>
        </p14:section>
        <p14:section name="Titelfolien" id="{7C158C2B-C8AD-42F3-B142-2CD313E20D57}">
          <p14:sldIdLst>
            <p14:sldId id="339"/>
            <p14:sldId id="257"/>
            <p14:sldId id="258"/>
            <p14:sldId id="259"/>
            <p14:sldId id="260"/>
            <p14:sldId id="261"/>
            <p14:sldId id="262"/>
            <p14:sldId id="263"/>
          </p14:sldIdLst>
        </p14:section>
        <p14:section name="Kapiteltrenner" id="{09388C9B-758A-4E3B-9E0C-D7191ABB4D6D}">
          <p14:sldIdLst>
            <p14:sldId id="264"/>
            <p14:sldId id="265"/>
            <p14:sldId id="266"/>
            <p14:sldId id="267"/>
            <p14:sldId id="268"/>
            <p14:sldId id="269"/>
            <p14:sldId id="270"/>
            <p14:sldId id="271"/>
          </p14:sldIdLst>
        </p14:section>
        <p14:section name="Inhaltsfolien" id="{7C15E6B1-89C8-4AC6-A54C-AADED3436C0D}">
          <p14:sldIdLst>
            <p14:sldId id="272"/>
            <p14:sldId id="273"/>
            <p14:sldId id="274"/>
            <p14:sldId id="275"/>
            <p14:sldId id="291"/>
            <p14:sldId id="293"/>
            <p14:sldId id="276"/>
            <p14:sldId id="277"/>
            <p14:sldId id="279"/>
            <p14:sldId id="280"/>
            <p14:sldId id="281"/>
            <p14:sldId id="282"/>
            <p14:sldId id="285"/>
            <p14:sldId id="283"/>
            <p14:sldId id="286"/>
            <p14:sldId id="287"/>
            <p14:sldId id="288"/>
            <p14:sldId id="278"/>
            <p14:sldId id="289"/>
            <p14:sldId id="290"/>
          </p14:sldIdLst>
        </p14:section>
        <p14:section name="Grafiken, Diagramme, Tabellen und Icons" id="{7025344D-C4B2-4390-981A-46500C62E0C7}">
          <p14:sldIdLst>
            <p14:sldId id="294"/>
            <p14:sldId id="295"/>
            <p14:sldId id="296"/>
            <p14:sldId id="297"/>
            <p14:sldId id="298"/>
            <p14:sldId id="299"/>
            <p14:sldId id="300"/>
            <p14:sldId id="301"/>
            <p14:sldId id="302"/>
            <p14:sldId id="303"/>
            <p14:sldId id="304"/>
            <p14:sldId id="305"/>
            <p14:sldId id="306"/>
            <p14:sldId id="307"/>
            <p14:sldId id="309"/>
            <p14:sldId id="310"/>
            <p14:sldId id="311"/>
          </p14:sldIdLst>
        </p14:section>
        <p14:section name="Schlussfolien" id="{5875F8BC-CE0C-4DA9-A7F2-7873CB727C86}">
          <p14:sldIdLst>
            <p14:sldId id="314"/>
            <p14:sldId id="315"/>
            <p14:sldId id="316"/>
            <p14:sldId id="31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00779A"/>
    <a:srgbClr val="FFFFFF"/>
    <a:srgbClr val="1C768F"/>
    <a:srgbClr val="09B2AC"/>
    <a:srgbClr val="014A6B"/>
    <a:srgbClr val="4DC7D2"/>
    <a:srgbClr val="04B1AA"/>
    <a:srgbClr val="32BBC7"/>
    <a:srgbClr val="05B1A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06" autoAdjust="0"/>
    <p:restoredTop sz="96008" autoAdjust="0"/>
  </p:normalViewPr>
  <p:slideViewPr>
    <p:cSldViewPr snapToGrid="0" showGuides="1">
      <p:cViewPr varScale="1">
        <p:scale>
          <a:sx n="105" d="100"/>
          <a:sy n="105" d="100"/>
        </p:scale>
        <p:origin x="138" y="22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287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63" Type="http://schemas.openxmlformats.org/officeDocument/2006/relationships/slide" Target="slides/slide59.xml"/><Relationship Id="rId68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71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slide" Target="slides/slide62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61" Type="http://schemas.openxmlformats.org/officeDocument/2006/relationships/slide" Target="slides/slide57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tags" Target="tags/tag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notesMaster" Target="notesMasters/notesMaster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a 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belle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Tabelle1!$B$2:$B$3</c:f>
              <c:numCache>
                <c:formatCode>General</c:formatCode>
                <c:ptCount val="2"/>
                <c:pt idx="0">
                  <c:v>4.3</c:v>
                </c:pt>
                <c:pt idx="1">
                  <c:v>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C2-4E39-914E-8FE9D1856587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a 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abelle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Tabelle1!$C$2:$C$3</c:f>
              <c:numCache>
                <c:formatCode>General</c:formatCode>
                <c:ptCount val="2"/>
                <c:pt idx="0">
                  <c:v>2.4</c:v>
                </c:pt>
                <c:pt idx="1">
                  <c:v>4.4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5C2-4E39-914E-8FE9D1856587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a 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Tabelle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Tabelle1!$D$2:$D$3</c:f>
              <c:numCache>
                <c:formatCode>General</c:formatCode>
                <c:ptCount val="2"/>
                <c:pt idx="0">
                  <c:v>2</c:v>
                </c:pt>
                <c:pt idx="1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5C2-4E39-914E-8FE9D1856587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Data series 4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Tabelle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Tabelle1!$E$2:$E$3</c:f>
              <c:numCache>
                <c:formatCode>General</c:formatCode>
                <c:ptCount val="2"/>
                <c:pt idx="0">
                  <c:v>4.3</c:v>
                </c:pt>
                <c:pt idx="1">
                  <c:v>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5C2-4E39-914E-8FE9D1856587}"/>
            </c:ext>
          </c:extLst>
        </c:ser>
        <c:ser>
          <c:idx val="4"/>
          <c:order val="4"/>
          <c:tx>
            <c:strRef>
              <c:f>Tabelle1!$F$1</c:f>
              <c:strCache>
                <c:ptCount val="1"/>
                <c:pt idx="0">
                  <c:v>Data series 5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Tabelle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Tabelle1!$F$2:$F$3</c:f>
              <c:numCache>
                <c:formatCode>General</c:formatCode>
                <c:ptCount val="2"/>
                <c:pt idx="0">
                  <c:v>2.4</c:v>
                </c:pt>
                <c:pt idx="1">
                  <c:v>4.4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5C2-4E39-914E-8FE9D1856587}"/>
            </c:ext>
          </c:extLst>
        </c:ser>
        <c:ser>
          <c:idx val="5"/>
          <c:order val="5"/>
          <c:tx>
            <c:strRef>
              <c:f>Tabelle1!$G$1</c:f>
              <c:strCache>
                <c:ptCount val="1"/>
                <c:pt idx="0">
                  <c:v>Datenreihe 6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Tabelle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Tabelle1!$G$2:$G$3</c:f>
              <c:numCache>
                <c:formatCode>General</c:formatCode>
                <c:ptCount val="2"/>
                <c:pt idx="0">
                  <c:v>2</c:v>
                </c:pt>
                <c:pt idx="1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5C2-4E39-914E-8FE9D18565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1663655"/>
        <c:axId val="51656767"/>
      </c:barChart>
      <c:catAx>
        <c:axId val="5166365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51656767"/>
        <c:crosses val="autoZero"/>
        <c:auto val="1"/>
        <c:lblAlgn val="ctr"/>
        <c:lblOffset val="100"/>
        <c:noMultiLvlLbl val="0"/>
      </c:catAx>
      <c:valAx>
        <c:axId val="51656767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166365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ln>
              <a:solidFill>
                <a:srgbClr val="E5EEF2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rgbClr val="E5EEF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437-4F9A-BDDD-7DEE46A3DEF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rgbClr val="E5EEF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437-4F9A-BDDD-7DEE46A3DEF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rgbClr val="E5EEF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437-4F9A-BDDD-7DEE46A3DEF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rgbClr val="E5EEF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D437-4F9A-BDDD-7DEE46A3DEFC}"/>
              </c:ext>
            </c:extLst>
          </c:dPt>
          <c:dLbls>
            <c:numFmt formatCode="General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5</c:f>
              <c:strCache>
                <c:ptCount val="4"/>
                <c:pt idx="0">
                  <c:v>1. Quartal</c:v>
                </c:pt>
                <c:pt idx="1">
                  <c:v>2. Quartal</c:v>
                </c:pt>
                <c:pt idx="2">
                  <c:v>3. Quartal</c:v>
                </c:pt>
                <c:pt idx="3">
                  <c:v>4. Quartal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36-4BA9-8765-9AAAEC5EC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125149647345342"/>
          <c:y val="4.860242276159496E-2"/>
          <c:w val="0.80204560224932786"/>
          <c:h val="0.8554264855237786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1"/>
            </a:solidFill>
            <a:ln w="19050"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FC63-480A-9CE6-31525FD4A2B9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FC63-480A-9CE6-31525FD4A2B9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FC63-480A-9CE6-31525FD4A2B9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FC63-480A-9CE6-31525FD4A2B9}"/>
              </c:ext>
            </c:extLst>
          </c:dPt>
          <c:dLbls>
            <c:dLbl>
              <c:idx val="0"/>
              <c:layout>
                <c:manualLayout>
                  <c:x val="0"/>
                  <c:y val="-7.4772958094762847E-3"/>
                </c:manualLayout>
              </c:layout>
              <c:tx>
                <c:rich>
                  <a:bodyPr rot="0" spcFirstLastPara="1" vertOverflow="ellipsis" vert="horz" wrap="square" lIns="0" tIns="0" rIns="0" bIns="0" anchor="ctr" anchorCtr="0">
                    <a:spAutoFit/>
                  </a:bodyPr>
                  <a:lstStyle/>
                  <a:p>
                    <a:pPr algn="l">
                      <a:defRPr sz="1400" b="0" i="0" u="none" strike="noStrike" kern="1200" baseline="0">
                        <a:solidFill>
                          <a:schemeClr val="tx1"/>
                        </a:solidFill>
                        <a:latin typeface="Frutiger LT Com 65 Bold" panose="020B0803030504020204" pitchFamily="34" charset="0"/>
                        <a:ea typeface="+mn-ea"/>
                        <a:cs typeface="+mn-cs"/>
                      </a:defRPr>
                    </a:pPr>
                    <a:fld id="{8446F5CF-3BCF-4AF5-A5CF-0D1FB6836C9B}" type="VALUE">
                      <a:rPr lang="en-US" smtClean="0">
                        <a:solidFill>
                          <a:schemeClr val="tx1"/>
                        </a:solidFill>
                        <a:latin typeface="Frutiger LT Com 65 Bold" panose="020B0803030504020204" pitchFamily="34" charset="0"/>
                      </a:rPr>
                      <a:pPr algn="l">
                        <a:defRPr sz="1400" b="0" i="0" u="none" strike="noStrike" kern="1200" baseline="0">
                          <a:solidFill>
                            <a:schemeClr val="tx1"/>
                          </a:solidFill>
                          <a:latin typeface="Frutiger LT Com 65 Bold" panose="020B0803030504020204" pitchFamily="34" charset="0"/>
                          <a:ea typeface="+mn-ea"/>
                          <a:cs typeface="+mn-cs"/>
                        </a:defRPr>
                      </a:pPr>
                      <a:t>[WERT]</a:t>
                    </a:fld>
                    <a:endParaRPr lang="de-DE"/>
                  </a:p>
                </c:rich>
              </c:tx>
              <c:numFmt formatCode="General" sourceLinked="0"/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; 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FC63-480A-9CE6-31525FD4A2B9}"/>
                </c:ext>
              </c:extLst>
            </c:dLbl>
            <c:dLbl>
              <c:idx val="1"/>
              <c:layout>
                <c:manualLayout>
                  <c:x val="1.0425716768027796E-2"/>
                  <c:y val="-3.7386479047380669E-3"/>
                </c:manualLayout>
              </c:layout>
              <c:numFmt formatCode="General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0" tIns="0" rIns="0" bIns="0" anchor="ctr" anchorCtr="0">
                  <a:noAutofit/>
                </a:bodyPr>
                <a:lstStyle/>
                <a:p>
                  <a:pPr algn="l">
                    <a:defRPr sz="1400" b="0" i="0" u="none" strike="noStrike" kern="1200" baseline="0">
                      <a:solidFill>
                        <a:schemeClr val="tx1"/>
                      </a:solidFill>
                      <a:latin typeface="Frutiger LT Com 65 Bold" panose="020B0803030504020204" pitchFamily="34" charset="0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; </c:separator>
              <c:extLst>
                <c:ext xmlns:c15="http://schemas.microsoft.com/office/drawing/2012/chart" uri="{CE6537A1-D6FC-4f65-9D91-7224C49458BB}">
                  <c15:layout>
                    <c:manualLayout>
                      <c:w val="9.8905299739357064E-2"/>
                      <c:h val="8.150252432329002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FC63-480A-9CE6-31525FD4A2B9}"/>
                </c:ext>
              </c:extLst>
            </c:dLbl>
            <c:dLbl>
              <c:idx val="2"/>
              <c:layout>
                <c:manualLayout>
                  <c:x val="1.0425785178242815E-2"/>
                  <c:y val="-1.8693239523690369E-3"/>
                </c:manualLayout>
              </c:layout>
              <c:numFmt formatCode="General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0" tIns="0" rIns="0" bIns="0" anchor="ctr" anchorCtr="0">
                  <a:noAutofit/>
                </a:bodyPr>
                <a:lstStyle/>
                <a:p>
                  <a:pPr algn="l">
                    <a:defRPr sz="1400" b="0" i="0" u="none" strike="noStrike" kern="1200" baseline="0">
                      <a:solidFill>
                        <a:schemeClr val="tx1"/>
                      </a:solidFill>
                      <a:latin typeface="Frutiger LT Com 65 Bold" panose="020B0803030504020204" pitchFamily="34" charset="0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; </c:separator>
              <c:extLst>
                <c:ext xmlns:c15="http://schemas.microsoft.com/office/drawing/2012/chart" uri="{CE6537A1-D6FC-4f65-9D91-7224C49458BB}">
                  <c15:layout>
                    <c:manualLayout>
                      <c:w val="9.8105994787141604E-2"/>
                      <c:h val="9.271846803750423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FC63-480A-9CE6-31525FD4A2B9}"/>
                </c:ext>
              </c:extLst>
            </c:dLbl>
            <c:dLbl>
              <c:idx val="3"/>
              <c:layout>
                <c:manualLayout>
                  <c:x val="5.2128583840139013E-3"/>
                  <c:y val="1.8693239523690057E-3"/>
                </c:manualLayout>
              </c:layout>
              <c:tx>
                <c:rich>
                  <a:bodyPr rot="0" spcFirstLastPara="1" vertOverflow="ellipsis" vert="horz" wrap="square" lIns="0" tIns="0" rIns="0" bIns="0" anchor="ctr" anchorCtr="0">
                    <a:noAutofit/>
                  </a:bodyPr>
                  <a:lstStyle/>
                  <a:p>
                    <a:pPr algn="l">
                      <a:defRPr sz="1400" b="0" i="0" u="none" strike="noStrike" kern="1200" baseline="0">
                        <a:solidFill>
                          <a:schemeClr val="tx1"/>
                        </a:solidFill>
                        <a:latin typeface="Frutiger LT Com 65 Bold" panose="020B0803030504020204" pitchFamily="34" charset="0"/>
                        <a:ea typeface="+mn-ea"/>
                        <a:cs typeface="+mn-cs"/>
                      </a:defRPr>
                    </a:pPr>
                    <a:fld id="{1115D675-0A17-4573-84E2-2C04B29EADFA}" type="VALUE">
                      <a:rPr lang="en-US" smtClean="0"/>
                      <a:pPr algn="l">
                        <a:defRPr sz="1400" b="0" i="0" u="none" strike="noStrike" kern="1200" baseline="0">
                          <a:solidFill>
                            <a:schemeClr val="tx1"/>
                          </a:solidFill>
                          <a:latin typeface="Frutiger LT Com 65 Bold" panose="020B0803030504020204" pitchFamily="34" charset="0"/>
                          <a:ea typeface="+mn-ea"/>
                          <a:cs typeface="+mn-cs"/>
                        </a:defRPr>
                      </a:pPr>
                      <a:t>[WERT]</a:t>
                    </a:fld>
                    <a:endParaRPr lang="de-DE"/>
                  </a:p>
                </c:rich>
              </c:tx>
              <c:numFmt formatCode="General" sourceLinked="0"/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; </c:separator>
              <c:extLst>
                <c:ext xmlns:c15="http://schemas.microsoft.com/office/drawing/2012/chart" uri="{CE6537A1-D6FC-4f65-9D91-7224C49458BB}">
                  <c15:layout>
                    <c:manualLayout>
                      <c:w val="9.3525246789850663E-2"/>
                      <c:h val="7.7531609237698501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FC63-480A-9CE6-31525FD4A2B9}"/>
                </c:ext>
              </c:extLst>
            </c:dLbl>
            <c:numFmt formatCode="General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0" tIns="0" rIns="0" bIns="0" anchor="ctr" anchorCtr="0">
                <a:spAutoFit/>
              </a:bodyPr>
              <a:lstStyle/>
              <a:p>
                <a:pPr algn="l">
                  <a:defRPr sz="1400" b="0" i="0" u="none" strike="noStrike" kern="1200" baseline="0">
                    <a:solidFill>
                      <a:schemeClr val="tx1"/>
                    </a:solidFill>
                    <a:latin typeface="Frutiger LT Com 65 Bold" panose="020B0803030504020204" pitchFamily="34" charset="0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; </c:separator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:$A$5</c:f>
              <c:strCache>
                <c:ptCount val="4"/>
                <c:pt idx="0">
                  <c:v>1st quarter</c:v>
                </c:pt>
                <c:pt idx="1">
                  <c:v>2nd quarter</c:v>
                </c:pt>
                <c:pt idx="2">
                  <c:v>3rd quarter</c:v>
                </c:pt>
                <c:pt idx="3">
                  <c:v>4th quarter</c:v>
                </c:pt>
              </c:strCache>
            </c:strRef>
          </c:cat>
          <c:val>
            <c:numRef>
              <c:f>Tabelle1!$B$2:$B$5</c:f>
              <c:numCache>
                <c:formatCode>_-* #\ ##0_-;\-* #\ ##0_-;_-* "-"??_-;_-@_-</c:formatCode>
                <c:ptCount val="4"/>
                <c:pt idx="0">
                  <c:v>12350</c:v>
                </c:pt>
                <c:pt idx="1">
                  <c:v>8345</c:v>
                </c:pt>
                <c:pt idx="2">
                  <c:v>8020</c:v>
                </c:pt>
                <c:pt idx="3">
                  <c:v>67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C63-480A-9CE6-31525FD4A2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01669791"/>
        <c:axId val="701681023"/>
      </c:barChart>
      <c:valAx>
        <c:axId val="70168102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bg1"/>
              </a:solidFill>
              <a:round/>
            </a:ln>
            <a:effectLst/>
          </c:spPr>
        </c:majorGridlines>
        <c:numFmt formatCode="General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701669791"/>
        <c:crosses val="autoZero"/>
        <c:crossBetween val="between"/>
      </c:valAx>
      <c:catAx>
        <c:axId val="70166979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70168102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a 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1E4-4671-921C-BF57155DAB95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a 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1E4-4671-921C-BF57155DAB95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a 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0.5</c:v>
                </c:pt>
                <c:pt idx="1">
                  <c:v>0.7</c:v>
                </c:pt>
                <c:pt idx="2">
                  <c:v>1</c:v>
                </c:pt>
                <c:pt idx="3">
                  <c:v>0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1E4-4671-921C-BF57155DAB95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Data series 4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E$2:$E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1E4-4671-921C-BF57155DAB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overlap val="100"/>
        <c:axId val="1228459888"/>
        <c:axId val="1228460216"/>
      </c:barChart>
      <c:catAx>
        <c:axId val="12284598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228460216"/>
        <c:crosses val="autoZero"/>
        <c:auto val="1"/>
        <c:lblAlgn val="ctr"/>
        <c:lblOffset val="100"/>
        <c:noMultiLvlLbl val="0"/>
      </c:catAx>
      <c:valAx>
        <c:axId val="1228460216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12284598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91416087551280112"/>
          <c:y val="0.76586274483261452"/>
          <c:w val="7.9056371266192249E-2"/>
          <c:h val="0.2092897876191867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General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1st quarter</c:v>
                </c:pt>
                <c:pt idx="1">
                  <c:v>2nd quarter</c:v>
                </c:pt>
                <c:pt idx="2">
                  <c:v>3rd quarter</c:v>
                </c:pt>
                <c:pt idx="3">
                  <c:v>4th quarter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12350</c:v>
                </c:pt>
                <c:pt idx="1">
                  <c:v>8345</c:v>
                </c:pt>
                <c:pt idx="2">
                  <c:v>8020</c:v>
                </c:pt>
                <c:pt idx="3">
                  <c:v>67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B4F-45EA-B912-F9E851A39D70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numFmt formatCode="General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1st quarter</c:v>
                </c:pt>
                <c:pt idx="1">
                  <c:v>2nd quarter</c:v>
                </c:pt>
                <c:pt idx="2">
                  <c:v>3rd quarter</c:v>
                </c:pt>
                <c:pt idx="3">
                  <c:v>4th quarter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11750</c:v>
                </c:pt>
                <c:pt idx="1">
                  <c:v>8200</c:v>
                </c:pt>
                <c:pt idx="2">
                  <c:v>7930</c:v>
                </c:pt>
                <c:pt idx="3">
                  <c:v>63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B4F-45EA-B912-F9E851A39D70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numFmt formatCode="General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1st quarter</c:v>
                </c:pt>
                <c:pt idx="1">
                  <c:v>2nd quarter</c:v>
                </c:pt>
                <c:pt idx="2">
                  <c:v>3rd quarter</c:v>
                </c:pt>
                <c:pt idx="3">
                  <c:v>4th quarter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9850</c:v>
                </c:pt>
                <c:pt idx="1">
                  <c:v>6890</c:v>
                </c:pt>
                <c:pt idx="2">
                  <c:v>4567</c:v>
                </c:pt>
                <c:pt idx="3">
                  <c:v>26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B4F-45EA-B912-F9E851A39D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0"/>
        <c:overlap val="-15"/>
        <c:axId val="146373487"/>
        <c:axId val="146373815"/>
      </c:barChart>
      <c:catAx>
        <c:axId val="1463734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46373815"/>
        <c:crosses val="autoZero"/>
        <c:auto val="1"/>
        <c:lblAlgn val="ctr"/>
        <c:lblOffset val="100"/>
        <c:noMultiLvlLbl val="0"/>
      </c:catAx>
      <c:valAx>
        <c:axId val="1463738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2"/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463734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DF9EA4E-5FBC-4645-BE80-060B08D93E94}" type="doc">
      <dgm:prSet loTypeId="urn:microsoft.com/office/officeart/2005/8/layout/cycle3" loCatId="cycle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687A981D-21CB-4428-9BFC-D211A2F14496}">
      <dgm:prSet phldrT="[Text]" custT="1"/>
      <dgm:spPr>
        <a:solidFill>
          <a:schemeClr val="accent1"/>
        </a:solidFill>
      </dgm:spPr>
      <dgm:t>
        <a:bodyPr/>
        <a:lstStyle/>
        <a:p>
          <a:r>
            <a:rPr kumimoji="0" lang="de-DE" sz="1600" b="0" i="0" u="none" strike="noStrike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Lorem</a:t>
          </a:r>
          <a:r>
            <a:rPr kumimoji="0" lang="de-DE" sz="1600" b="0" i="0" u="none" strike="noStrike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 </a:t>
          </a:r>
          <a:r>
            <a:rPr kumimoji="0" lang="de-DE" sz="1600" b="0" i="0" u="none" strike="noStrike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ipsum</a:t>
          </a:r>
          <a:r>
            <a:rPr kumimoji="0" lang="de-DE" sz="1600" b="0" i="0" u="none" strike="noStrike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 1,</a:t>
          </a:r>
          <a:br>
            <a:rPr kumimoji="0" lang="de-DE" sz="1600" b="0" i="0" u="none" strike="noStrike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</a:br>
          <a:r>
            <a:rPr kumimoji="0" lang="de-DE" sz="1600" b="0" i="0" u="none" strike="noStrike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16 </a:t>
          </a:r>
          <a:r>
            <a:rPr kumimoji="0" lang="de-DE" sz="1600" b="0" i="0" u="none" strike="noStrike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pt</a:t>
          </a:r>
          <a:endParaRPr lang="de-DE" sz="1600" dirty="0"/>
        </a:p>
      </dgm:t>
    </dgm:pt>
    <dgm:pt modelId="{7F316114-2989-4029-B3FC-0AA188EC42E2}" type="parTrans" cxnId="{D2B5FDD1-EF1D-48F8-8AC1-7F603B6C9228}">
      <dgm:prSet/>
      <dgm:spPr/>
      <dgm:t>
        <a:bodyPr/>
        <a:lstStyle/>
        <a:p>
          <a:endParaRPr lang="en-US"/>
        </a:p>
      </dgm:t>
    </dgm:pt>
    <dgm:pt modelId="{E0EFC91C-D6F3-4D78-B1A4-D50248459D69}" type="sibTrans" cxnId="{D2B5FDD1-EF1D-48F8-8AC1-7F603B6C9228}">
      <dgm:prSet/>
      <dgm:spPr>
        <a:solidFill>
          <a:srgbClr val="E5EEF2">
            <a:alpha val="85000"/>
          </a:srgbClr>
        </a:solidFill>
      </dgm:spPr>
      <dgm:t>
        <a:bodyPr/>
        <a:lstStyle/>
        <a:p>
          <a:endParaRPr lang="en-US"/>
        </a:p>
      </dgm:t>
    </dgm:pt>
    <dgm:pt modelId="{9BDB403E-2A00-4D1B-9173-A2F92D9B8282}">
      <dgm:prSet phldrT="[Text]" custT="1"/>
      <dgm:spPr>
        <a:solidFill>
          <a:schemeClr val="accent2"/>
        </a:solidFill>
      </dgm:spPr>
      <dgm:t>
        <a:bodyPr/>
        <a:lstStyle/>
        <a:p>
          <a:r>
            <a:rPr kumimoji="0" lang="de-DE" sz="1600" b="0" i="0" u="none" strike="noStrike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Lorem</a:t>
          </a:r>
          <a:r>
            <a:rPr kumimoji="0" lang="de-DE" sz="1600" b="0" i="0" u="none" strike="noStrike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 </a:t>
          </a:r>
          <a:r>
            <a:rPr kumimoji="0" lang="de-DE" sz="1600" b="0" i="0" u="none" strike="noStrike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ipsum</a:t>
          </a:r>
          <a:r>
            <a:rPr kumimoji="0" lang="de-DE" sz="1600" b="0" i="0" u="none" strike="noStrike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 2,</a:t>
          </a:r>
          <a:br>
            <a:rPr kumimoji="0" lang="de-DE" sz="1600" b="0" i="0" u="none" strike="noStrike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</a:br>
          <a:r>
            <a:rPr kumimoji="0" lang="de-DE" sz="1600" b="0" i="0" u="none" strike="noStrike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16 </a:t>
          </a:r>
          <a:r>
            <a:rPr kumimoji="0" lang="de-DE" sz="1600" b="0" i="0" u="none" strike="noStrike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pt</a:t>
          </a:r>
          <a:endParaRPr lang="de-DE" sz="1600" dirty="0">
            <a:solidFill>
              <a:schemeClr val="bg1"/>
            </a:solidFill>
          </a:endParaRPr>
        </a:p>
      </dgm:t>
    </dgm:pt>
    <dgm:pt modelId="{2F2C9226-23D0-4100-99D4-654515E6047F}" type="parTrans" cxnId="{142A85B4-FF15-4803-A49C-405C022DF037}">
      <dgm:prSet/>
      <dgm:spPr/>
      <dgm:t>
        <a:bodyPr/>
        <a:lstStyle/>
        <a:p>
          <a:endParaRPr lang="en-US"/>
        </a:p>
      </dgm:t>
    </dgm:pt>
    <dgm:pt modelId="{C927053B-F726-4331-877C-06A30AF0A443}" type="sibTrans" cxnId="{142A85B4-FF15-4803-A49C-405C022DF037}">
      <dgm:prSet/>
      <dgm:spPr/>
      <dgm:t>
        <a:bodyPr/>
        <a:lstStyle/>
        <a:p>
          <a:endParaRPr lang="en-US"/>
        </a:p>
      </dgm:t>
    </dgm:pt>
    <dgm:pt modelId="{81E226F7-8F07-4615-8E75-F38102DF1AA7}">
      <dgm:prSet phldrT="[Text]" custT="1"/>
      <dgm:spPr>
        <a:solidFill>
          <a:schemeClr val="accent3"/>
        </a:solidFill>
      </dgm:spPr>
      <dgm:t>
        <a:bodyPr/>
        <a:lstStyle/>
        <a:p>
          <a:r>
            <a:rPr kumimoji="0" lang="de-DE" sz="1600" b="0" i="0" u="none" strike="noStrike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Lorem</a:t>
          </a:r>
          <a:r>
            <a:rPr kumimoji="0" lang="de-DE" sz="1600" b="0" i="0" u="none" strike="noStrike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 </a:t>
          </a:r>
          <a:r>
            <a:rPr kumimoji="0" lang="de-DE" sz="1600" b="0" i="0" u="none" strike="noStrike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ipsum</a:t>
          </a:r>
          <a:r>
            <a:rPr kumimoji="0" lang="de-DE" sz="1600" b="0" i="0" u="none" strike="noStrike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 3,</a:t>
          </a:r>
          <a:br>
            <a:rPr kumimoji="0" lang="de-DE" sz="1600" b="0" i="0" u="none" strike="noStrike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</a:br>
          <a:r>
            <a:rPr kumimoji="0" lang="de-DE" sz="1600" b="0" i="0" u="none" strike="noStrike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16 </a:t>
          </a:r>
          <a:r>
            <a:rPr kumimoji="0" lang="de-DE" sz="1600" b="0" i="0" u="none" strike="noStrike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pt</a:t>
          </a:r>
          <a:endParaRPr lang="de-DE" sz="1600" dirty="0"/>
        </a:p>
      </dgm:t>
    </dgm:pt>
    <dgm:pt modelId="{4519FF76-656D-4091-9191-274CD603C647}" type="parTrans" cxnId="{529E8179-325C-4199-BCE0-C347D6F3F0E8}">
      <dgm:prSet/>
      <dgm:spPr/>
      <dgm:t>
        <a:bodyPr/>
        <a:lstStyle/>
        <a:p>
          <a:endParaRPr lang="en-US"/>
        </a:p>
      </dgm:t>
    </dgm:pt>
    <dgm:pt modelId="{D1DCDAE4-D0FF-40CC-AB9A-8F89AE5CAA2D}" type="sibTrans" cxnId="{529E8179-325C-4199-BCE0-C347D6F3F0E8}">
      <dgm:prSet/>
      <dgm:spPr/>
      <dgm:t>
        <a:bodyPr/>
        <a:lstStyle/>
        <a:p>
          <a:endParaRPr lang="en-US"/>
        </a:p>
      </dgm:t>
    </dgm:pt>
    <dgm:pt modelId="{FFADCA3C-01FC-40AA-BFD7-A1D512D0D231}">
      <dgm:prSet phldrT="[Text]" custT="1"/>
      <dgm:spPr>
        <a:solidFill>
          <a:schemeClr val="accent4"/>
        </a:solidFill>
      </dgm:spPr>
      <dgm:t>
        <a:bodyPr/>
        <a:lstStyle/>
        <a:p>
          <a:r>
            <a:rPr kumimoji="0" lang="de-DE" sz="1600" b="0" i="0" u="none" strike="noStrike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Lorem</a:t>
          </a:r>
          <a:r>
            <a:rPr kumimoji="0" lang="de-DE" sz="1600" b="0" i="0" u="none" strike="noStrike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 </a:t>
          </a:r>
          <a:r>
            <a:rPr kumimoji="0" lang="de-DE" sz="1600" b="0" i="0" u="none" strike="noStrike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ipsum</a:t>
          </a:r>
          <a:r>
            <a:rPr kumimoji="0" lang="de-DE" sz="1600" b="0" i="0" u="none" strike="noStrike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 4,</a:t>
          </a:r>
          <a:br>
            <a:rPr kumimoji="0" lang="de-DE" sz="1600" b="0" i="0" u="none" strike="noStrike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</a:br>
          <a:r>
            <a:rPr kumimoji="0" lang="de-DE" sz="1600" b="0" i="0" u="none" strike="noStrike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16 </a:t>
          </a:r>
          <a:r>
            <a:rPr kumimoji="0" lang="de-DE" sz="1600" b="0" i="0" u="none" strike="noStrike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pt</a:t>
          </a:r>
          <a:endParaRPr lang="de-DE" sz="1600" dirty="0"/>
        </a:p>
      </dgm:t>
    </dgm:pt>
    <dgm:pt modelId="{1B6FDF75-4D12-466D-BEA9-CDCE693FA2FD}" type="parTrans" cxnId="{97E02D5E-A7EF-424F-BBAF-1983E73342A9}">
      <dgm:prSet/>
      <dgm:spPr/>
      <dgm:t>
        <a:bodyPr/>
        <a:lstStyle/>
        <a:p>
          <a:endParaRPr lang="en-US"/>
        </a:p>
      </dgm:t>
    </dgm:pt>
    <dgm:pt modelId="{CBBC2834-899B-4F85-926D-B123BB1FC2A0}" type="sibTrans" cxnId="{97E02D5E-A7EF-424F-BBAF-1983E73342A9}">
      <dgm:prSet/>
      <dgm:spPr/>
      <dgm:t>
        <a:bodyPr/>
        <a:lstStyle/>
        <a:p>
          <a:endParaRPr lang="en-US"/>
        </a:p>
      </dgm:t>
    </dgm:pt>
    <dgm:pt modelId="{5AFF1478-5783-46E5-8869-1266FF7652E9}">
      <dgm:prSet phldrT="[Text]" custT="1"/>
      <dgm:spPr>
        <a:solidFill>
          <a:schemeClr val="accent5"/>
        </a:solidFill>
      </dgm:spPr>
      <dgm:t>
        <a:bodyPr/>
        <a:lstStyle/>
        <a:p>
          <a:r>
            <a:rPr kumimoji="0" lang="de-DE" sz="1600" b="0" i="0" u="none" strike="noStrike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Lorem</a:t>
          </a:r>
          <a:r>
            <a:rPr kumimoji="0" lang="de-DE" sz="1600" b="0" i="0" u="none" strike="noStrike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 </a:t>
          </a:r>
          <a:r>
            <a:rPr kumimoji="0" lang="de-DE" sz="1600" b="0" i="0" u="none" strike="noStrike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ipsum</a:t>
          </a:r>
          <a:r>
            <a:rPr kumimoji="0" lang="de-DE" sz="1600" b="0" i="0" u="none" strike="noStrike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 5,</a:t>
          </a:r>
          <a:br>
            <a:rPr kumimoji="0" lang="de-DE" sz="1600" b="0" i="0" u="none" strike="noStrike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</a:br>
          <a:r>
            <a:rPr kumimoji="0" lang="de-DE" sz="1600" b="0" i="0" u="none" strike="noStrike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16 </a:t>
          </a:r>
          <a:r>
            <a:rPr kumimoji="0" lang="de-DE" sz="1600" b="0" i="0" u="none" strike="noStrike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pt</a:t>
          </a:r>
          <a:endParaRPr lang="de-DE" sz="1600" dirty="0">
            <a:solidFill>
              <a:schemeClr val="bg1"/>
            </a:solidFill>
          </a:endParaRPr>
        </a:p>
      </dgm:t>
    </dgm:pt>
    <dgm:pt modelId="{2DF5AEF8-D628-46F8-8D6B-7A11C04C370B}" type="parTrans" cxnId="{77AE7789-87C6-493E-AB15-4FFE2039331D}">
      <dgm:prSet/>
      <dgm:spPr/>
      <dgm:t>
        <a:bodyPr/>
        <a:lstStyle/>
        <a:p>
          <a:endParaRPr lang="en-US"/>
        </a:p>
      </dgm:t>
    </dgm:pt>
    <dgm:pt modelId="{D42FC781-B6D0-4AAF-9C4A-1A4F8C987FA3}" type="sibTrans" cxnId="{77AE7789-87C6-493E-AB15-4FFE2039331D}">
      <dgm:prSet/>
      <dgm:spPr/>
      <dgm:t>
        <a:bodyPr/>
        <a:lstStyle/>
        <a:p>
          <a:endParaRPr lang="en-US"/>
        </a:p>
      </dgm:t>
    </dgm:pt>
    <dgm:pt modelId="{B3F447B6-4A0A-493D-A64A-D826AF900206}" type="pres">
      <dgm:prSet presAssocID="{6DF9EA4E-5FBC-4645-BE80-060B08D93E94}" presName="Name0" presStyleCnt="0">
        <dgm:presLayoutVars>
          <dgm:dir/>
          <dgm:resizeHandles val="exact"/>
        </dgm:presLayoutVars>
      </dgm:prSet>
      <dgm:spPr/>
    </dgm:pt>
    <dgm:pt modelId="{9FF44074-56A7-40EF-AF5A-5B5E896B1FB8}" type="pres">
      <dgm:prSet presAssocID="{6DF9EA4E-5FBC-4645-BE80-060B08D93E94}" presName="cycle" presStyleCnt="0"/>
      <dgm:spPr/>
    </dgm:pt>
    <dgm:pt modelId="{F4894C33-7B6D-431B-A0B6-8254AE637D05}" type="pres">
      <dgm:prSet presAssocID="{687A981D-21CB-4428-9BFC-D211A2F14496}" presName="nodeFirstNode" presStyleLbl="node1" presStyleIdx="0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6A43A45E-4261-4F66-AE03-531C2A960097}" type="pres">
      <dgm:prSet presAssocID="{E0EFC91C-D6F3-4D78-B1A4-D50248459D69}" presName="sibTransFirstNode" presStyleLbl="bgShp" presStyleIdx="0" presStyleCnt="1"/>
      <dgm:spPr/>
    </dgm:pt>
    <dgm:pt modelId="{24A33AEC-14F2-45C3-A1B7-CF84CB5E53BD}" type="pres">
      <dgm:prSet presAssocID="{9BDB403E-2A00-4D1B-9173-A2F92D9B8282}" presName="nodeFollowingNodes" presStyleLbl="node1" presStyleIdx="1" presStyleCnt="5" custRadScaleRad="98243" custRadScaleInc="5804">
        <dgm:presLayoutVars>
          <dgm:bulletEnabled val="1"/>
        </dgm:presLayoutVars>
      </dgm:prSet>
      <dgm:spPr>
        <a:prstGeom prst="rect">
          <a:avLst/>
        </a:prstGeom>
      </dgm:spPr>
    </dgm:pt>
    <dgm:pt modelId="{90A6A1B2-86A4-40F3-8B76-852BC194F36D}" type="pres">
      <dgm:prSet presAssocID="{81E226F7-8F07-4615-8E75-F38102DF1AA7}" presName="nodeFollowingNodes" presStyleLbl="node1" presStyleIdx="2" presStyleCnt="5" custRadScaleRad="110975" custRadScaleInc="-29713">
        <dgm:presLayoutVars>
          <dgm:bulletEnabled val="1"/>
        </dgm:presLayoutVars>
      </dgm:prSet>
      <dgm:spPr>
        <a:prstGeom prst="rect">
          <a:avLst/>
        </a:prstGeom>
      </dgm:spPr>
    </dgm:pt>
    <dgm:pt modelId="{FE36895A-0D52-46B7-B8AC-8BE37D1F4A20}" type="pres">
      <dgm:prSet presAssocID="{FFADCA3C-01FC-40AA-BFD7-A1D512D0D231}" presName="nodeFollowingNodes" presStyleLbl="node1" presStyleIdx="3" presStyleCnt="5" custRadScaleRad="102864" custRadScaleInc="24083">
        <dgm:presLayoutVars>
          <dgm:bulletEnabled val="1"/>
        </dgm:presLayoutVars>
      </dgm:prSet>
      <dgm:spPr>
        <a:prstGeom prst="rect">
          <a:avLst/>
        </a:prstGeom>
      </dgm:spPr>
    </dgm:pt>
    <dgm:pt modelId="{EBFB8B6A-D41E-4633-8545-AEE09C2A1F89}" type="pres">
      <dgm:prSet presAssocID="{5AFF1478-5783-46E5-8869-1266FF7652E9}" presName="nodeFollowingNodes" presStyleLbl="node1" presStyleIdx="4" presStyleCnt="5" custRadScaleRad="98243" custRadScaleInc="-5804">
        <dgm:presLayoutVars>
          <dgm:bulletEnabled val="1"/>
        </dgm:presLayoutVars>
      </dgm:prSet>
      <dgm:spPr>
        <a:prstGeom prst="rect">
          <a:avLst/>
        </a:prstGeom>
      </dgm:spPr>
    </dgm:pt>
  </dgm:ptLst>
  <dgm:cxnLst>
    <dgm:cxn modelId="{2866150E-A45B-4CD0-9BE0-E484A8042D8C}" type="presOf" srcId="{E0EFC91C-D6F3-4D78-B1A4-D50248459D69}" destId="{6A43A45E-4261-4F66-AE03-531C2A960097}" srcOrd="0" destOrd="0" presId="urn:microsoft.com/office/officeart/2005/8/layout/cycle3"/>
    <dgm:cxn modelId="{D574E034-10AD-418A-AE64-7777D9BC22B6}" type="presOf" srcId="{81E226F7-8F07-4615-8E75-F38102DF1AA7}" destId="{90A6A1B2-86A4-40F3-8B76-852BC194F36D}" srcOrd="0" destOrd="0" presId="urn:microsoft.com/office/officeart/2005/8/layout/cycle3"/>
    <dgm:cxn modelId="{D0616938-222C-428D-9959-9B1F1656572A}" type="presOf" srcId="{5AFF1478-5783-46E5-8869-1266FF7652E9}" destId="{EBFB8B6A-D41E-4633-8545-AEE09C2A1F89}" srcOrd="0" destOrd="0" presId="urn:microsoft.com/office/officeart/2005/8/layout/cycle3"/>
    <dgm:cxn modelId="{97E02D5E-A7EF-424F-BBAF-1983E73342A9}" srcId="{6DF9EA4E-5FBC-4645-BE80-060B08D93E94}" destId="{FFADCA3C-01FC-40AA-BFD7-A1D512D0D231}" srcOrd="3" destOrd="0" parTransId="{1B6FDF75-4D12-466D-BEA9-CDCE693FA2FD}" sibTransId="{CBBC2834-899B-4F85-926D-B123BB1FC2A0}"/>
    <dgm:cxn modelId="{AEC10C73-C376-42B9-878B-288D21368EBF}" type="presOf" srcId="{FFADCA3C-01FC-40AA-BFD7-A1D512D0D231}" destId="{FE36895A-0D52-46B7-B8AC-8BE37D1F4A20}" srcOrd="0" destOrd="0" presId="urn:microsoft.com/office/officeart/2005/8/layout/cycle3"/>
    <dgm:cxn modelId="{F6363573-786F-4F6D-ABE0-A940DDB0808B}" type="presOf" srcId="{9BDB403E-2A00-4D1B-9173-A2F92D9B8282}" destId="{24A33AEC-14F2-45C3-A1B7-CF84CB5E53BD}" srcOrd="0" destOrd="0" presId="urn:microsoft.com/office/officeart/2005/8/layout/cycle3"/>
    <dgm:cxn modelId="{529E8179-325C-4199-BCE0-C347D6F3F0E8}" srcId="{6DF9EA4E-5FBC-4645-BE80-060B08D93E94}" destId="{81E226F7-8F07-4615-8E75-F38102DF1AA7}" srcOrd="2" destOrd="0" parTransId="{4519FF76-656D-4091-9191-274CD603C647}" sibTransId="{D1DCDAE4-D0FF-40CC-AB9A-8F89AE5CAA2D}"/>
    <dgm:cxn modelId="{77AE7789-87C6-493E-AB15-4FFE2039331D}" srcId="{6DF9EA4E-5FBC-4645-BE80-060B08D93E94}" destId="{5AFF1478-5783-46E5-8869-1266FF7652E9}" srcOrd="4" destOrd="0" parTransId="{2DF5AEF8-D628-46F8-8D6B-7A11C04C370B}" sibTransId="{D42FC781-B6D0-4AAF-9C4A-1A4F8C987FA3}"/>
    <dgm:cxn modelId="{A0297A95-AF55-4B9C-87E3-65F92CC20693}" type="presOf" srcId="{687A981D-21CB-4428-9BFC-D211A2F14496}" destId="{F4894C33-7B6D-431B-A0B6-8254AE637D05}" srcOrd="0" destOrd="0" presId="urn:microsoft.com/office/officeart/2005/8/layout/cycle3"/>
    <dgm:cxn modelId="{9EBD219B-52A0-456A-90F9-96B57291C2A1}" type="presOf" srcId="{6DF9EA4E-5FBC-4645-BE80-060B08D93E94}" destId="{B3F447B6-4A0A-493D-A64A-D826AF900206}" srcOrd="0" destOrd="0" presId="urn:microsoft.com/office/officeart/2005/8/layout/cycle3"/>
    <dgm:cxn modelId="{142A85B4-FF15-4803-A49C-405C022DF037}" srcId="{6DF9EA4E-5FBC-4645-BE80-060B08D93E94}" destId="{9BDB403E-2A00-4D1B-9173-A2F92D9B8282}" srcOrd="1" destOrd="0" parTransId="{2F2C9226-23D0-4100-99D4-654515E6047F}" sibTransId="{C927053B-F726-4331-877C-06A30AF0A443}"/>
    <dgm:cxn modelId="{D2B5FDD1-EF1D-48F8-8AC1-7F603B6C9228}" srcId="{6DF9EA4E-5FBC-4645-BE80-060B08D93E94}" destId="{687A981D-21CB-4428-9BFC-D211A2F14496}" srcOrd="0" destOrd="0" parTransId="{7F316114-2989-4029-B3FC-0AA188EC42E2}" sibTransId="{E0EFC91C-D6F3-4D78-B1A4-D50248459D69}"/>
    <dgm:cxn modelId="{8433EB93-E6E0-43D4-8BED-3D44202F3C78}" type="presParOf" srcId="{B3F447B6-4A0A-493D-A64A-D826AF900206}" destId="{9FF44074-56A7-40EF-AF5A-5B5E896B1FB8}" srcOrd="0" destOrd="0" presId="urn:microsoft.com/office/officeart/2005/8/layout/cycle3"/>
    <dgm:cxn modelId="{35F3B7B1-43C7-4C6E-8D61-1FF409FB69CD}" type="presParOf" srcId="{9FF44074-56A7-40EF-AF5A-5B5E896B1FB8}" destId="{F4894C33-7B6D-431B-A0B6-8254AE637D05}" srcOrd="0" destOrd="0" presId="urn:microsoft.com/office/officeart/2005/8/layout/cycle3"/>
    <dgm:cxn modelId="{FEE28650-5AFB-46D0-A8EA-33EF69E5128A}" type="presParOf" srcId="{9FF44074-56A7-40EF-AF5A-5B5E896B1FB8}" destId="{6A43A45E-4261-4F66-AE03-531C2A960097}" srcOrd="1" destOrd="0" presId="urn:microsoft.com/office/officeart/2005/8/layout/cycle3"/>
    <dgm:cxn modelId="{F6606E9D-50BD-4FDA-9722-51EDC42BD14A}" type="presParOf" srcId="{9FF44074-56A7-40EF-AF5A-5B5E896B1FB8}" destId="{24A33AEC-14F2-45C3-A1B7-CF84CB5E53BD}" srcOrd="2" destOrd="0" presId="urn:microsoft.com/office/officeart/2005/8/layout/cycle3"/>
    <dgm:cxn modelId="{ED674517-F758-4D99-9695-8DB93BC64D10}" type="presParOf" srcId="{9FF44074-56A7-40EF-AF5A-5B5E896B1FB8}" destId="{90A6A1B2-86A4-40F3-8B76-852BC194F36D}" srcOrd="3" destOrd="0" presId="urn:microsoft.com/office/officeart/2005/8/layout/cycle3"/>
    <dgm:cxn modelId="{FFA296F0-69E5-4408-B8E2-F0F96D4AC3CC}" type="presParOf" srcId="{9FF44074-56A7-40EF-AF5A-5B5E896B1FB8}" destId="{FE36895A-0D52-46B7-B8AC-8BE37D1F4A20}" srcOrd="4" destOrd="0" presId="urn:microsoft.com/office/officeart/2005/8/layout/cycle3"/>
    <dgm:cxn modelId="{5E0E2684-319A-4119-83AB-7FC23BD5797D}" type="presParOf" srcId="{9FF44074-56A7-40EF-AF5A-5B5E896B1FB8}" destId="{EBFB8B6A-D41E-4633-8545-AEE09C2A1F89}" srcOrd="5" destOrd="0" presId="urn:microsoft.com/office/officeart/2005/8/layout/cycle3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6C9D5F4-FF4F-420D-8420-A926E166D7A2}" type="doc">
      <dgm:prSet loTypeId="urn:microsoft.com/office/officeart/2005/8/layout/orgChart1" loCatId="hierarchy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D0997319-AE2C-4C46-ADCB-BA43BE3F3F54}">
      <dgm:prSet phldrT="[Text]" custT="1"/>
      <dgm:spPr>
        <a:solidFill>
          <a:schemeClr val="accent1"/>
        </a:solidFill>
        <a:ln>
          <a:noFill/>
        </a:ln>
        <a:effectLst/>
      </dgm:spPr>
      <dgm:t>
        <a:bodyPr/>
        <a:lstStyle/>
        <a:p>
          <a:pPr>
            <a:spcAft>
              <a:spcPts val="0"/>
            </a:spcAft>
          </a:pPr>
          <a:r>
            <a:rPr lang="de-DE" sz="1400" b="1" i="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dirty="0">
              <a:ln w="0"/>
              <a:solidFill>
                <a:schemeClr val="bg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b="0" i="0" dirty="0">
            <a:effectLst/>
            <a:latin typeface="Frutiger LT Com 45 Light" panose="020B0303030504020204" pitchFamily="34" charset="77"/>
          </a:endParaRPr>
        </a:p>
      </dgm:t>
    </dgm:pt>
    <dgm:pt modelId="{EDD69CBB-FC0D-413C-A203-D32C53DEA1CA}" type="parTrans" cxnId="{9486E231-E761-415A-A46A-B222DD3C9A89}">
      <dgm:prSet/>
      <dgm:spPr/>
      <dgm:t>
        <a:bodyPr/>
        <a:lstStyle/>
        <a:p>
          <a:endParaRPr lang="en-US" sz="1500"/>
        </a:p>
      </dgm:t>
    </dgm:pt>
    <dgm:pt modelId="{E975384C-827E-414A-AEB5-7C3391463B49}" type="sibTrans" cxnId="{9486E231-E761-415A-A46A-B222DD3C9A89}">
      <dgm:prSet/>
      <dgm:spPr/>
      <dgm:t>
        <a:bodyPr/>
        <a:lstStyle/>
        <a:p>
          <a:endParaRPr lang="en-US" sz="1500"/>
        </a:p>
      </dgm:t>
    </dgm:pt>
    <dgm:pt modelId="{8E70AA8F-7583-4AFE-9EDE-87363894E1F8}">
      <dgm:prSet phldrT="[Text]" custT="1"/>
      <dgm:spPr>
        <a:solidFill>
          <a:schemeClr val="accent2"/>
        </a:solidFill>
        <a:ln>
          <a:noFill/>
        </a:ln>
        <a:effectLst/>
      </dgm:spPr>
      <dgm:t>
        <a:bodyPr/>
        <a:lstStyle/>
        <a:p>
          <a:r>
            <a:rPr lang="de-DE" sz="1400" b="1" i="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dirty="0">
              <a:ln w="0"/>
              <a:solidFill>
                <a:schemeClr val="bg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b="1" cap="all" baseline="0" dirty="0">
            <a:effectLst/>
          </a:endParaRPr>
        </a:p>
      </dgm:t>
    </dgm:pt>
    <dgm:pt modelId="{B164CB56-71EE-412E-A3A2-1509A3B08E05}" type="parTrans" cxnId="{707B8E58-ABA5-4C9A-AFCF-298CB05D08DA}">
      <dgm:prSet/>
      <dgm:spPr>
        <a:noFill/>
        <a:ln w="12700" cap="flat" cmpd="sng" algn="ctr">
          <a:solidFill>
            <a:srgbClr val="000000"/>
          </a:solidFill>
          <a:prstDash val="solid"/>
        </a:ln>
        <a:effectLst/>
      </dgm:spPr>
      <dgm:t>
        <a:bodyPr/>
        <a:lstStyle/>
        <a:p>
          <a:endParaRPr lang="en-US" sz="1500"/>
        </a:p>
      </dgm:t>
    </dgm:pt>
    <dgm:pt modelId="{50009256-33DA-4FAC-A050-2DE70DDCC26C}" type="sibTrans" cxnId="{707B8E58-ABA5-4C9A-AFCF-298CB05D08DA}">
      <dgm:prSet/>
      <dgm:spPr/>
      <dgm:t>
        <a:bodyPr/>
        <a:lstStyle/>
        <a:p>
          <a:endParaRPr lang="en-US" sz="1500"/>
        </a:p>
      </dgm:t>
    </dgm:pt>
    <dgm:pt modelId="{7518AF73-C3E8-4B13-863B-C4E310C686A0}">
      <dgm:prSet phldrT="[Text]" custT="1"/>
      <dgm:spPr>
        <a:solidFill>
          <a:schemeClr val="accent3"/>
        </a:solidFill>
        <a:ln>
          <a:noFill/>
        </a:ln>
      </dgm:spPr>
      <dgm:t>
        <a:bodyPr/>
        <a:lstStyle/>
        <a:p>
          <a:r>
            <a:rPr lang="de-DE" sz="1400" b="1" i="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dirty="0">
              <a:ln w="0"/>
              <a:solidFill>
                <a:schemeClr val="bg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dirty="0">
            <a:effectLst/>
          </a:endParaRPr>
        </a:p>
      </dgm:t>
    </dgm:pt>
    <dgm:pt modelId="{ABBFDE01-1481-464C-8AC1-99EC0D941066}" type="parTrans" cxnId="{BD1D9FF7-42B5-4F9C-A390-156FE5D7BE1F}">
      <dgm:prSet/>
      <dgm:spPr>
        <a:noFill/>
        <a:ln w="12700" cap="flat" cmpd="sng" algn="ctr">
          <a:solidFill>
            <a:srgbClr val="000000"/>
          </a:solidFill>
          <a:prstDash val="solid"/>
        </a:ln>
        <a:effectLst/>
      </dgm:spPr>
      <dgm:t>
        <a:bodyPr/>
        <a:lstStyle/>
        <a:p>
          <a:endParaRPr lang="en-US" sz="1500"/>
        </a:p>
      </dgm:t>
    </dgm:pt>
    <dgm:pt modelId="{690A0E8A-BAD8-4EE1-AD75-5AF1C8BEC1E5}" type="sibTrans" cxnId="{BD1D9FF7-42B5-4F9C-A390-156FE5D7BE1F}">
      <dgm:prSet/>
      <dgm:spPr/>
      <dgm:t>
        <a:bodyPr/>
        <a:lstStyle/>
        <a:p>
          <a:endParaRPr lang="en-US" sz="1500"/>
        </a:p>
      </dgm:t>
    </dgm:pt>
    <dgm:pt modelId="{E0596880-FF67-4DA5-941B-65923DFF419E}">
      <dgm:prSet phldrT="[Text]" custT="1"/>
      <dgm:spPr>
        <a:solidFill>
          <a:schemeClr val="accent3"/>
        </a:solidFill>
        <a:ln>
          <a:noFill/>
        </a:ln>
      </dgm:spPr>
      <dgm:t>
        <a:bodyPr/>
        <a:lstStyle/>
        <a:p>
          <a:r>
            <a:rPr lang="de-DE" sz="1400" b="1" i="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dirty="0">
              <a:ln w="0"/>
              <a:solidFill>
                <a:schemeClr val="bg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dirty="0">
            <a:effectLst/>
          </a:endParaRPr>
        </a:p>
      </dgm:t>
    </dgm:pt>
    <dgm:pt modelId="{3CEC508D-6423-4788-A06A-BC7655EEA4B7}" type="parTrans" cxnId="{B57FC3A1-2579-489D-B729-E82B9FE53A02}">
      <dgm:prSet/>
      <dgm:spPr>
        <a:noFill/>
        <a:ln w="12700" cap="flat" cmpd="sng" algn="ctr">
          <a:solidFill>
            <a:srgbClr val="000000"/>
          </a:solidFill>
          <a:prstDash val="solid"/>
        </a:ln>
        <a:effectLst/>
      </dgm:spPr>
      <dgm:t>
        <a:bodyPr/>
        <a:lstStyle/>
        <a:p>
          <a:endParaRPr lang="en-US" sz="1500"/>
        </a:p>
      </dgm:t>
    </dgm:pt>
    <dgm:pt modelId="{B7C6A75D-1EE1-4839-9058-D7BECB5C6118}" type="sibTrans" cxnId="{B57FC3A1-2579-489D-B729-E82B9FE53A02}">
      <dgm:prSet/>
      <dgm:spPr/>
      <dgm:t>
        <a:bodyPr/>
        <a:lstStyle/>
        <a:p>
          <a:endParaRPr lang="en-US" sz="1500"/>
        </a:p>
      </dgm:t>
    </dgm:pt>
    <dgm:pt modelId="{434F1058-EF12-4590-BD43-496B2D33656A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r>
            <a:rPr lang="de-DE" sz="1400" b="1" i="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dirty="0">
              <a:ln w="0"/>
              <a:solidFill>
                <a:schemeClr val="bg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b="1" dirty="0"/>
        </a:p>
      </dgm:t>
    </dgm:pt>
    <dgm:pt modelId="{17815460-B569-463A-BACE-734F709F874A}" type="parTrans" cxnId="{9E137BA1-2E21-43A2-A338-650B162A3662}">
      <dgm:prSet/>
      <dgm:spPr>
        <a:noFill/>
        <a:ln w="12700" cap="flat" cmpd="sng" algn="ctr">
          <a:solidFill>
            <a:srgbClr val="000000"/>
          </a:solidFill>
          <a:prstDash val="solid"/>
        </a:ln>
        <a:effectLst/>
      </dgm:spPr>
      <dgm:t>
        <a:bodyPr/>
        <a:lstStyle/>
        <a:p>
          <a:endParaRPr lang="en-US" sz="1500"/>
        </a:p>
      </dgm:t>
    </dgm:pt>
    <dgm:pt modelId="{BC8F1DC2-66B6-4B6F-BD02-84C41DB8AF5C}" type="sibTrans" cxnId="{9E137BA1-2E21-43A2-A338-650B162A3662}">
      <dgm:prSet/>
      <dgm:spPr/>
      <dgm:t>
        <a:bodyPr/>
        <a:lstStyle/>
        <a:p>
          <a:endParaRPr lang="en-US" sz="1500"/>
        </a:p>
      </dgm:t>
    </dgm:pt>
    <dgm:pt modelId="{4098A15D-6BE4-4258-B7C8-EC2A1354A4D6}">
      <dgm:prSet phldrT="[Text]" custT="1"/>
      <dgm:spPr>
        <a:solidFill>
          <a:schemeClr val="accent3"/>
        </a:solidFill>
        <a:ln>
          <a:noFill/>
        </a:ln>
      </dgm:spPr>
      <dgm:t>
        <a:bodyPr/>
        <a:lstStyle/>
        <a:p>
          <a:r>
            <a:rPr lang="de-DE" sz="1400" b="1" i="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dirty="0">
              <a:ln w="0"/>
              <a:solidFill>
                <a:schemeClr val="bg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dirty="0">
            <a:effectLst/>
          </a:endParaRPr>
        </a:p>
      </dgm:t>
    </dgm:pt>
    <dgm:pt modelId="{DA62F256-25CF-4854-BFCD-F90F70E5F8D4}" type="parTrans" cxnId="{21D8E081-3F51-4864-8D5D-F1BA8CEC852F}">
      <dgm:prSet/>
      <dgm:spPr>
        <a:noFill/>
        <a:ln w="12700" cap="flat" cmpd="sng" algn="ctr">
          <a:solidFill>
            <a:srgbClr val="000000"/>
          </a:solidFill>
          <a:prstDash val="solid"/>
        </a:ln>
        <a:effectLst/>
      </dgm:spPr>
      <dgm:t>
        <a:bodyPr/>
        <a:lstStyle/>
        <a:p>
          <a:endParaRPr lang="en-US" sz="1500"/>
        </a:p>
      </dgm:t>
    </dgm:pt>
    <dgm:pt modelId="{E1090322-3287-4D3C-A158-E43939F1FA7E}" type="sibTrans" cxnId="{21D8E081-3F51-4864-8D5D-F1BA8CEC852F}">
      <dgm:prSet/>
      <dgm:spPr/>
      <dgm:t>
        <a:bodyPr/>
        <a:lstStyle/>
        <a:p>
          <a:endParaRPr lang="en-US" sz="1500"/>
        </a:p>
      </dgm:t>
    </dgm:pt>
    <dgm:pt modelId="{C1D130BE-4BC5-481C-BADA-14A869727C0B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r>
            <a:rPr lang="de-DE" sz="1400" b="1" i="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dirty="0">
              <a:ln w="0"/>
              <a:solidFill>
                <a:schemeClr val="bg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b="1" cap="all" baseline="0" dirty="0"/>
        </a:p>
      </dgm:t>
    </dgm:pt>
    <dgm:pt modelId="{8A26916C-03BF-4B0E-92AF-656A56CF8513}" type="parTrans" cxnId="{221AD8BF-6539-43E4-9EB1-23AF138D0EE2}">
      <dgm:prSet/>
      <dgm:spPr>
        <a:noFill/>
        <a:ln w="12700" cap="flat" cmpd="sng" algn="ctr">
          <a:solidFill>
            <a:srgbClr val="000000"/>
          </a:solidFill>
          <a:prstDash val="solid"/>
        </a:ln>
        <a:effectLst/>
      </dgm:spPr>
      <dgm:t>
        <a:bodyPr/>
        <a:lstStyle/>
        <a:p>
          <a:endParaRPr lang="en-US" sz="1500"/>
        </a:p>
      </dgm:t>
    </dgm:pt>
    <dgm:pt modelId="{4F4BE6FE-AE34-4934-8B0D-8FDF04C5765F}" type="sibTrans" cxnId="{221AD8BF-6539-43E4-9EB1-23AF138D0EE2}">
      <dgm:prSet/>
      <dgm:spPr/>
      <dgm:t>
        <a:bodyPr/>
        <a:lstStyle/>
        <a:p>
          <a:endParaRPr lang="en-US" sz="1500"/>
        </a:p>
      </dgm:t>
    </dgm:pt>
    <dgm:pt modelId="{CD6C8CAB-2DB8-4BEB-8794-D14E24B56239}">
      <dgm:prSet phldrT="[Text]" custT="1"/>
      <dgm:spPr>
        <a:solidFill>
          <a:schemeClr val="accent3"/>
        </a:solidFill>
        <a:ln>
          <a:noFill/>
        </a:ln>
      </dgm:spPr>
      <dgm:t>
        <a:bodyPr/>
        <a:lstStyle/>
        <a:p>
          <a:r>
            <a:rPr lang="de-DE" sz="1400" b="1" i="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dirty="0">
              <a:ln w="0"/>
              <a:solidFill>
                <a:schemeClr val="bg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dirty="0">
            <a:effectLst/>
          </a:endParaRPr>
        </a:p>
      </dgm:t>
    </dgm:pt>
    <dgm:pt modelId="{503510FB-9E52-432E-98AC-FEF28CA55F0D}" type="parTrans" cxnId="{08C6FF6E-ED40-443D-B75C-6827A78AAE2F}">
      <dgm:prSet/>
      <dgm:spPr>
        <a:noFill/>
        <a:ln w="12700" cap="flat" cmpd="sng" algn="ctr">
          <a:solidFill>
            <a:srgbClr val="000000"/>
          </a:solidFill>
          <a:prstDash val="solid"/>
        </a:ln>
        <a:effectLst/>
      </dgm:spPr>
      <dgm:t>
        <a:bodyPr/>
        <a:lstStyle/>
        <a:p>
          <a:endParaRPr lang="en-US" sz="1500"/>
        </a:p>
      </dgm:t>
    </dgm:pt>
    <dgm:pt modelId="{F6688289-1E3B-4C81-B097-4BC4F02DEEB1}" type="sibTrans" cxnId="{08C6FF6E-ED40-443D-B75C-6827A78AAE2F}">
      <dgm:prSet/>
      <dgm:spPr/>
      <dgm:t>
        <a:bodyPr/>
        <a:lstStyle/>
        <a:p>
          <a:endParaRPr lang="en-US" sz="1500"/>
        </a:p>
      </dgm:t>
    </dgm:pt>
    <dgm:pt modelId="{16945C89-930D-4764-8730-4F183F8B4C87}">
      <dgm:prSet phldrT="[Text]" custT="1"/>
      <dgm:spPr>
        <a:solidFill>
          <a:schemeClr val="accent3"/>
        </a:solidFill>
        <a:ln>
          <a:noFill/>
        </a:ln>
      </dgm:spPr>
      <dgm:t>
        <a:bodyPr/>
        <a:lstStyle/>
        <a:p>
          <a:r>
            <a:rPr lang="de-DE" sz="1400" b="1" i="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dirty="0">
              <a:ln w="0"/>
              <a:solidFill>
                <a:schemeClr val="bg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dirty="0">
            <a:effectLst/>
          </a:endParaRPr>
        </a:p>
      </dgm:t>
    </dgm:pt>
    <dgm:pt modelId="{B3C6A11E-10F5-433C-A0FB-1B185A7D12E0}" type="parTrans" cxnId="{587DEAC9-60C3-45DB-9C9F-C26256D35C0F}">
      <dgm:prSet/>
      <dgm:spPr>
        <a:noFill/>
        <a:ln w="12700" cap="flat" cmpd="sng" algn="ctr">
          <a:solidFill>
            <a:srgbClr val="000000"/>
          </a:solidFill>
          <a:prstDash val="solid"/>
        </a:ln>
        <a:effectLst/>
      </dgm:spPr>
      <dgm:t>
        <a:bodyPr/>
        <a:lstStyle/>
        <a:p>
          <a:endParaRPr lang="en-US" sz="1500"/>
        </a:p>
      </dgm:t>
    </dgm:pt>
    <dgm:pt modelId="{5C8BCF49-4277-47C2-9543-A10467E88E20}" type="sibTrans" cxnId="{587DEAC9-60C3-45DB-9C9F-C26256D35C0F}">
      <dgm:prSet/>
      <dgm:spPr/>
      <dgm:t>
        <a:bodyPr/>
        <a:lstStyle/>
        <a:p>
          <a:endParaRPr lang="en-US" sz="1500"/>
        </a:p>
      </dgm:t>
    </dgm:pt>
    <dgm:pt modelId="{88C71571-1CFF-494F-BAFF-81E824633B5F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r>
            <a:rPr lang="de-DE" sz="1400" b="1" i="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dirty="0">
              <a:ln w="0"/>
              <a:solidFill>
                <a:schemeClr val="bg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b="1" cap="all" baseline="0" dirty="0">
            <a:effectLst/>
          </a:endParaRPr>
        </a:p>
      </dgm:t>
    </dgm:pt>
    <dgm:pt modelId="{023E5807-D5D3-4230-BDB6-2B2C2550CF5E}" type="parTrans" cxnId="{B3574A7D-275B-4D62-A098-95904EF7BF70}">
      <dgm:prSet/>
      <dgm:spPr>
        <a:noFill/>
        <a:ln w="12700" cap="flat" cmpd="sng" algn="ctr">
          <a:solidFill>
            <a:srgbClr val="000000"/>
          </a:solidFill>
          <a:prstDash val="solid"/>
        </a:ln>
        <a:effectLst/>
      </dgm:spPr>
      <dgm:t>
        <a:bodyPr/>
        <a:lstStyle/>
        <a:p>
          <a:endParaRPr lang="en-US" sz="1500"/>
        </a:p>
      </dgm:t>
    </dgm:pt>
    <dgm:pt modelId="{A503B4BF-1561-4E68-BE75-88256D18D072}" type="sibTrans" cxnId="{B3574A7D-275B-4D62-A098-95904EF7BF70}">
      <dgm:prSet/>
      <dgm:spPr/>
      <dgm:t>
        <a:bodyPr/>
        <a:lstStyle/>
        <a:p>
          <a:endParaRPr lang="en-US" sz="1500"/>
        </a:p>
      </dgm:t>
    </dgm:pt>
    <dgm:pt modelId="{A608CA8A-B3DC-42F4-B82B-9CF85EED0989}">
      <dgm:prSet phldrT="[Text]" custT="1"/>
      <dgm:spPr>
        <a:solidFill>
          <a:schemeClr val="accent3"/>
        </a:solidFill>
        <a:ln>
          <a:noFill/>
        </a:ln>
      </dgm:spPr>
      <dgm:t>
        <a:bodyPr/>
        <a:lstStyle/>
        <a:p>
          <a:r>
            <a:rPr lang="de-DE" sz="1400" b="1" i="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dirty="0">
              <a:ln w="0"/>
              <a:solidFill>
                <a:schemeClr val="bg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dirty="0">
            <a:effectLst/>
          </a:endParaRPr>
        </a:p>
      </dgm:t>
    </dgm:pt>
    <dgm:pt modelId="{93289606-93D3-4330-BA64-3BCE9A9704BB}" type="parTrans" cxnId="{0A7D0388-BCA2-4B05-9D84-A9DA94C743DA}">
      <dgm:prSet/>
      <dgm:spPr>
        <a:noFill/>
        <a:ln w="12700" cap="flat" cmpd="sng" algn="ctr">
          <a:solidFill>
            <a:srgbClr val="000000"/>
          </a:solidFill>
          <a:prstDash val="solid"/>
        </a:ln>
        <a:effectLst/>
      </dgm:spPr>
      <dgm:t>
        <a:bodyPr/>
        <a:lstStyle/>
        <a:p>
          <a:endParaRPr lang="en-US" sz="1500"/>
        </a:p>
      </dgm:t>
    </dgm:pt>
    <dgm:pt modelId="{EC62E542-393A-47EE-A50B-D75B21B89564}" type="sibTrans" cxnId="{0A7D0388-BCA2-4B05-9D84-A9DA94C743DA}">
      <dgm:prSet/>
      <dgm:spPr/>
      <dgm:t>
        <a:bodyPr/>
        <a:lstStyle/>
        <a:p>
          <a:endParaRPr lang="en-US" sz="1500"/>
        </a:p>
      </dgm:t>
    </dgm:pt>
    <dgm:pt modelId="{7537127D-3C7B-448E-9BC8-54B4742290EB}">
      <dgm:prSet phldrT="[Text]" custT="1"/>
      <dgm:spPr>
        <a:solidFill>
          <a:schemeClr val="accent3"/>
        </a:solidFill>
        <a:ln>
          <a:noFill/>
        </a:ln>
      </dgm:spPr>
      <dgm:t>
        <a:bodyPr/>
        <a:lstStyle/>
        <a:p>
          <a:r>
            <a:rPr lang="de-DE" sz="1400" b="1" i="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dirty="0">
              <a:ln w="0"/>
              <a:solidFill>
                <a:schemeClr val="bg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dirty="0">
            <a:effectLst/>
          </a:endParaRPr>
        </a:p>
      </dgm:t>
    </dgm:pt>
    <dgm:pt modelId="{1CCD59CB-29EF-4DB5-92B0-5F91BABCF0D1}" type="parTrans" cxnId="{3EBB5D26-48FB-4B9D-8F07-C012600ECA24}">
      <dgm:prSet/>
      <dgm:spPr>
        <a:noFill/>
        <a:ln w="12700" cap="flat" cmpd="sng" algn="ctr">
          <a:solidFill>
            <a:srgbClr val="000000"/>
          </a:solidFill>
          <a:prstDash val="solid"/>
        </a:ln>
        <a:effectLst/>
      </dgm:spPr>
      <dgm:t>
        <a:bodyPr/>
        <a:lstStyle/>
        <a:p>
          <a:endParaRPr lang="en-US" sz="1500"/>
        </a:p>
      </dgm:t>
    </dgm:pt>
    <dgm:pt modelId="{BB96C450-FBB5-4410-9A61-00A070372F2B}" type="sibTrans" cxnId="{3EBB5D26-48FB-4B9D-8F07-C012600ECA24}">
      <dgm:prSet/>
      <dgm:spPr/>
      <dgm:t>
        <a:bodyPr/>
        <a:lstStyle/>
        <a:p>
          <a:endParaRPr lang="en-US" sz="1500"/>
        </a:p>
      </dgm:t>
    </dgm:pt>
    <dgm:pt modelId="{81425023-3658-474F-B398-A09F6A7715C4}">
      <dgm:prSet phldrT="[Text]" custT="1"/>
      <dgm:spPr>
        <a:solidFill>
          <a:schemeClr val="bg1"/>
        </a:solidFill>
        <a:ln>
          <a:noFill/>
        </a:ln>
      </dgm:spPr>
      <dgm:t>
        <a:bodyPr/>
        <a:lstStyle/>
        <a:p>
          <a:r>
            <a:rPr lang="de-DE" sz="1400" b="1" i="0" dirty="0">
              <a:ln w="0"/>
              <a:solidFill>
                <a:schemeClr val="tx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dirty="0">
              <a:ln w="0"/>
              <a:solidFill>
                <a:schemeClr val="tx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dirty="0">
              <a:ln w="0"/>
              <a:solidFill>
                <a:schemeClr val="tx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dirty="0">
            <a:solidFill>
              <a:schemeClr val="tx1"/>
            </a:solidFill>
            <a:effectLst/>
          </a:endParaRPr>
        </a:p>
      </dgm:t>
    </dgm:pt>
    <dgm:pt modelId="{345CD3D7-27E7-4989-AC59-685A5F66867B}" type="parTrans" cxnId="{44341EF0-10C6-4D82-8DA6-2C6C50CE800E}">
      <dgm:prSet/>
      <dgm:spPr>
        <a:noFill/>
        <a:ln w="12700" cap="flat" cmpd="sng" algn="ctr">
          <a:solidFill>
            <a:srgbClr val="000000"/>
          </a:solidFill>
          <a:prstDash val="solid"/>
        </a:ln>
        <a:effectLst/>
      </dgm:spPr>
      <dgm:t>
        <a:bodyPr/>
        <a:lstStyle/>
        <a:p>
          <a:endParaRPr lang="en-US" sz="1500"/>
        </a:p>
      </dgm:t>
    </dgm:pt>
    <dgm:pt modelId="{CBF02706-A628-4026-928F-AF87A6453A9D}" type="sibTrans" cxnId="{44341EF0-10C6-4D82-8DA6-2C6C50CE800E}">
      <dgm:prSet/>
      <dgm:spPr/>
      <dgm:t>
        <a:bodyPr/>
        <a:lstStyle/>
        <a:p>
          <a:endParaRPr lang="en-US" sz="1500"/>
        </a:p>
      </dgm:t>
    </dgm:pt>
    <dgm:pt modelId="{66C44EFF-DEB7-4ECA-ABBE-4389F71F4791}">
      <dgm:prSet phldrT="[Text]" custT="1"/>
      <dgm:spPr>
        <a:solidFill>
          <a:schemeClr val="bg1"/>
        </a:solidFill>
        <a:ln>
          <a:noFill/>
        </a:ln>
      </dgm:spPr>
      <dgm:t>
        <a:bodyPr/>
        <a:lstStyle/>
        <a:p>
          <a:r>
            <a:rPr lang="de-DE" sz="1400" b="1" i="0" dirty="0">
              <a:ln w="0"/>
              <a:solidFill>
                <a:schemeClr val="tx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dirty="0">
              <a:ln w="0"/>
              <a:solidFill>
                <a:schemeClr val="tx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dirty="0">
              <a:ln w="0"/>
              <a:solidFill>
                <a:schemeClr val="tx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dirty="0">
            <a:solidFill>
              <a:schemeClr val="tx1"/>
            </a:solidFill>
            <a:effectLst/>
          </a:endParaRPr>
        </a:p>
      </dgm:t>
    </dgm:pt>
    <dgm:pt modelId="{48DD0E39-F512-4992-838B-71D188118365}" type="parTrans" cxnId="{A259775D-9C36-4ACD-8965-090CEA188B42}">
      <dgm:prSet/>
      <dgm:spPr>
        <a:noFill/>
        <a:ln w="12700" cap="flat" cmpd="sng" algn="ctr">
          <a:solidFill>
            <a:srgbClr val="000000"/>
          </a:solidFill>
          <a:prstDash val="solid"/>
        </a:ln>
        <a:effectLst/>
      </dgm:spPr>
      <dgm:t>
        <a:bodyPr/>
        <a:lstStyle/>
        <a:p>
          <a:endParaRPr lang="en-US" sz="1500"/>
        </a:p>
      </dgm:t>
    </dgm:pt>
    <dgm:pt modelId="{7E567B3E-F5E2-4DF6-8E1C-29A3F58A5F52}" type="sibTrans" cxnId="{A259775D-9C36-4ACD-8965-090CEA188B42}">
      <dgm:prSet/>
      <dgm:spPr/>
      <dgm:t>
        <a:bodyPr/>
        <a:lstStyle/>
        <a:p>
          <a:endParaRPr lang="en-US" sz="1500"/>
        </a:p>
      </dgm:t>
    </dgm:pt>
    <dgm:pt modelId="{CF5B8EE4-D285-4E9D-BBB6-5F2F77DD4689}">
      <dgm:prSet phldrT="[Text]" custT="1"/>
      <dgm:spPr>
        <a:solidFill>
          <a:schemeClr val="accent3"/>
        </a:solidFill>
        <a:ln>
          <a:noFill/>
        </a:ln>
      </dgm:spPr>
      <dgm:t>
        <a:bodyPr/>
        <a:lstStyle/>
        <a:p>
          <a:r>
            <a:rPr lang="de-DE" sz="1400" b="1" i="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dirty="0">
              <a:ln w="0"/>
              <a:solidFill>
                <a:schemeClr val="bg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dirty="0">
            <a:effectLst/>
          </a:endParaRPr>
        </a:p>
      </dgm:t>
    </dgm:pt>
    <dgm:pt modelId="{D937D902-C50B-4BEC-9C1F-D9880BCC701B}" type="parTrans" cxnId="{2ED6F702-CE72-434F-A1BB-6BCE9E2DA2BA}">
      <dgm:prSet/>
      <dgm:spPr>
        <a:noFill/>
        <a:ln w="12700" cap="flat" cmpd="sng" algn="ctr">
          <a:solidFill>
            <a:srgbClr val="000000"/>
          </a:solidFill>
          <a:prstDash val="solid"/>
        </a:ln>
        <a:effectLst/>
      </dgm:spPr>
      <dgm:t>
        <a:bodyPr/>
        <a:lstStyle/>
        <a:p>
          <a:endParaRPr lang="en-US" sz="1500"/>
        </a:p>
      </dgm:t>
    </dgm:pt>
    <dgm:pt modelId="{CADCD7D6-E889-4A66-B79B-3ACEEF43F075}" type="sibTrans" cxnId="{2ED6F702-CE72-434F-A1BB-6BCE9E2DA2BA}">
      <dgm:prSet/>
      <dgm:spPr/>
      <dgm:t>
        <a:bodyPr/>
        <a:lstStyle/>
        <a:p>
          <a:endParaRPr lang="en-US" sz="1500"/>
        </a:p>
      </dgm:t>
    </dgm:pt>
    <dgm:pt modelId="{6B819213-CCC8-47D2-B6CC-5D80BC4CE389}">
      <dgm:prSet phldrT="[Text]" custT="1"/>
      <dgm:spPr>
        <a:solidFill>
          <a:schemeClr val="accent3"/>
        </a:solidFill>
        <a:ln>
          <a:noFill/>
        </a:ln>
      </dgm:spPr>
      <dgm:t>
        <a:bodyPr/>
        <a:lstStyle/>
        <a:p>
          <a:r>
            <a:rPr lang="de-DE" sz="1400" b="1" i="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dirty="0">
              <a:ln w="0"/>
              <a:solidFill>
                <a:schemeClr val="bg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dirty="0">
            <a:effectLst/>
          </a:endParaRPr>
        </a:p>
      </dgm:t>
    </dgm:pt>
    <dgm:pt modelId="{F2965F63-D91A-4E89-A4AF-C8CC901E5AD5}" type="parTrans" cxnId="{3CA5F846-F25A-4044-BB9A-4D4A38BD96DF}">
      <dgm:prSet/>
      <dgm:spPr>
        <a:noFill/>
        <a:ln w="12700" cap="flat" cmpd="sng" algn="ctr">
          <a:solidFill>
            <a:srgbClr val="000000"/>
          </a:solidFill>
          <a:prstDash val="solid"/>
        </a:ln>
        <a:effectLst/>
      </dgm:spPr>
      <dgm:t>
        <a:bodyPr/>
        <a:lstStyle/>
        <a:p>
          <a:endParaRPr lang="en-US" sz="1500"/>
        </a:p>
      </dgm:t>
    </dgm:pt>
    <dgm:pt modelId="{2A5E58D8-5987-48E0-ADE2-924A00521307}" type="sibTrans" cxnId="{3CA5F846-F25A-4044-BB9A-4D4A38BD96DF}">
      <dgm:prSet/>
      <dgm:spPr/>
      <dgm:t>
        <a:bodyPr/>
        <a:lstStyle/>
        <a:p>
          <a:endParaRPr lang="en-US" sz="1500"/>
        </a:p>
      </dgm:t>
    </dgm:pt>
    <dgm:pt modelId="{2FEE2BF4-38E6-46BE-8106-6EC49885456E}">
      <dgm:prSet phldrT="[Text]" custT="1"/>
      <dgm:spPr>
        <a:solidFill>
          <a:schemeClr val="bg1"/>
        </a:solidFill>
        <a:ln>
          <a:noFill/>
        </a:ln>
      </dgm:spPr>
      <dgm:t>
        <a:bodyPr/>
        <a:lstStyle/>
        <a:p>
          <a:r>
            <a:rPr lang="de-DE" sz="1400" b="1" i="0" dirty="0">
              <a:ln w="0"/>
              <a:solidFill>
                <a:schemeClr val="tx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dirty="0">
              <a:ln w="0"/>
              <a:solidFill>
                <a:schemeClr val="tx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dirty="0">
              <a:ln w="0"/>
              <a:solidFill>
                <a:schemeClr val="tx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dirty="0">
            <a:solidFill>
              <a:schemeClr val="tx1"/>
            </a:solidFill>
            <a:effectLst/>
          </a:endParaRPr>
        </a:p>
      </dgm:t>
    </dgm:pt>
    <dgm:pt modelId="{324BA76D-EC38-4C56-840D-1090A8A73FA9}" type="parTrans" cxnId="{8B1B3D9F-6DDB-40F6-B032-5C6E3D321F7C}">
      <dgm:prSet/>
      <dgm:spPr>
        <a:noFill/>
        <a:ln w="12700" cap="flat" cmpd="sng" algn="ctr">
          <a:solidFill>
            <a:srgbClr val="000000"/>
          </a:solidFill>
          <a:prstDash val="solid"/>
        </a:ln>
        <a:effectLst/>
      </dgm:spPr>
      <dgm:t>
        <a:bodyPr/>
        <a:lstStyle/>
        <a:p>
          <a:endParaRPr lang="en-US" sz="1500"/>
        </a:p>
      </dgm:t>
    </dgm:pt>
    <dgm:pt modelId="{DC438ACA-527B-4585-8C32-A061704772AA}" type="sibTrans" cxnId="{8B1B3D9F-6DDB-40F6-B032-5C6E3D321F7C}">
      <dgm:prSet/>
      <dgm:spPr/>
      <dgm:t>
        <a:bodyPr/>
        <a:lstStyle/>
        <a:p>
          <a:endParaRPr lang="en-US" sz="1500"/>
        </a:p>
      </dgm:t>
    </dgm:pt>
    <dgm:pt modelId="{C021D8BF-5ED2-4733-81D8-98D8DB6B32C6}" type="pres">
      <dgm:prSet presAssocID="{96C9D5F4-FF4F-420D-8420-A926E166D7A2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F29D4A3C-A833-43AA-90C1-2774D21BEFAA}" type="pres">
      <dgm:prSet presAssocID="{D0997319-AE2C-4C46-ADCB-BA43BE3F3F54}" presName="hierRoot1" presStyleCnt="0">
        <dgm:presLayoutVars>
          <dgm:hierBranch val="init"/>
        </dgm:presLayoutVars>
      </dgm:prSet>
      <dgm:spPr/>
    </dgm:pt>
    <dgm:pt modelId="{F8A1BEBB-B304-4090-B086-29A5D44D3532}" type="pres">
      <dgm:prSet presAssocID="{D0997319-AE2C-4C46-ADCB-BA43BE3F3F54}" presName="rootComposite1" presStyleCnt="0"/>
      <dgm:spPr/>
    </dgm:pt>
    <dgm:pt modelId="{37B3718D-D095-4E7C-B2C8-70FADAE068BC}" type="pres">
      <dgm:prSet presAssocID="{D0997319-AE2C-4C46-ADCB-BA43BE3F3F54}" presName="rootText1" presStyleLbl="node0" presStyleIdx="0" presStyleCnt="1" custScaleX="218598">
        <dgm:presLayoutVars>
          <dgm:chPref val="3"/>
        </dgm:presLayoutVars>
      </dgm:prSet>
      <dgm:spPr/>
    </dgm:pt>
    <dgm:pt modelId="{A9D98614-7477-4937-8E03-2AB0A603998D}" type="pres">
      <dgm:prSet presAssocID="{D0997319-AE2C-4C46-ADCB-BA43BE3F3F54}" presName="rootConnector1" presStyleLbl="node1" presStyleIdx="0" presStyleCnt="0"/>
      <dgm:spPr/>
    </dgm:pt>
    <dgm:pt modelId="{8FA944FA-5660-43FE-881E-7D04BFAA7390}" type="pres">
      <dgm:prSet presAssocID="{D0997319-AE2C-4C46-ADCB-BA43BE3F3F54}" presName="hierChild2" presStyleCnt="0"/>
      <dgm:spPr/>
    </dgm:pt>
    <dgm:pt modelId="{669F9EDC-31CB-48F8-9E99-60A66A0FC3AF}" type="pres">
      <dgm:prSet presAssocID="{B164CB56-71EE-412E-A3A2-1509A3B08E05}" presName="Name37" presStyleLbl="parChTrans1D2" presStyleIdx="0" presStyleCnt="4"/>
      <dgm:spPr>
        <a:xfrm>
          <a:off x="1249262" y="823869"/>
          <a:ext cx="3069418" cy="236759"/>
        </a:xfrm>
        <a:custGeom>
          <a:avLst/>
          <a:gdLst/>
          <a:ahLst/>
          <a:cxnLst/>
          <a:rect l="0" t="0" r="0" b="0"/>
          <a:pathLst>
            <a:path>
              <a:moveTo>
                <a:pt x="3069418" y="0"/>
              </a:moveTo>
              <a:lnTo>
                <a:pt x="3069418" y="118379"/>
              </a:lnTo>
              <a:lnTo>
                <a:pt x="0" y="118379"/>
              </a:lnTo>
              <a:lnTo>
                <a:pt x="0" y="236759"/>
              </a:lnTo>
            </a:path>
          </a:pathLst>
        </a:custGeom>
      </dgm:spPr>
    </dgm:pt>
    <dgm:pt modelId="{F232BB90-42DD-4C53-8B72-80F674342A24}" type="pres">
      <dgm:prSet presAssocID="{8E70AA8F-7583-4AFE-9EDE-87363894E1F8}" presName="hierRoot2" presStyleCnt="0">
        <dgm:presLayoutVars>
          <dgm:hierBranch val="init"/>
        </dgm:presLayoutVars>
      </dgm:prSet>
      <dgm:spPr/>
    </dgm:pt>
    <dgm:pt modelId="{A1AEDAB4-925C-443D-B3CC-5236C44F66FF}" type="pres">
      <dgm:prSet presAssocID="{8E70AA8F-7583-4AFE-9EDE-87363894E1F8}" presName="rootComposite" presStyleCnt="0"/>
      <dgm:spPr/>
    </dgm:pt>
    <dgm:pt modelId="{A8401B32-71D4-404D-AC33-5BC33C651FC9}" type="pres">
      <dgm:prSet presAssocID="{8E70AA8F-7583-4AFE-9EDE-87363894E1F8}" presName="rootText" presStyleLbl="node2" presStyleIdx="0" presStyleCnt="4">
        <dgm:presLayoutVars>
          <dgm:chPref val="3"/>
        </dgm:presLayoutVars>
      </dgm:prSet>
      <dgm:spPr/>
    </dgm:pt>
    <dgm:pt modelId="{FAD2C39F-60F3-4070-83E7-DC9FCC542D6F}" type="pres">
      <dgm:prSet presAssocID="{8E70AA8F-7583-4AFE-9EDE-87363894E1F8}" presName="rootConnector" presStyleLbl="node2" presStyleIdx="0" presStyleCnt="4"/>
      <dgm:spPr/>
    </dgm:pt>
    <dgm:pt modelId="{5253D9D7-FB79-4E7F-8B5D-CA9FE7D38996}" type="pres">
      <dgm:prSet presAssocID="{8E70AA8F-7583-4AFE-9EDE-87363894E1F8}" presName="hierChild4" presStyleCnt="0"/>
      <dgm:spPr/>
    </dgm:pt>
    <dgm:pt modelId="{40419D01-2FBD-47DC-8A9E-DA80F0C4C7F4}" type="pres">
      <dgm:prSet presAssocID="{ABBFDE01-1481-464C-8AC1-99EC0D941066}" presName="Name37" presStyleLbl="parChTrans1D3" presStyleIdx="0" presStyleCnt="9"/>
      <dgm:spPr>
        <a:xfrm>
          <a:off x="567169" y="1624342"/>
          <a:ext cx="682092" cy="236759"/>
        </a:xfrm>
        <a:custGeom>
          <a:avLst/>
          <a:gdLst/>
          <a:ahLst/>
          <a:cxnLst/>
          <a:rect l="0" t="0" r="0" b="0"/>
          <a:pathLst>
            <a:path>
              <a:moveTo>
                <a:pt x="682092" y="0"/>
              </a:moveTo>
              <a:lnTo>
                <a:pt x="682092" y="118379"/>
              </a:lnTo>
              <a:lnTo>
                <a:pt x="0" y="118379"/>
              </a:lnTo>
              <a:lnTo>
                <a:pt x="0" y="236759"/>
              </a:lnTo>
            </a:path>
          </a:pathLst>
        </a:custGeom>
      </dgm:spPr>
    </dgm:pt>
    <dgm:pt modelId="{C028BDDF-0AC6-4329-A2E6-3DF538482F12}" type="pres">
      <dgm:prSet presAssocID="{7518AF73-C3E8-4B13-863B-C4E310C686A0}" presName="hierRoot2" presStyleCnt="0">
        <dgm:presLayoutVars>
          <dgm:hierBranch val="init"/>
        </dgm:presLayoutVars>
      </dgm:prSet>
      <dgm:spPr/>
    </dgm:pt>
    <dgm:pt modelId="{C20F4DF8-C0DC-4D7D-A2A2-96B6B9D443EE}" type="pres">
      <dgm:prSet presAssocID="{7518AF73-C3E8-4B13-863B-C4E310C686A0}" presName="rootComposite" presStyleCnt="0"/>
      <dgm:spPr/>
    </dgm:pt>
    <dgm:pt modelId="{4D8B2193-3E3B-4BE6-B5D7-FDB1E2E87687}" type="pres">
      <dgm:prSet presAssocID="{7518AF73-C3E8-4B13-863B-C4E310C686A0}" presName="rootText" presStyleLbl="node3" presStyleIdx="0" presStyleCnt="9">
        <dgm:presLayoutVars>
          <dgm:chPref val="3"/>
        </dgm:presLayoutVars>
      </dgm:prSet>
      <dgm:spPr/>
    </dgm:pt>
    <dgm:pt modelId="{0769B730-E33F-4566-9733-CA5B545621C6}" type="pres">
      <dgm:prSet presAssocID="{7518AF73-C3E8-4B13-863B-C4E310C686A0}" presName="rootConnector" presStyleLbl="node3" presStyleIdx="0" presStyleCnt="9"/>
      <dgm:spPr/>
    </dgm:pt>
    <dgm:pt modelId="{143E2A99-1E2B-4983-92A0-815754C12EB6}" type="pres">
      <dgm:prSet presAssocID="{7518AF73-C3E8-4B13-863B-C4E310C686A0}" presName="hierChild4" presStyleCnt="0"/>
      <dgm:spPr/>
    </dgm:pt>
    <dgm:pt modelId="{FB84F04D-6CE1-4B5C-A440-97843617301E}" type="pres">
      <dgm:prSet presAssocID="{345CD3D7-27E7-4989-AC59-685A5F66867B}" presName="Name37" presStyleLbl="parChTrans1D4" presStyleIdx="0" presStyleCnt="3"/>
      <dgm:spPr>
        <a:xfrm>
          <a:off x="116199" y="2424815"/>
          <a:ext cx="169113" cy="51861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18616"/>
              </a:lnTo>
              <a:lnTo>
                <a:pt x="169113" y="518616"/>
              </a:lnTo>
            </a:path>
          </a:pathLst>
        </a:custGeom>
      </dgm:spPr>
    </dgm:pt>
    <dgm:pt modelId="{56A3323F-9910-4AB7-A490-F85775FCE5E2}" type="pres">
      <dgm:prSet presAssocID="{81425023-3658-474F-B398-A09F6A7715C4}" presName="hierRoot2" presStyleCnt="0">
        <dgm:presLayoutVars>
          <dgm:hierBranch val="init"/>
        </dgm:presLayoutVars>
      </dgm:prSet>
      <dgm:spPr/>
    </dgm:pt>
    <dgm:pt modelId="{EA28DB16-5E94-45CE-9DD8-2C52DBC1C9E5}" type="pres">
      <dgm:prSet presAssocID="{81425023-3658-474F-B398-A09F6A7715C4}" presName="rootComposite" presStyleCnt="0"/>
      <dgm:spPr/>
    </dgm:pt>
    <dgm:pt modelId="{46F89631-4D52-45EB-BAB7-354E6BE91ACF}" type="pres">
      <dgm:prSet presAssocID="{81425023-3658-474F-B398-A09F6A7715C4}" presName="rootText" presStyleLbl="node4" presStyleIdx="0" presStyleCnt="3">
        <dgm:presLayoutVars>
          <dgm:chPref val="3"/>
        </dgm:presLayoutVars>
      </dgm:prSet>
      <dgm:spPr/>
    </dgm:pt>
    <dgm:pt modelId="{502CC318-46A0-45EA-8BFF-6DC9DA37A430}" type="pres">
      <dgm:prSet presAssocID="{81425023-3658-474F-B398-A09F6A7715C4}" presName="rootConnector" presStyleLbl="node4" presStyleIdx="0" presStyleCnt="3"/>
      <dgm:spPr/>
    </dgm:pt>
    <dgm:pt modelId="{CD684BA0-074F-4CAC-B764-52DDDB4BFA37}" type="pres">
      <dgm:prSet presAssocID="{81425023-3658-474F-B398-A09F6A7715C4}" presName="hierChild4" presStyleCnt="0"/>
      <dgm:spPr/>
    </dgm:pt>
    <dgm:pt modelId="{443431D6-5CE3-473C-9CF3-A6B50F0D9CE1}" type="pres">
      <dgm:prSet presAssocID="{81425023-3658-474F-B398-A09F6A7715C4}" presName="hierChild5" presStyleCnt="0"/>
      <dgm:spPr/>
    </dgm:pt>
    <dgm:pt modelId="{9BA94EFB-4222-4F10-9CBF-F95505700E87}" type="pres">
      <dgm:prSet presAssocID="{48DD0E39-F512-4992-838B-71D188118365}" presName="Name37" presStyleLbl="parChTrans1D4" presStyleIdx="1" presStyleCnt="3"/>
      <dgm:spPr>
        <a:xfrm>
          <a:off x="116199" y="2424815"/>
          <a:ext cx="169113" cy="131908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19088"/>
              </a:lnTo>
              <a:lnTo>
                <a:pt x="169113" y="1319088"/>
              </a:lnTo>
            </a:path>
          </a:pathLst>
        </a:custGeom>
      </dgm:spPr>
    </dgm:pt>
    <dgm:pt modelId="{98560A48-F270-4988-8BA9-44109AE1A208}" type="pres">
      <dgm:prSet presAssocID="{66C44EFF-DEB7-4ECA-ABBE-4389F71F4791}" presName="hierRoot2" presStyleCnt="0">
        <dgm:presLayoutVars>
          <dgm:hierBranch val="init"/>
        </dgm:presLayoutVars>
      </dgm:prSet>
      <dgm:spPr/>
    </dgm:pt>
    <dgm:pt modelId="{F5262780-7893-461C-897E-5EA7E32461F8}" type="pres">
      <dgm:prSet presAssocID="{66C44EFF-DEB7-4ECA-ABBE-4389F71F4791}" presName="rootComposite" presStyleCnt="0"/>
      <dgm:spPr/>
    </dgm:pt>
    <dgm:pt modelId="{FE119EF5-0B4C-4ED4-9DDC-4021FD3F884A}" type="pres">
      <dgm:prSet presAssocID="{66C44EFF-DEB7-4ECA-ABBE-4389F71F4791}" presName="rootText" presStyleLbl="node4" presStyleIdx="1" presStyleCnt="3">
        <dgm:presLayoutVars>
          <dgm:chPref val="3"/>
        </dgm:presLayoutVars>
      </dgm:prSet>
      <dgm:spPr/>
    </dgm:pt>
    <dgm:pt modelId="{31C2AB31-18C1-4D26-B0DD-8C41B600DB2E}" type="pres">
      <dgm:prSet presAssocID="{66C44EFF-DEB7-4ECA-ABBE-4389F71F4791}" presName="rootConnector" presStyleLbl="node4" presStyleIdx="1" presStyleCnt="3"/>
      <dgm:spPr/>
    </dgm:pt>
    <dgm:pt modelId="{2C511510-FDB0-4159-9E5C-421F9DFD8237}" type="pres">
      <dgm:prSet presAssocID="{66C44EFF-DEB7-4ECA-ABBE-4389F71F4791}" presName="hierChild4" presStyleCnt="0"/>
      <dgm:spPr/>
    </dgm:pt>
    <dgm:pt modelId="{6230D236-7DF4-4A07-AE07-9B2EC70033FF}" type="pres">
      <dgm:prSet presAssocID="{66C44EFF-DEB7-4ECA-ABBE-4389F71F4791}" presName="hierChild5" presStyleCnt="0"/>
      <dgm:spPr/>
    </dgm:pt>
    <dgm:pt modelId="{4EFF184C-46B1-4666-A7FF-7CCA88096070}" type="pres">
      <dgm:prSet presAssocID="{7518AF73-C3E8-4B13-863B-C4E310C686A0}" presName="hierChild5" presStyleCnt="0"/>
      <dgm:spPr/>
    </dgm:pt>
    <dgm:pt modelId="{64D8CB61-8A95-4EA8-9EFE-6148B8B7E9A0}" type="pres">
      <dgm:prSet presAssocID="{3CEC508D-6423-4788-A06A-BC7655EEA4B7}" presName="Name37" presStyleLbl="parChTrans1D3" presStyleIdx="1" presStyleCnt="9"/>
      <dgm:spPr>
        <a:xfrm>
          <a:off x="1249262" y="1624342"/>
          <a:ext cx="682092" cy="23675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8379"/>
              </a:lnTo>
              <a:lnTo>
                <a:pt x="682092" y="118379"/>
              </a:lnTo>
              <a:lnTo>
                <a:pt x="682092" y="236759"/>
              </a:lnTo>
            </a:path>
          </a:pathLst>
        </a:custGeom>
      </dgm:spPr>
    </dgm:pt>
    <dgm:pt modelId="{8F8C9022-D613-4E98-B34F-9C81E10555D4}" type="pres">
      <dgm:prSet presAssocID="{E0596880-FF67-4DA5-941B-65923DFF419E}" presName="hierRoot2" presStyleCnt="0">
        <dgm:presLayoutVars>
          <dgm:hierBranch val="init"/>
        </dgm:presLayoutVars>
      </dgm:prSet>
      <dgm:spPr/>
    </dgm:pt>
    <dgm:pt modelId="{DBB2EE79-8DDB-4910-A85D-7180F0B927F2}" type="pres">
      <dgm:prSet presAssocID="{E0596880-FF67-4DA5-941B-65923DFF419E}" presName="rootComposite" presStyleCnt="0"/>
      <dgm:spPr/>
    </dgm:pt>
    <dgm:pt modelId="{B1AE9F0B-765F-4B49-A6EE-649675500B3C}" type="pres">
      <dgm:prSet presAssocID="{E0596880-FF67-4DA5-941B-65923DFF419E}" presName="rootText" presStyleLbl="node3" presStyleIdx="1" presStyleCnt="9">
        <dgm:presLayoutVars>
          <dgm:chPref val="3"/>
        </dgm:presLayoutVars>
      </dgm:prSet>
      <dgm:spPr/>
    </dgm:pt>
    <dgm:pt modelId="{97CFF68E-3BB5-4C53-9B02-85AB7D18C4D1}" type="pres">
      <dgm:prSet presAssocID="{E0596880-FF67-4DA5-941B-65923DFF419E}" presName="rootConnector" presStyleLbl="node3" presStyleIdx="1" presStyleCnt="9"/>
      <dgm:spPr/>
    </dgm:pt>
    <dgm:pt modelId="{27D47B95-7B0B-444B-9E94-7414C3B4FF0D}" type="pres">
      <dgm:prSet presAssocID="{E0596880-FF67-4DA5-941B-65923DFF419E}" presName="hierChild4" presStyleCnt="0"/>
      <dgm:spPr/>
    </dgm:pt>
    <dgm:pt modelId="{A1DC8FD9-E4F0-4026-92CE-69071939D256}" type="pres">
      <dgm:prSet presAssocID="{E0596880-FF67-4DA5-941B-65923DFF419E}" presName="hierChild5" presStyleCnt="0"/>
      <dgm:spPr/>
    </dgm:pt>
    <dgm:pt modelId="{F1181846-A028-493F-BCF9-45640A86881E}" type="pres">
      <dgm:prSet presAssocID="{8E70AA8F-7583-4AFE-9EDE-87363894E1F8}" presName="hierChild5" presStyleCnt="0"/>
      <dgm:spPr/>
    </dgm:pt>
    <dgm:pt modelId="{AF9D82A4-6332-4F9C-967C-3B7D03B1ACF6}" type="pres">
      <dgm:prSet presAssocID="{17815460-B569-463A-BACE-734F709F874A}" presName="Name37" presStyleLbl="parChTrans1D2" presStyleIdx="1" presStyleCnt="4"/>
      <dgm:spPr>
        <a:xfrm>
          <a:off x="3013684" y="823869"/>
          <a:ext cx="1304995" cy="236759"/>
        </a:xfrm>
        <a:custGeom>
          <a:avLst/>
          <a:gdLst/>
          <a:ahLst/>
          <a:cxnLst/>
          <a:rect l="0" t="0" r="0" b="0"/>
          <a:pathLst>
            <a:path>
              <a:moveTo>
                <a:pt x="1304995" y="0"/>
              </a:moveTo>
              <a:lnTo>
                <a:pt x="1304995" y="118379"/>
              </a:lnTo>
              <a:lnTo>
                <a:pt x="0" y="118379"/>
              </a:lnTo>
              <a:lnTo>
                <a:pt x="0" y="236759"/>
              </a:lnTo>
            </a:path>
          </a:pathLst>
        </a:custGeom>
      </dgm:spPr>
    </dgm:pt>
    <dgm:pt modelId="{35E70073-8B2C-49ED-BA5E-F8A102D3F642}" type="pres">
      <dgm:prSet presAssocID="{434F1058-EF12-4590-BD43-496B2D33656A}" presName="hierRoot2" presStyleCnt="0">
        <dgm:presLayoutVars>
          <dgm:hierBranch val="init"/>
        </dgm:presLayoutVars>
      </dgm:prSet>
      <dgm:spPr/>
    </dgm:pt>
    <dgm:pt modelId="{380E5686-D2B4-4A2C-BCE3-DBDB56447930}" type="pres">
      <dgm:prSet presAssocID="{434F1058-EF12-4590-BD43-496B2D33656A}" presName="rootComposite" presStyleCnt="0"/>
      <dgm:spPr/>
    </dgm:pt>
    <dgm:pt modelId="{0C278C1E-E6D3-4403-9D34-12858B00EF12}" type="pres">
      <dgm:prSet presAssocID="{434F1058-EF12-4590-BD43-496B2D33656A}" presName="rootText" presStyleLbl="node2" presStyleIdx="1" presStyleCnt="4">
        <dgm:presLayoutVars>
          <dgm:chPref val="3"/>
        </dgm:presLayoutVars>
      </dgm:prSet>
      <dgm:spPr/>
    </dgm:pt>
    <dgm:pt modelId="{165F25EC-41E0-4E90-80D9-0DB6353CD7BA}" type="pres">
      <dgm:prSet presAssocID="{434F1058-EF12-4590-BD43-496B2D33656A}" presName="rootConnector" presStyleLbl="node2" presStyleIdx="1" presStyleCnt="4"/>
      <dgm:spPr/>
    </dgm:pt>
    <dgm:pt modelId="{6CD0A106-91F3-45BF-9183-DB7CB7AC3023}" type="pres">
      <dgm:prSet presAssocID="{434F1058-EF12-4590-BD43-496B2D33656A}" presName="hierChild4" presStyleCnt="0"/>
      <dgm:spPr/>
    </dgm:pt>
    <dgm:pt modelId="{C0A39DE9-3C78-44D7-946D-B937B29423E4}" type="pres">
      <dgm:prSet presAssocID="{DA62F256-25CF-4854-BFCD-F90F70E5F8D4}" presName="Name37" presStyleLbl="parChTrans1D3" presStyleIdx="2" presStyleCnt="9"/>
      <dgm:spPr>
        <a:xfrm>
          <a:off x="2562714" y="1624342"/>
          <a:ext cx="169113" cy="51861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18616"/>
              </a:lnTo>
              <a:lnTo>
                <a:pt x="169113" y="518616"/>
              </a:lnTo>
            </a:path>
          </a:pathLst>
        </a:custGeom>
      </dgm:spPr>
    </dgm:pt>
    <dgm:pt modelId="{D93711E9-56DA-4D21-8AC2-0F214604DAC3}" type="pres">
      <dgm:prSet presAssocID="{4098A15D-6BE4-4258-B7C8-EC2A1354A4D6}" presName="hierRoot2" presStyleCnt="0">
        <dgm:presLayoutVars>
          <dgm:hierBranch val="init"/>
        </dgm:presLayoutVars>
      </dgm:prSet>
      <dgm:spPr/>
    </dgm:pt>
    <dgm:pt modelId="{04E0C6A8-5703-4661-92E2-E3604CF7F4E6}" type="pres">
      <dgm:prSet presAssocID="{4098A15D-6BE4-4258-B7C8-EC2A1354A4D6}" presName="rootComposite" presStyleCnt="0"/>
      <dgm:spPr/>
    </dgm:pt>
    <dgm:pt modelId="{7665C758-3D6C-4896-8FDC-91454A6F2294}" type="pres">
      <dgm:prSet presAssocID="{4098A15D-6BE4-4258-B7C8-EC2A1354A4D6}" presName="rootText" presStyleLbl="node3" presStyleIdx="2" presStyleCnt="9">
        <dgm:presLayoutVars>
          <dgm:chPref val="3"/>
        </dgm:presLayoutVars>
      </dgm:prSet>
      <dgm:spPr/>
    </dgm:pt>
    <dgm:pt modelId="{353A737A-EC65-4EE7-8AEC-88B7EACFFCC7}" type="pres">
      <dgm:prSet presAssocID="{4098A15D-6BE4-4258-B7C8-EC2A1354A4D6}" presName="rootConnector" presStyleLbl="node3" presStyleIdx="2" presStyleCnt="9"/>
      <dgm:spPr/>
    </dgm:pt>
    <dgm:pt modelId="{65EC00BF-BB92-430B-B86F-38DA750225DD}" type="pres">
      <dgm:prSet presAssocID="{4098A15D-6BE4-4258-B7C8-EC2A1354A4D6}" presName="hierChild4" presStyleCnt="0"/>
      <dgm:spPr/>
    </dgm:pt>
    <dgm:pt modelId="{4DAAC913-B472-4E1F-91AB-FA24D50D6C8A}" type="pres">
      <dgm:prSet presAssocID="{4098A15D-6BE4-4258-B7C8-EC2A1354A4D6}" presName="hierChild5" presStyleCnt="0"/>
      <dgm:spPr/>
    </dgm:pt>
    <dgm:pt modelId="{6DC63686-6794-44A2-AD6D-AD55AAF1F685}" type="pres">
      <dgm:prSet presAssocID="{D937D902-C50B-4BEC-9C1F-D9880BCC701B}" presName="Name37" presStyleLbl="parChTrans1D3" presStyleIdx="3" presStyleCnt="9"/>
      <dgm:spPr>
        <a:xfrm>
          <a:off x="2562714" y="1624342"/>
          <a:ext cx="169113" cy="131908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19088"/>
              </a:lnTo>
              <a:lnTo>
                <a:pt x="169113" y="1319088"/>
              </a:lnTo>
            </a:path>
          </a:pathLst>
        </a:custGeom>
      </dgm:spPr>
    </dgm:pt>
    <dgm:pt modelId="{9750BFA1-62FC-47F6-9318-F00C4C7768F5}" type="pres">
      <dgm:prSet presAssocID="{CF5B8EE4-D285-4E9D-BBB6-5F2F77DD4689}" presName="hierRoot2" presStyleCnt="0">
        <dgm:presLayoutVars>
          <dgm:hierBranch val="init"/>
        </dgm:presLayoutVars>
      </dgm:prSet>
      <dgm:spPr/>
    </dgm:pt>
    <dgm:pt modelId="{D1E9291D-8CAA-4552-9020-61DFB57E49CA}" type="pres">
      <dgm:prSet presAssocID="{CF5B8EE4-D285-4E9D-BBB6-5F2F77DD4689}" presName="rootComposite" presStyleCnt="0"/>
      <dgm:spPr/>
    </dgm:pt>
    <dgm:pt modelId="{615B0518-1486-4414-BFEC-42C0228DC46A}" type="pres">
      <dgm:prSet presAssocID="{CF5B8EE4-D285-4E9D-BBB6-5F2F77DD4689}" presName="rootText" presStyleLbl="node3" presStyleIdx="3" presStyleCnt="9">
        <dgm:presLayoutVars>
          <dgm:chPref val="3"/>
        </dgm:presLayoutVars>
      </dgm:prSet>
      <dgm:spPr/>
    </dgm:pt>
    <dgm:pt modelId="{3BEC2F58-744F-403C-B909-426E6BFBF290}" type="pres">
      <dgm:prSet presAssocID="{CF5B8EE4-D285-4E9D-BBB6-5F2F77DD4689}" presName="rootConnector" presStyleLbl="node3" presStyleIdx="3" presStyleCnt="9"/>
      <dgm:spPr/>
    </dgm:pt>
    <dgm:pt modelId="{E31D2C8D-6798-4B96-9B38-DFD106462470}" type="pres">
      <dgm:prSet presAssocID="{CF5B8EE4-D285-4E9D-BBB6-5F2F77DD4689}" presName="hierChild4" presStyleCnt="0"/>
      <dgm:spPr/>
    </dgm:pt>
    <dgm:pt modelId="{399B8063-3BE3-4D1E-AFC9-D9617E1A84DE}" type="pres">
      <dgm:prSet presAssocID="{CF5B8EE4-D285-4E9D-BBB6-5F2F77DD4689}" presName="hierChild5" presStyleCnt="0"/>
      <dgm:spPr/>
    </dgm:pt>
    <dgm:pt modelId="{2BD5B51B-28D8-4DC3-B97E-277E87135B95}" type="pres">
      <dgm:prSet presAssocID="{434F1058-EF12-4590-BD43-496B2D33656A}" presName="hierChild5" presStyleCnt="0"/>
      <dgm:spPr/>
    </dgm:pt>
    <dgm:pt modelId="{2A81D178-C6EF-4F3F-AF7B-7DDF385F5947}" type="pres">
      <dgm:prSet presAssocID="{8A26916C-03BF-4B0E-92AF-656A56CF8513}" presName="Name37" presStyleLbl="parChTrans1D2" presStyleIdx="2" presStyleCnt="4"/>
      <dgm:spPr>
        <a:xfrm>
          <a:off x="4318680" y="823869"/>
          <a:ext cx="1023139" cy="23675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8379"/>
              </a:lnTo>
              <a:lnTo>
                <a:pt x="1023139" y="118379"/>
              </a:lnTo>
              <a:lnTo>
                <a:pt x="1023139" y="236759"/>
              </a:lnTo>
            </a:path>
          </a:pathLst>
        </a:custGeom>
      </dgm:spPr>
    </dgm:pt>
    <dgm:pt modelId="{9CC7B924-8766-42B9-8341-5234434E6678}" type="pres">
      <dgm:prSet presAssocID="{C1D130BE-4BC5-481C-BADA-14A869727C0B}" presName="hierRoot2" presStyleCnt="0">
        <dgm:presLayoutVars>
          <dgm:hierBranch val="init"/>
        </dgm:presLayoutVars>
      </dgm:prSet>
      <dgm:spPr/>
    </dgm:pt>
    <dgm:pt modelId="{201485F5-AD23-4BA7-AD17-6B03B0550A82}" type="pres">
      <dgm:prSet presAssocID="{C1D130BE-4BC5-481C-BADA-14A869727C0B}" presName="rootComposite" presStyleCnt="0"/>
      <dgm:spPr/>
    </dgm:pt>
    <dgm:pt modelId="{631EFF45-A493-48D4-BE0B-7D591AB48D4E}" type="pres">
      <dgm:prSet presAssocID="{C1D130BE-4BC5-481C-BADA-14A869727C0B}" presName="rootText" presStyleLbl="node2" presStyleIdx="2" presStyleCnt="4">
        <dgm:presLayoutVars>
          <dgm:chPref val="3"/>
        </dgm:presLayoutVars>
      </dgm:prSet>
      <dgm:spPr/>
    </dgm:pt>
    <dgm:pt modelId="{9C332EEE-9C5F-4098-9BEB-CD1D2FC944F6}" type="pres">
      <dgm:prSet presAssocID="{C1D130BE-4BC5-481C-BADA-14A869727C0B}" presName="rootConnector" presStyleLbl="node2" presStyleIdx="2" presStyleCnt="4"/>
      <dgm:spPr/>
    </dgm:pt>
    <dgm:pt modelId="{56BEA5AB-84FA-4F0F-90B7-71A772740F78}" type="pres">
      <dgm:prSet presAssocID="{C1D130BE-4BC5-481C-BADA-14A869727C0B}" presName="hierChild4" presStyleCnt="0"/>
      <dgm:spPr/>
    </dgm:pt>
    <dgm:pt modelId="{00876D94-AF5C-4108-AB73-963BD23E39C5}" type="pres">
      <dgm:prSet presAssocID="{503510FB-9E52-432E-98AC-FEF28CA55F0D}" presName="Name37" presStyleLbl="parChTrans1D3" presStyleIdx="4" presStyleCnt="9"/>
      <dgm:spPr>
        <a:xfrm>
          <a:off x="4659727" y="1624342"/>
          <a:ext cx="682092" cy="236759"/>
        </a:xfrm>
        <a:custGeom>
          <a:avLst/>
          <a:gdLst/>
          <a:ahLst/>
          <a:cxnLst/>
          <a:rect l="0" t="0" r="0" b="0"/>
          <a:pathLst>
            <a:path>
              <a:moveTo>
                <a:pt x="682092" y="0"/>
              </a:moveTo>
              <a:lnTo>
                <a:pt x="682092" y="118379"/>
              </a:lnTo>
              <a:lnTo>
                <a:pt x="0" y="118379"/>
              </a:lnTo>
              <a:lnTo>
                <a:pt x="0" y="236759"/>
              </a:lnTo>
            </a:path>
          </a:pathLst>
        </a:custGeom>
      </dgm:spPr>
    </dgm:pt>
    <dgm:pt modelId="{C9116CC6-BEBE-407F-83C6-6A3CCB4A74D9}" type="pres">
      <dgm:prSet presAssocID="{CD6C8CAB-2DB8-4BEB-8794-D14E24B56239}" presName="hierRoot2" presStyleCnt="0">
        <dgm:presLayoutVars>
          <dgm:hierBranch val="init"/>
        </dgm:presLayoutVars>
      </dgm:prSet>
      <dgm:spPr/>
    </dgm:pt>
    <dgm:pt modelId="{16C3458A-2ED2-48B2-8A36-7A8854892F0E}" type="pres">
      <dgm:prSet presAssocID="{CD6C8CAB-2DB8-4BEB-8794-D14E24B56239}" presName="rootComposite" presStyleCnt="0"/>
      <dgm:spPr/>
    </dgm:pt>
    <dgm:pt modelId="{4B3C9A44-DAFA-4DB6-A663-0F10D810BCA6}" type="pres">
      <dgm:prSet presAssocID="{CD6C8CAB-2DB8-4BEB-8794-D14E24B56239}" presName="rootText" presStyleLbl="node3" presStyleIdx="4" presStyleCnt="9">
        <dgm:presLayoutVars>
          <dgm:chPref val="3"/>
        </dgm:presLayoutVars>
      </dgm:prSet>
      <dgm:spPr/>
    </dgm:pt>
    <dgm:pt modelId="{48D7EDA5-8335-4A63-8E9E-A243B77B3ED6}" type="pres">
      <dgm:prSet presAssocID="{CD6C8CAB-2DB8-4BEB-8794-D14E24B56239}" presName="rootConnector" presStyleLbl="node3" presStyleIdx="4" presStyleCnt="9"/>
      <dgm:spPr/>
    </dgm:pt>
    <dgm:pt modelId="{21D1399D-31A6-47F5-AC15-2610A4F9E175}" type="pres">
      <dgm:prSet presAssocID="{CD6C8CAB-2DB8-4BEB-8794-D14E24B56239}" presName="hierChild4" presStyleCnt="0"/>
      <dgm:spPr/>
    </dgm:pt>
    <dgm:pt modelId="{CB675D01-CEDB-476B-8326-E51A82F56C05}" type="pres">
      <dgm:prSet presAssocID="{CD6C8CAB-2DB8-4BEB-8794-D14E24B56239}" presName="hierChild5" presStyleCnt="0"/>
      <dgm:spPr/>
    </dgm:pt>
    <dgm:pt modelId="{68C4DF44-9C8C-4D89-A37C-BD3659C51111}" type="pres">
      <dgm:prSet presAssocID="{B3C6A11E-10F5-433C-A0FB-1B185A7D12E0}" presName="Name37" presStyleLbl="parChTrans1D3" presStyleIdx="5" presStyleCnt="9"/>
      <dgm:spPr>
        <a:xfrm>
          <a:off x="5341820" y="1624342"/>
          <a:ext cx="682092" cy="23675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8379"/>
              </a:lnTo>
              <a:lnTo>
                <a:pt x="682092" y="118379"/>
              </a:lnTo>
              <a:lnTo>
                <a:pt x="682092" y="236759"/>
              </a:lnTo>
            </a:path>
          </a:pathLst>
        </a:custGeom>
      </dgm:spPr>
    </dgm:pt>
    <dgm:pt modelId="{18E141D3-A6BB-42E4-ACBA-E01199B001CC}" type="pres">
      <dgm:prSet presAssocID="{16945C89-930D-4764-8730-4F183F8B4C87}" presName="hierRoot2" presStyleCnt="0">
        <dgm:presLayoutVars>
          <dgm:hierBranch val="init"/>
        </dgm:presLayoutVars>
      </dgm:prSet>
      <dgm:spPr/>
    </dgm:pt>
    <dgm:pt modelId="{EC7A4072-4226-4E94-8A1A-C195236237AE}" type="pres">
      <dgm:prSet presAssocID="{16945C89-930D-4764-8730-4F183F8B4C87}" presName="rootComposite" presStyleCnt="0"/>
      <dgm:spPr/>
    </dgm:pt>
    <dgm:pt modelId="{7CD91223-4941-44B9-BF38-DEF7DA4AA325}" type="pres">
      <dgm:prSet presAssocID="{16945C89-930D-4764-8730-4F183F8B4C87}" presName="rootText" presStyleLbl="node3" presStyleIdx="5" presStyleCnt="9">
        <dgm:presLayoutVars>
          <dgm:chPref val="3"/>
        </dgm:presLayoutVars>
      </dgm:prSet>
      <dgm:spPr/>
    </dgm:pt>
    <dgm:pt modelId="{3E3AB7CD-4FBC-4D46-83B4-775F04938C01}" type="pres">
      <dgm:prSet presAssocID="{16945C89-930D-4764-8730-4F183F8B4C87}" presName="rootConnector" presStyleLbl="node3" presStyleIdx="5" presStyleCnt="9"/>
      <dgm:spPr/>
    </dgm:pt>
    <dgm:pt modelId="{3C309F22-610B-4999-AD5E-5BEC92B32A7A}" type="pres">
      <dgm:prSet presAssocID="{16945C89-930D-4764-8730-4F183F8B4C87}" presName="hierChild4" presStyleCnt="0"/>
      <dgm:spPr/>
    </dgm:pt>
    <dgm:pt modelId="{92970902-D589-48A7-9250-9AA7724F2F2E}" type="pres">
      <dgm:prSet presAssocID="{324BA76D-EC38-4C56-840D-1090A8A73FA9}" presName="Name37" presStyleLbl="parChTrans1D4" presStyleIdx="2" presStyleCnt="3"/>
      <dgm:spPr>
        <a:xfrm>
          <a:off x="5572942" y="2424815"/>
          <a:ext cx="169113" cy="51861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18616"/>
              </a:lnTo>
              <a:lnTo>
                <a:pt x="169113" y="518616"/>
              </a:lnTo>
            </a:path>
          </a:pathLst>
        </a:custGeom>
      </dgm:spPr>
    </dgm:pt>
    <dgm:pt modelId="{8C553A97-397A-4F81-8A4A-E5FB21FD45C4}" type="pres">
      <dgm:prSet presAssocID="{2FEE2BF4-38E6-46BE-8106-6EC49885456E}" presName="hierRoot2" presStyleCnt="0">
        <dgm:presLayoutVars>
          <dgm:hierBranch val="init"/>
        </dgm:presLayoutVars>
      </dgm:prSet>
      <dgm:spPr/>
    </dgm:pt>
    <dgm:pt modelId="{F374A563-D1CA-42A1-92CE-DF90884540A9}" type="pres">
      <dgm:prSet presAssocID="{2FEE2BF4-38E6-46BE-8106-6EC49885456E}" presName="rootComposite" presStyleCnt="0"/>
      <dgm:spPr/>
    </dgm:pt>
    <dgm:pt modelId="{98F98B7D-FCD3-4DA2-A2BC-59B151E6C6FA}" type="pres">
      <dgm:prSet presAssocID="{2FEE2BF4-38E6-46BE-8106-6EC49885456E}" presName="rootText" presStyleLbl="node4" presStyleIdx="2" presStyleCnt="3">
        <dgm:presLayoutVars>
          <dgm:chPref val="3"/>
        </dgm:presLayoutVars>
      </dgm:prSet>
      <dgm:spPr/>
    </dgm:pt>
    <dgm:pt modelId="{B9882219-687A-4676-B54F-3C0AB5414E4C}" type="pres">
      <dgm:prSet presAssocID="{2FEE2BF4-38E6-46BE-8106-6EC49885456E}" presName="rootConnector" presStyleLbl="node4" presStyleIdx="2" presStyleCnt="3"/>
      <dgm:spPr/>
    </dgm:pt>
    <dgm:pt modelId="{EBB48B14-1C80-40E7-B31E-4AF56EA22D0A}" type="pres">
      <dgm:prSet presAssocID="{2FEE2BF4-38E6-46BE-8106-6EC49885456E}" presName="hierChild4" presStyleCnt="0"/>
      <dgm:spPr/>
    </dgm:pt>
    <dgm:pt modelId="{6096A362-249E-4554-ACF6-A14DBA4F8591}" type="pres">
      <dgm:prSet presAssocID="{2FEE2BF4-38E6-46BE-8106-6EC49885456E}" presName="hierChild5" presStyleCnt="0"/>
      <dgm:spPr/>
    </dgm:pt>
    <dgm:pt modelId="{1DFD2664-AE25-4FC5-896D-CB7D3CCD902C}" type="pres">
      <dgm:prSet presAssocID="{16945C89-930D-4764-8730-4F183F8B4C87}" presName="hierChild5" presStyleCnt="0"/>
      <dgm:spPr/>
    </dgm:pt>
    <dgm:pt modelId="{0B372373-4487-472C-97E3-8D5237FE7455}" type="pres">
      <dgm:prSet presAssocID="{C1D130BE-4BC5-481C-BADA-14A869727C0B}" presName="hierChild5" presStyleCnt="0"/>
      <dgm:spPr/>
    </dgm:pt>
    <dgm:pt modelId="{383E6E55-631F-4A62-97E6-29DAC118DDE0}" type="pres">
      <dgm:prSet presAssocID="{023E5807-D5D3-4230-BDB6-2B2C2550CF5E}" presName="Name37" presStyleLbl="parChTrans1D2" presStyleIdx="3" presStyleCnt="4"/>
      <dgm:spPr>
        <a:xfrm>
          <a:off x="4318680" y="823869"/>
          <a:ext cx="3069418" cy="23675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8379"/>
              </a:lnTo>
              <a:lnTo>
                <a:pt x="3069418" y="118379"/>
              </a:lnTo>
              <a:lnTo>
                <a:pt x="3069418" y="236759"/>
              </a:lnTo>
            </a:path>
          </a:pathLst>
        </a:custGeom>
      </dgm:spPr>
    </dgm:pt>
    <dgm:pt modelId="{117790D6-DC68-4298-A3BB-3B6EC2E7FE2B}" type="pres">
      <dgm:prSet presAssocID="{88C71571-1CFF-494F-BAFF-81E824633B5F}" presName="hierRoot2" presStyleCnt="0">
        <dgm:presLayoutVars>
          <dgm:hierBranch val="init"/>
        </dgm:presLayoutVars>
      </dgm:prSet>
      <dgm:spPr/>
    </dgm:pt>
    <dgm:pt modelId="{E19A90BC-3FDE-4F93-9B4E-217BA584E81A}" type="pres">
      <dgm:prSet presAssocID="{88C71571-1CFF-494F-BAFF-81E824633B5F}" presName="rootComposite" presStyleCnt="0"/>
      <dgm:spPr/>
    </dgm:pt>
    <dgm:pt modelId="{61A8E91F-01FA-4EC2-83A7-E3CC9F429B67}" type="pres">
      <dgm:prSet presAssocID="{88C71571-1CFF-494F-BAFF-81E824633B5F}" presName="rootText" presStyleLbl="node2" presStyleIdx="3" presStyleCnt="4">
        <dgm:presLayoutVars>
          <dgm:chPref val="3"/>
        </dgm:presLayoutVars>
      </dgm:prSet>
      <dgm:spPr/>
    </dgm:pt>
    <dgm:pt modelId="{01E40F6E-0952-40CB-BC6A-5850967098C7}" type="pres">
      <dgm:prSet presAssocID="{88C71571-1CFF-494F-BAFF-81E824633B5F}" presName="rootConnector" presStyleLbl="node2" presStyleIdx="3" presStyleCnt="4"/>
      <dgm:spPr/>
    </dgm:pt>
    <dgm:pt modelId="{DEAD537A-AF51-4EA7-B01C-F2E05410BB9B}" type="pres">
      <dgm:prSet presAssocID="{88C71571-1CFF-494F-BAFF-81E824633B5F}" presName="hierChild4" presStyleCnt="0"/>
      <dgm:spPr/>
    </dgm:pt>
    <dgm:pt modelId="{04EB6106-AA2F-4D90-9234-9ED0F55F1EE2}" type="pres">
      <dgm:prSet presAssocID="{93289606-93D3-4330-BA64-3BCE9A9704BB}" presName="Name37" presStyleLbl="parChTrans1D3" presStyleIdx="6" presStyleCnt="9"/>
      <dgm:spPr>
        <a:xfrm>
          <a:off x="6937128" y="1624342"/>
          <a:ext cx="169113" cy="51861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18616"/>
              </a:lnTo>
              <a:lnTo>
                <a:pt x="169113" y="518616"/>
              </a:lnTo>
            </a:path>
          </a:pathLst>
        </a:custGeom>
      </dgm:spPr>
    </dgm:pt>
    <dgm:pt modelId="{C43EFFE9-A400-403E-9A51-5B7F64DC0870}" type="pres">
      <dgm:prSet presAssocID="{A608CA8A-B3DC-42F4-B82B-9CF85EED0989}" presName="hierRoot2" presStyleCnt="0">
        <dgm:presLayoutVars>
          <dgm:hierBranch val="init"/>
        </dgm:presLayoutVars>
      </dgm:prSet>
      <dgm:spPr/>
    </dgm:pt>
    <dgm:pt modelId="{F8A84808-4462-4063-A0DE-C7B98909A2A0}" type="pres">
      <dgm:prSet presAssocID="{A608CA8A-B3DC-42F4-B82B-9CF85EED0989}" presName="rootComposite" presStyleCnt="0"/>
      <dgm:spPr/>
    </dgm:pt>
    <dgm:pt modelId="{98B82480-E653-42CA-AFC5-E457AA2E5164}" type="pres">
      <dgm:prSet presAssocID="{A608CA8A-B3DC-42F4-B82B-9CF85EED0989}" presName="rootText" presStyleLbl="node3" presStyleIdx="6" presStyleCnt="9">
        <dgm:presLayoutVars>
          <dgm:chPref val="3"/>
        </dgm:presLayoutVars>
      </dgm:prSet>
      <dgm:spPr/>
    </dgm:pt>
    <dgm:pt modelId="{B2EB92F5-E850-4932-9A54-A77A9BEAF584}" type="pres">
      <dgm:prSet presAssocID="{A608CA8A-B3DC-42F4-B82B-9CF85EED0989}" presName="rootConnector" presStyleLbl="node3" presStyleIdx="6" presStyleCnt="9"/>
      <dgm:spPr/>
    </dgm:pt>
    <dgm:pt modelId="{BFA9275A-00CD-411A-8D4B-CF013465A8EA}" type="pres">
      <dgm:prSet presAssocID="{A608CA8A-B3DC-42F4-B82B-9CF85EED0989}" presName="hierChild4" presStyleCnt="0"/>
      <dgm:spPr/>
    </dgm:pt>
    <dgm:pt modelId="{75EB34A3-995A-4F17-93CD-759E80D48427}" type="pres">
      <dgm:prSet presAssocID="{A608CA8A-B3DC-42F4-B82B-9CF85EED0989}" presName="hierChild5" presStyleCnt="0"/>
      <dgm:spPr/>
    </dgm:pt>
    <dgm:pt modelId="{EC38C921-903D-41CC-BA05-27E8EB57B822}" type="pres">
      <dgm:prSet presAssocID="{1CCD59CB-29EF-4DB5-92B0-5F91BABCF0D1}" presName="Name37" presStyleLbl="parChTrans1D3" presStyleIdx="7" presStyleCnt="9"/>
      <dgm:spPr>
        <a:xfrm>
          <a:off x="6937128" y="1624342"/>
          <a:ext cx="169113" cy="131908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19088"/>
              </a:lnTo>
              <a:lnTo>
                <a:pt x="169113" y="1319088"/>
              </a:lnTo>
            </a:path>
          </a:pathLst>
        </a:custGeom>
      </dgm:spPr>
    </dgm:pt>
    <dgm:pt modelId="{7451E705-F9E9-484E-BCA0-ED46356BB449}" type="pres">
      <dgm:prSet presAssocID="{7537127D-3C7B-448E-9BC8-54B4742290EB}" presName="hierRoot2" presStyleCnt="0">
        <dgm:presLayoutVars>
          <dgm:hierBranch val="init"/>
        </dgm:presLayoutVars>
      </dgm:prSet>
      <dgm:spPr/>
    </dgm:pt>
    <dgm:pt modelId="{8E5E3AC5-419F-4A25-98EC-B59F030DFA8F}" type="pres">
      <dgm:prSet presAssocID="{7537127D-3C7B-448E-9BC8-54B4742290EB}" presName="rootComposite" presStyleCnt="0"/>
      <dgm:spPr/>
    </dgm:pt>
    <dgm:pt modelId="{10CDABED-BD00-44C7-BBD9-C798846AAA29}" type="pres">
      <dgm:prSet presAssocID="{7537127D-3C7B-448E-9BC8-54B4742290EB}" presName="rootText" presStyleLbl="node3" presStyleIdx="7" presStyleCnt="9">
        <dgm:presLayoutVars>
          <dgm:chPref val="3"/>
        </dgm:presLayoutVars>
      </dgm:prSet>
      <dgm:spPr/>
    </dgm:pt>
    <dgm:pt modelId="{86C77FF0-90ED-4628-9F1D-562F7773A4CE}" type="pres">
      <dgm:prSet presAssocID="{7537127D-3C7B-448E-9BC8-54B4742290EB}" presName="rootConnector" presStyleLbl="node3" presStyleIdx="7" presStyleCnt="9"/>
      <dgm:spPr/>
    </dgm:pt>
    <dgm:pt modelId="{26610769-9A4E-4D68-A9C3-07C4E0C2413E}" type="pres">
      <dgm:prSet presAssocID="{7537127D-3C7B-448E-9BC8-54B4742290EB}" presName="hierChild4" presStyleCnt="0"/>
      <dgm:spPr/>
    </dgm:pt>
    <dgm:pt modelId="{0D920B60-6F9C-4234-8FE3-636C749541EB}" type="pres">
      <dgm:prSet presAssocID="{7537127D-3C7B-448E-9BC8-54B4742290EB}" presName="hierChild5" presStyleCnt="0"/>
      <dgm:spPr/>
    </dgm:pt>
    <dgm:pt modelId="{27EA7125-AC84-4988-BFD8-652979089411}" type="pres">
      <dgm:prSet presAssocID="{F2965F63-D91A-4E89-A4AF-C8CC901E5AD5}" presName="Name37" presStyleLbl="parChTrans1D3" presStyleIdx="8" presStyleCnt="9"/>
      <dgm:spPr>
        <a:xfrm>
          <a:off x="6937128" y="1624342"/>
          <a:ext cx="169113" cy="211956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19561"/>
              </a:lnTo>
              <a:lnTo>
                <a:pt x="169113" y="2119561"/>
              </a:lnTo>
            </a:path>
          </a:pathLst>
        </a:custGeom>
      </dgm:spPr>
    </dgm:pt>
    <dgm:pt modelId="{2BD1E04D-85E5-4380-8510-EE464A8FD8E6}" type="pres">
      <dgm:prSet presAssocID="{6B819213-CCC8-47D2-B6CC-5D80BC4CE389}" presName="hierRoot2" presStyleCnt="0">
        <dgm:presLayoutVars>
          <dgm:hierBranch val="init"/>
        </dgm:presLayoutVars>
      </dgm:prSet>
      <dgm:spPr/>
    </dgm:pt>
    <dgm:pt modelId="{02E1FA50-08B8-443E-92D5-0164CAAFDEC5}" type="pres">
      <dgm:prSet presAssocID="{6B819213-CCC8-47D2-B6CC-5D80BC4CE389}" presName="rootComposite" presStyleCnt="0"/>
      <dgm:spPr/>
    </dgm:pt>
    <dgm:pt modelId="{9B8410F3-C261-4466-BF12-B871CE7C6EB2}" type="pres">
      <dgm:prSet presAssocID="{6B819213-CCC8-47D2-B6CC-5D80BC4CE389}" presName="rootText" presStyleLbl="node3" presStyleIdx="8" presStyleCnt="9">
        <dgm:presLayoutVars>
          <dgm:chPref val="3"/>
        </dgm:presLayoutVars>
      </dgm:prSet>
      <dgm:spPr/>
    </dgm:pt>
    <dgm:pt modelId="{330B4E35-D83A-4E57-B9B2-DA8B5AF245A4}" type="pres">
      <dgm:prSet presAssocID="{6B819213-CCC8-47D2-B6CC-5D80BC4CE389}" presName="rootConnector" presStyleLbl="node3" presStyleIdx="8" presStyleCnt="9"/>
      <dgm:spPr/>
    </dgm:pt>
    <dgm:pt modelId="{F0650CD3-325E-474F-ABB5-01A954D0A9D5}" type="pres">
      <dgm:prSet presAssocID="{6B819213-CCC8-47D2-B6CC-5D80BC4CE389}" presName="hierChild4" presStyleCnt="0"/>
      <dgm:spPr/>
    </dgm:pt>
    <dgm:pt modelId="{F804C94F-0BB6-405E-9F26-28E14F30A36F}" type="pres">
      <dgm:prSet presAssocID="{6B819213-CCC8-47D2-B6CC-5D80BC4CE389}" presName="hierChild5" presStyleCnt="0"/>
      <dgm:spPr/>
    </dgm:pt>
    <dgm:pt modelId="{BD3EBFEE-9F54-4075-8F9F-583E8B7A30A7}" type="pres">
      <dgm:prSet presAssocID="{88C71571-1CFF-494F-BAFF-81E824633B5F}" presName="hierChild5" presStyleCnt="0"/>
      <dgm:spPr/>
    </dgm:pt>
    <dgm:pt modelId="{1946EA24-9D5D-4E3F-88BA-D24945A00923}" type="pres">
      <dgm:prSet presAssocID="{D0997319-AE2C-4C46-ADCB-BA43BE3F3F54}" presName="hierChild3" presStyleCnt="0"/>
      <dgm:spPr/>
    </dgm:pt>
  </dgm:ptLst>
  <dgm:cxnLst>
    <dgm:cxn modelId="{F5AF5E02-5879-4D61-A00A-76BB379893FF}" type="presOf" srcId="{17815460-B569-463A-BACE-734F709F874A}" destId="{AF9D82A4-6332-4F9C-967C-3B7D03B1ACF6}" srcOrd="0" destOrd="0" presId="urn:microsoft.com/office/officeart/2005/8/layout/orgChart1"/>
    <dgm:cxn modelId="{2ED6F702-CE72-434F-A1BB-6BCE9E2DA2BA}" srcId="{434F1058-EF12-4590-BD43-496B2D33656A}" destId="{CF5B8EE4-D285-4E9D-BBB6-5F2F77DD4689}" srcOrd="1" destOrd="0" parTransId="{D937D902-C50B-4BEC-9C1F-D9880BCC701B}" sibTransId="{CADCD7D6-E889-4A66-B79B-3ACEEF43F075}"/>
    <dgm:cxn modelId="{E3108803-77A4-4283-A91D-C25EF2C083E8}" type="presOf" srcId="{434F1058-EF12-4590-BD43-496B2D33656A}" destId="{165F25EC-41E0-4E90-80D9-0DB6353CD7BA}" srcOrd="1" destOrd="0" presId="urn:microsoft.com/office/officeart/2005/8/layout/orgChart1"/>
    <dgm:cxn modelId="{F9643C05-4751-4EB0-B37F-E7F06D28648C}" type="presOf" srcId="{6B819213-CCC8-47D2-B6CC-5D80BC4CE389}" destId="{330B4E35-D83A-4E57-B9B2-DA8B5AF245A4}" srcOrd="1" destOrd="0" presId="urn:microsoft.com/office/officeart/2005/8/layout/orgChart1"/>
    <dgm:cxn modelId="{828F1309-05A0-411F-9BF4-7A33051A42F7}" type="presOf" srcId="{E0596880-FF67-4DA5-941B-65923DFF419E}" destId="{B1AE9F0B-765F-4B49-A6EE-649675500B3C}" srcOrd="0" destOrd="0" presId="urn:microsoft.com/office/officeart/2005/8/layout/orgChart1"/>
    <dgm:cxn modelId="{AA1CBB0F-5929-4A28-B2C1-3544B9BE58BB}" type="presOf" srcId="{F2965F63-D91A-4E89-A4AF-C8CC901E5AD5}" destId="{27EA7125-AC84-4988-BFD8-652979089411}" srcOrd="0" destOrd="0" presId="urn:microsoft.com/office/officeart/2005/8/layout/orgChart1"/>
    <dgm:cxn modelId="{D956961F-0BFD-4D49-B2FA-BAA2389B4D39}" type="presOf" srcId="{CD6C8CAB-2DB8-4BEB-8794-D14E24B56239}" destId="{48D7EDA5-8335-4A63-8E9E-A243B77B3ED6}" srcOrd="1" destOrd="0" presId="urn:microsoft.com/office/officeart/2005/8/layout/orgChart1"/>
    <dgm:cxn modelId="{FA09AE21-B7CD-4FD6-8995-636BCA4C6FBA}" type="presOf" srcId="{7537127D-3C7B-448E-9BC8-54B4742290EB}" destId="{86C77FF0-90ED-4628-9F1D-562F7773A4CE}" srcOrd="1" destOrd="0" presId="urn:microsoft.com/office/officeart/2005/8/layout/orgChart1"/>
    <dgm:cxn modelId="{3EBB5D26-48FB-4B9D-8F07-C012600ECA24}" srcId="{88C71571-1CFF-494F-BAFF-81E824633B5F}" destId="{7537127D-3C7B-448E-9BC8-54B4742290EB}" srcOrd="1" destOrd="0" parTransId="{1CCD59CB-29EF-4DB5-92B0-5F91BABCF0D1}" sibTransId="{BB96C450-FBB5-4410-9A61-00A070372F2B}"/>
    <dgm:cxn modelId="{493B4127-226D-4CC2-9F66-D8ACF5833085}" type="presOf" srcId="{D937D902-C50B-4BEC-9C1F-D9880BCC701B}" destId="{6DC63686-6794-44A2-AD6D-AD55AAF1F685}" srcOrd="0" destOrd="0" presId="urn:microsoft.com/office/officeart/2005/8/layout/orgChart1"/>
    <dgm:cxn modelId="{A0918F27-5384-4C5C-B3B6-DB3769907A88}" type="presOf" srcId="{DA62F256-25CF-4854-BFCD-F90F70E5F8D4}" destId="{C0A39DE9-3C78-44D7-946D-B937B29423E4}" srcOrd="0" destOrd="0" presId="urn:microsoft.com/office/officeart/2005/8/layout/orgChart1"/>
    <dgm:cxn modelId="{8E06322B-B8D8-4E4B-A494-BB93A703FC72}" type="presOf" srcId="{CF5B8EE4-D285-4E9D-BBB6-5F2F77DD4689}" destId="{3BEC2F58-744F-403C-B909-426E6BFBF290}" srcOrd="1" destOrd="0" presId="urn:microsoft.com/office/officeart/2005/8/layout/orgChart1"/>
    <dgm:cxn modelId="{E962EE2E-BBA4-4946-9C2C-E1305DB75C36}" type="presOf" srcId="{D0997319-AE2C-4C46-ADCB-BA43BE3F3F54}" destId="{37B3718D-D095-4E7C-B2C8-70FADAE068BC}" srcOrd="0" destOrd="0" presId="urn:microsoft.com/office/officeart/2005/8/layout/orgChart1"/>
    <dgm:cxn modelId="{8B18EA30-B32D-4E76-8E9E-11BBEA5E5DEA}" type="presOf" srcId="{4098A15D-6BE4-4258-B7C8-EC2A1354A4D6}" destId="{7665C758-3D6C-4896-8FDC-91454A6F2294}" srcOrd="0" destOrd="0" presId="urn:microsoft.com/office/officeart/2005/8/layout/orgChart1"/>
    <dgm:cxn modelId="{9486E231-E761-415A-A46A-B222DD3C9A89}" srcId="{96C9D5F4-FF4F-420D-8420-A926E166D7A2}" destId="{D0997319-AE2C-4C46-ADCB-BA43BE3F3F54}" srcOrd="0" destOrd="0" parTransId="{EDD69CBB-FC0D-413C-A203-D32C53DEA1CA}" sibTransId="{E975384C-827E-414A-AEB5-7C3391463B49}"/>
    <dgm:cxn modelId="{A4AD9337-173C-40F7-A4C5-50D67D3AD6F3}" type="presOf" srcId="{C1D130BE-4BC5-481C-BADA-14A869727C0B}" destId="{9C332EEE-9C5F-4098-9BEB-CD1D2FC944F6}" srcOrd="1" destOrd="0" presId="urn:microsoft.com/office/officeart/2005/8/layout/orgChart1"/>
    <dgm:cxn modelId="{B6A3253C-55B9-4995-9269-552A28BF24FC}" type="presOf" srcId="{88C71571-1CFF-494F-BAFF-81E824633B5F}" destId="{61A8E91F-01FA-4EC2-83A7-E3CC9F429B67}" srcOrd="0" destOrd="0" presId="urn:microsoft.com/office/officeart/2005/8/layout/orgChart1"/>
    <dgm:cxn modelId="{A51E9E3C-7C61-4C59-A9D3-A7ADEAD0E67E}" type="presOf" srcId="{16945C89-930D-4764-8730-4F183F8B4C87}" destId="{7CD91223-4941-44B9-BF38-DEF7DA4AA325}" srcOrd="0" destOrd="0" presId="urn:microsoft.com/office/officeart/2005/8/layout/orgChart1"/>
    <dgm:cxn modelId="{7CDC2B3D-93D0-4752-AB71-7D7520A9E25A}" type="presOf" srcId="{8E70AA8F-7583-4AFE-9EDE-87363894E1F8}" destId="{FAD2C39F-60F3-4070-83E7-DC9FCC542D6F}" srcOrd="1" destOrd="0" presId="urn:microsoft.com/office/officeart/2005/8/layout/orgChart1"/>
    <dgm:cxn modelId="{A259775D-9C36-4ACD-8965-090CEA188B42}" srcId="{7518AF73-C3E8-4B13-863B-C4E310C686A0}" destId="{66C44EFF-DEB7-4ECA-ABBE-4389F71F4791}" srcOrd="1" destOrd="0" parTransId="{48DD0E39-F512-4992-838B-71D188118365}" sibTransId="{7E567B3E-F5E2-4DF6-8E1C-29A3F58A5F52}"/>
    <dgm:cxn modelId="{DE7D2D41-F718-4ACC-947A-A68B14A0C924}" type="presOf" srcId="{2FEE2BF4-38E6-46BE-8106-6EC49885456E}" destId="{B9882219-687A-4676-B54F-3C0AB5414E4C}" srcOrd="1" destOrd="0" presId="urn:microsoft.com/office/officeart/2005/8/layout/orgChart1"/>
    <dgm:cxn modelId="{79E73566-0551-4F02-8A27-162162DB9FC6}" type="presOf" srcId="{66C44EFF-DEB7-4ECA-ABBE-4389F71F4791}" destId="{FE119EF5-0B4C-4ED4-9DDC-4021FD3F884A}" srcOrd="0" destOrd="0" presId="urn:microsoft.com/office/officeart/2005/8/layout/orgChart1"/>
    <dgm:cxn modelId="{3CA5F846-F25A-4044-BB9A-4D4A38BD96DF}" srcId="{88C71571-1CFF-494F-BAFF-81E824633B5F}" destId="{6B819213-CCC8-47D2-B6CC-5D80BC4CE389}" srcOrd="2" destOrd="0" parTransId="{F2965F63-D91A-4E89-A4AF-C8CC901E5AD5}" sibTransId="{2A5E58D8-5987-48E0-ADE2-924A00521307}"/>
    <dgm:cxn modelId="{9E322647-D162-4427-8F6A-6BEAB5D81700}" type="presOf" srcId="{3CEC508D-6423-4788-A06A-BC7655EEA4B7}" destId="{64D8CB61-8A95-4EA8-9EFE-6148B8B7E9A0}" srcOrd="0" destOrd="0" presId="urn:microsoft.com/office/officeart/2005/8/layout/orgChart1"/>
    <dgm:cxn modelId="{99A3574A-E72A-444E-BE36-70A4836A8332}" type="presOf" srcId="{7537127D-3C7B-448E-9BC8-54B4742290EB}" destId="{10CDABED-BD00-44C7-BBD9-C798846AAA29}" srcOrd="0" destOrd="0" presId="urn:microsoft.com/office/officeart/2005/8/layout/orgChart1"/>
    <dgm:cxn modelId="{175D4B6B-37B1-4F0F-8368-6E883956993C}" type="presOf" srcId="{4098A15D-6BE4-4258-B7C8-EC2A1354A4D6}" destId="{353A737A-EC65-4EE7-8AEC-88B7EACFFCC7}" srcOrd="1" destOrd="0" presId="urn:microsoft.com/office/officeart/2005/8/layout/orgChart1"/>
    <dgm:cxn modelId="{08C6FF6E-ED40-443D-B75C-6827A78AAE2F}" srcId="{C1D130BE-4BC5-481C-BADA-14A869727C0B}" destId="{CD6C8CAB-2DB8-4BEB-8794-D14E24B56239}" srcOrd="0" destOrd="0" parTransId="{503510FB-9E52-432E-98AC-FEF28CA55F0D}" sibTransId="{F6688289-1E3B-4C81-B097-4BC4F02DEEB1}"/>
    <dgm:cxn modelId="{ECA49670-7CEB-44B0-B9A8-4FC394845100}" type="presOf" srcId="{A608CA8A-B3DC-42F4-B82B-9CF85EED0989}" destId="{98B82480-E653-42CA-AFC5-E457AA2E5164}" srcOrd="0" destOrd="0" presId="urn:microsoft.com/office/officeart/2005/8/layout/orgChart1"/>
    <dgm:cxn modelId="{44250F51-0CF7-46AD-839D-27C936F16713}" type="presOf" srcId="{93289606-93D3-4330-BA64-3BCE9A9704BB}" destId="{04EB6106-AA2F-4D90-9234-9ED0F55F1EE2}" srcOrd="0" destOrd="0" presId="urn:microsoft.com/office/officeart/2005/8/layout/orgChart1"/>
    <dgm:cxn modelId="{58B29953-926B-4B4C-B206-43927BF2A692}" type="presOf" srcId="{324BA76D-EC38-4C56-840D-1090A8A73FA9}" destId="{92970902-D589-48A7-9250-9AA7724F2F2E}" srcOrd="0" destOrd="0" presId="urn:microsoft.com/office/officeart/2005/8/layout/orgChart1"/>
    <dgm:cxn modelId="{E10E6555-7E48-4AC4-87E1-BDE80B4ACF38}" type="presOf" srcId="{6B819213-CCC8-47D2-B6CC-5D80BC4CE389}" destId="{9B8410F3-C261-4466-BF12-B871CE7C6EB2}" srcOrd="0" destOrd="0" presId="urn:microsoft.com/office/officeart/2005/8/layout/orgChart1"/>
    <dgm:cxn modelId="{7BB0AF76-2702-4B5B-9A42-C2E4F1849FBD}" type="presOf" srcId="{1CCD59CB-29EF-4DB5-92B0-5F91BABCF0D1}" destId="{EC38C921-903D-41CC-BA05-27E8EB57B822}" srcOrd="0" destOrd="0" presId="urn:microsoft.com/office/officeart/2005/8/layout/orgChart1"/>
    <dgm:cxn modelId="{707B8E58-ABA5-4C9A-AFCF-298CB05D08DA}" srcId="{D0997319-AE2C-4C46-ADCB-BA43BE3F3F54}" destId="{8E70AA8F-7583-4AFE-9EDE-87363894E1F8}" srcOrd="0" destOrd="0" parTransId="{B164CB56-71EE-412E-A3A2-1509A3B08E05}" sibTransId="{50009256-33DA-4FAC-A050-2DE70DDCC26C}"/>
    <dgm:cxn modelId="{9919A47B-A423-40C6-A46E-A05708B41070}" type="presOf" srcId="{434F1058-EF12-4590-BD43-496B2D33656A}" destId="{0C278C1E-E6D3-4403-9D34-12858B00EF12}" srcOrd="0" destOrd="0" presId="urn:microsoft.com/office/officeart/2005/8/layout/orgChart1"/>
    <dgm:cxn modelId="{347C4E7C-7010-4E14-9828-0A28B9875164}" type="presOf" srcId="{96C9D5F4-FF4F-420D-8420-A926E166D7A2}" destId="{C021D8BF-5ED2-4733-81D8-98D8DB6B32C6}" srcOrd="0" destOrd="0" presId="urn:microsoft.com/office/officeart/2005/8/layout/orgChart1"/>
    <dgm:cxn modelId="{B3574A7D-275B-4D62-A098-95904EF7BF70}" srcId="{D0997319-AE2C-4C46-ADCB-BA43BE3F3F54}" destId="{88C71571-1CFF-494F-BAFF-81E824633B5F}" srcOrd="3" destOrd="0" parTransId="{023E5807-D5D3-4230-BDB6-2B2C2550CF5E}" sibTransId="{A503B4BF-1561-4E68-BE75-88256D18D072}"/>
    <dgm:cxn modelId="{21D8E081-3F51-4864-8D5D-F1BA8CEC852F}" srcId="{434F1058-EF12-4590-BD43-496B2D33656A}" destId="{4098A15D-6BE4-4258-B7C8-EC2A1354A4D6}" srcOrd="0" destOrd="0" parTransId="{DA62F256-25CF-4854-BFCD-F90F70E5F8D4}" sibTransId="{E1090322-3287-4D3C-A158-E43939F1FA7E}"/>
    <dgm:cxn modelId="{6399C982-EBDA-46CC-B1C7-BD1DD32D2997}" type="presOf" srcId="{503510FB-9E52-432E-98AC-FEF28CA55F0D}" destId="{00876D94-AF5C-4108-AB73-963BD23E39C5}" srcOrd="0" destOrd="0" presId="urn:microsoft.com/office/officeart/2005/8/layout/orgChart1"/>
    <dgm:cxn modelId="{EC259084-5B71-4D77-A8BC-0B608CC81D9D}" type="presOf" srcId="{66C44EFF-DEB7-4ECA-ABBE-4389F71F4791}" destId="{31C2AB31-18C1-4D26-B0DD-8C41B600DB2E}" srcOrd="1" destOrd="0" presId="urn:microsoft.com/office/officeart/2005/8/layout/orgChart1"/>
    <dgm:cxn modelId="{0A7D0388-BCA2-4B05-9D84-A9DA94C743DA}" srcId="{88C71571-1CFF-494F-BAFF-81E824633B5F}" destId="{A608CA8A-B3DC-42F4-B82B-9CF85EED0989}" srcOrd="0" destOrd="0" parTransId="{93289606-93D3-4330-BA64-3BCE9A9704BB}" sibTransId="{EC62E542-393A-47EE-A50B-D75B21B89564}"/>
    <dgm:cxn modelId="{849A7289-970E-4701-BC71-18C63496067E}" type="presOf" srcId="{023E5807-D5D3-4230-BDB6-2B2C2550CF5E}" destId="{383E6E55-631F-4A62-97E6-29DAC118DDE0}" srcOrd="0" destOrd="0" presId="urn:microsoft.com/office/officeart/2005/8/layout/orgChart1"/>
    <dgm:cxn modelId="{FCC5868D-B184-43D7-812A-6AF050865888}" type="presOf" srcId="{E0596880-FF67-4DA5-941B-65923DFF419E}" destId="{97CFF68E-3BB5-4C53-9B02-85AB7D18C4D1}" srcOrd="1" destOrd="0" presId="urn:microsoft.com/office/officeart/2005/8/layout/orgChart1"/>
    <dgm:cxn modelId="{294CE295-7CB8-45AB-9976-6E6742DF9058}" type="presOf" srcId="{CF5B8EE4-D285-4E9D-BBB6-5F2F77DD4689}" destId="{615B0518-1486-4414-BFEC-42C0228DC46A}" srcOrd="0" destOrd="0" presId="urn:microsoft.com/office/officeart/2005/8/layout/orgChart1"/>
    <dgm:cxn modelId="{F93F5C9B-D880-4E5F-8975-554EA661270C}" type="presOf" srcId="{D0997319-AE2C-4C46-ADCB-BA43BE3F3F54}" destId="{A9D98614-7477-4937-8E03-2AB0A603998D}" srcOrd="1" destOrd="0" presId="urn:microsoft.com/office/officeart/2005/8/layout/orgChart1"/>
    <dgm:cxn modelId="{FB9172A1-EB1A-4761-95D4-F57157EC2A91}" type="presOf" srcId="{B3C6A11E-10F5-433C-A0FB-1B185A7D12E0}" destId="{68C4DF44-9C8C-4D89-A37C-BD3659C51111}" srcOrd="0" destOrd="0" presId="urn:microsoft.com/office/officeart/2005/8/layout/orgChart1"/>
    <dgm:cxn modelId="{9E137BA1-2E21-43A2-A338-650B162A3662}" srcId="{D0997319-AE2C-4C46-ADCB-BA43BE3F3F54}" destId="{434F1058-EF12-4590-BD43-496B2D33656A}" srcOrd="1" destOrd="0" parTransId="{17815460-B569-463A-BACE-734F709F874A}" sibTransId="{BC8F1DC2-66B6-4B6F-BD02-84C41DB8AF5C}"/>
    <dgm:cxn modelId="{B57FC3A1-2579-489D-B729-E82B9FE53A02}" srcId="{8E70AA8F-7583-4AFE-9EDE-87363894E1F8}" destId="{E0596880-FF67-4DA5-941B-65923DFF419E}" srcOrd="1" destOrd="0" parTransId="{3CEC508D-6423-4788-A06A-BC7655EEA4B7}" sibTransId="{B7C6A75D-1EE1-4839-9058-D7BECB5C6118}"/>
    <dgm:cxn modelId="{2F8866A7-A01E-4BDD-87BB-11ED8F08F839}" type="presOf" srcId="{345CD3D7-27E7-4989-AC59-685A5F66867B}" destId="{FB84F04D-6CE1-4B5C-A440-97843617301E}" srcOrd="0" destOrd="0" presId="urn:microsoft.com/office/officeart/2005/8/layout/orgChart1"/>
    <dgm:cxn modelId="{F7147AAD-7A3A-483F-8FF1-BB6A87DFA6DD}" type="presOf" srcId="{C1D130BE-4BC5-481C-BADA-14A869727C0B}" destId="{631EFF45-A493-48D4-BE0B-7D591AB48D4E}" srcOrd="0" destOrd="0" presId="urn:microsoft.com/office/officeart/2005/8/layout/orgChart1"/>
    <dgm:cxn modelId="{1A967DB0-3ECC-478C-A08C-15CE524ADC6D}" type="presOf" srcId="{48DD0E39-F512-4992-838B-71D188118365}" destId="{9BA94EFB-4222-4F10-9CBF-F95505700E87}" srcOrd="0" destOrd="0" presId="urn:microsoft.com/office/officeart/2005/8/layout/orgChart1"/>
    <dgm:cxn modelId="{849F81B0-728F-4820-8AFC-65DA8155A47B}" type="presOf" srcId="{2FEE2BF4-38E6-46BE-8106-6EC49885456E}" destId="{98F98B7D-FCD3-4DA2-A2BC-59B151E6C6FA}" srcOrd="0" destOrd="0" presId="urn:microsoft.com/office/officeart/2005/8/layout/orgChart1"/>
    <dgm:cxn modelId="{221AD8BF-6539-43E4-9EB1-23AF138D0EE2}" srcId="{D0997319-AE2C-4C46-ADCB-BA43BE3F3F54}" destId="{C1D130BE-4BC5-481C-BADA-14A869727C0B}" srcOrd="2" destOrd="0" parTransId="{8A26916C-03BF-4B0E-92AF-656A56CF8513}" sibTransId="{4F4BE6FE-AE34-4934-8B0D-8FDF04C5765F}"/>
    <dgm:cxn modelId="{FB1F02DF-D6B7-4386-9AF2-5B8BF110F2A6}" type="presOf" srcId="{CD6C8CAB-2DB8-4BEB-8794-D14E24B56239}" destId="{4B3C9A44-DAFA-4DB6-A663-0F10D810BCA6}" srcOrd="0" destOrd="0" presId="urn:microsoft.com/office/officeart/2005/8/layout/orgChart1"/>
    <dgm:cxn modelId="{40A70BE1-E379-413A-8E04-C4EDAE413628}" type="presOf" srcId="{81425023-3658-474F-B398-A09F6A7715C4}" destId="{46F89631-4D52-45EB-BAB7-354E6BE91ACF}" srcOrd="0" destOrd="0" presId="urn:microsoft.com/office/officeart/2005/8/layout/orgChart1"/>
    <dgm:cxn modelId="{F110C1E6-80FA-4520-9300-9AC502228EBF}" type="presOf" srcId="{88C71571-1CFF-494F-BAFF-81E824633B5F}" destId="{01E40F6E-0952-40CB-BC6A-5850967098C7}" srcOrd="1" destOrd="0" presId="urn:microsoft.com/office/officeart/2005/8/layout/orgChart1"/>
    <dgm:cxn modelId="{69453CE7-C05C-4FAA-8B3D-E555EA5C4FCD}" type="presOf" srcId="{16945C89-930D-4764-8730-4F183F8B4C87}" destId="{3E3AB7CD-4FBC-4D46-83B4-775F04938C01}" srcOrd="1" destOrd="0" presId="urn:microsoft.com/office/officeart/2005/8/layout/orgChart1"/>
    <dgm:cxn modelId="{587DEAC9-60C3-45DB-9C9F-C26256D35C0F}" srcId="{C1D130BE-4BC5-481C-BADA-14A869727C0B}" destId="{16945C89-930D-4764-8730-4F183F8B4C87}" srcOrd="1" destOrd="0" parTransId="{B3C6A11E-10F5-433C-A0FB-1B185A7D12E0}" sibTransId="{5C8BCF49-4277-47C2-9543-A10467E88E20}"/>
    <dgm:cxn modelId="{F3EE72CB-5A08-401F-8D6F-61A15BB3DC5C}" type="presOf" srcId="{7518AF73-C3E8-4B13-863B-C4E310C686A0}" destId="{4D8B2193-3E3B-4BE6-B5D7-FDB1E2E87687}" srcOrd="0" destOrd="0" presId="urn:microsoft.com/office/officeart/2005/8/layout/orgChart1"/>
    <dgm:cxn modelId="{44341EF0-10C6-4D82-8DA6-2C6C50CE800E}" srcId="{7518AF73-C3E8-4B13-863B-C4E310C686A0}" destId="{81425023-3658-474F-B398-A09F6A7715C4}" srcOrd="0" destOrd="0" parTransId="{345CD3D7-27E7-4989-AC59-685A5F66867B}" sibTransId="{CBF02706-A628-4026-928F-AF87A6453A9D}"/>
    <dgm:cxn modelId="{1F612FF1-8FDD-466C-9055-BD4D07D9071D}" type="presOf" srcId="{81425023-3658-474F-B398-A09F6A7715C4}" destId="{502CC318-46A0-45EA-8BFF-6DC9DA37A430}" srcOrd="1" destOrd="0" presId="urn:microsoft.com/office/officeart/2005/8/layout/orgChart1"/>
    <dgm:cxn modelId="{65C9CDF2-D8B9-4A1F-96C7-8183BA123072}" type="presOf" srcId="{8A26916C-03BF-4B0E-92AF-656A56CF8513}" destId="{2A81D178-C6EF-4F3F-AF7B-7DDF385F5947}" srcOrd="0" destOrd="0" presId="urn:microsoft.com/office/officeart/2005/8/layout/orgChart1"/>
    <dgm:cxn modelId="{A1DE2BF6-BC64-449F-8BDA-8FDE5A82225C}" type="presOf" srcId="{B164CB56-71EE-412E-A3A2-1509A3B08E05}" destId="{669F9EDC-31CB-48F8-9E99-60A66A0FC3AF}" srcOrd="0" destOrd="0" presId="urn:microsoft.com/office/officeart/2005/8/layout/orgChart1"/>
    <dgm:cxn modelId="{BD1D9FF7-42B5-4F9C-A390-156FE5D7BE1F}" srcId="{8E70AA8F-7583-4AFE-9EDE-87363894E1F8}" destId="{7518AF73-C3E8-4B13-863B-C4E310C686A0}" srcOrd="0" destOrd="0" parTransId="{ABBFDE01-1481-464C-8AC1-99EC0D941066}" sibTransId="{690A0E8A-BAD8-4EE1-AD75-5AF1C8BEC1E5}"/>
    <dgm:cxn modelId="{97CE09D9-FF31-40CC-AFC7-66D7B97476D7}" type="presOf" srcId="{A608CA8A-B3DC-42F4-B82B-9CF85EED0989}" destId="{B2EB92F5-E850-4932-9A54-A77A9BEAF584}" srcOrd="1" destOrd="0" presId="urn:microsoft.com/office/officeart/2005/8/layout/orgChart1"/>
    <dgm:cxn modelId="{2C427FFC-8EE2-4E24-BE4F-1D33E564DECD}" type="presOf" srcId="{7518AF73-C3E8-4B13-863B-C4E310C686A0}" destId="{0769B730-E33F-4566-9733-CA5B545621C6}" srcOrd="1" destOrd="0" presId="urn:microsoft.com/office/officeart/2005/8/layout/orgChart1"/>
    <dgm:cxn modelId="{75F89EDC-29E1-478E-AD47-EBAC284A49C1}" type="presOf" srcId="{8E70AA8F-7583-4AFE-9EDE-87363894E1F8}" destId="{A8401B32-71D4-404D-AC33-5BC33C651FC9}" srcOrd="0" destOrd="0" presId="urn:microsoft.com/office/officeart/2005/8/layout/orgChart1"/>
    <dgm:cxn modelId="{8B1B3D9F-6DDB-40F6-B032-5C6E3D321F7C}" srcId="{16945C89-930D-4764-8730-4F183F8B4C87}" destId="{2FEE2BF4-38E6-46BE-8106-6EC49885456E}" srcOrd="0" destOrd="0" parTransId="{324BA76D-EC38-4C56-840D-1090A8A73FA9}" sibTransId="{DC438ACA-527B-4585-8C32-A061704772AA}"/>
    <dgm:cxn modelId="{9AF854FF-BB0C-40BD-AAB6-AFA8745057FE}" type="presOf" srcId="{ABBFDE01-1481-464C-8AC1-99EC0D941066}" destId="{40419D01-2FBD-47DC-8A9E-DA80F0C4C7F4}" srcOrd="0" destOrd="0" presId="urn:microsoft.com/office/officeart/2005/8/layout/orgChart1"/>
    <dgm:cxn modelId="{D312DC83-83FE-4116-85A2-4382EAEE6F1F}" type="presParOf" srcId="{C021D8BF-5ED2-4733-81D8-98D8DB6B32C6}" destId="{F29D4A3C-A833-43AA-90C1-2774D21BEFAA}" srcOrd="0" destOrd="0" presId="urn:microsoft.com/office/officeart/2005/8/layout/orgChart1"/>
    <dgm:cxn modelId="{29BCF614-7F59-496D-903D-95E635EB3401}" type="presParOf" srcId="{F29D4A3C-A833-43AA-90C1-2774D21BEFAA}" destId="{F8A1BEBB-B304-4090-B086-29A5D44D3532}" srcOrd="0" destOrd="0" presId="urn:microsoft.com/office/officeart/2005/8/layout/orgChart1"/>
    <dgm:cxn modelId="{9DADEC7E-D045-4E63-991D-250859EA5250}" type="presParOf" srcId="{F8A1BEBB-B304-4090-B086-29A5D44D3532}" destId="{37B3718D-D095-4E7C-B2C8-70FADAE068BC}" srcOrd="0" destOrd="0" presId="urn:microsoft.com/office/officeart/2005/8/layout/orgChart1"/>
    <dgm:cxn modelId="{5EA8E482-3643-4823-9D66-8B1EAC733867}" type="presParOf" srcId="{F8A1BEBB-B304-4090-B086-29A5D44D3532}" destId="{A9D98614-7477-4937-8E03-2AB0A603998D}" srcOrd="1" destOrd="0" presId="urn:microsoft.com/office/officeart/2005/8/layout/orgChart1"/>
    <dgm:cxn modelId="{826FCE7E-927C-4B6B-86A6-9193D2452142}" type="presParOf" srcId="{F29D4A3C-A833-43AA-90C1-2774D21BEFAA}" destId="{8FA944FA-5660-43FE-881E-7D04BFAA7390}" srcOrd="1" destOrd="0" presId="urn:microsoft.com/office/officeart/2005/8/layout/orgChart1"/>
    <dgm:cxn modelId="{D1F9C41E-F271-4E29-A369-D6C7046C469C}" type="presParOf" srcId="{8FA944FA-5660-43FE-881E-7D04BFAA7390}" destId="{669F9EDC-31CB-48F8-9E99-60A66A0FC3AF}" srcOrd="0" destOrd="0" presId="urn:microsoft.com/office/officeart/2005/8/layout/orgChart1"/>
    <dgm:cxn modelId="{7FD0DEC0-8F95-48AB-8F48-9DC8C9AE931D}" type="presParOf" srcId="{8FA944FA-5660-43FE-881E-7D04BFAA7390}" destId="{F232BB90-42DD-4C53-8B72-80F674342A24}" srcOrd="1" destOrd="0" presId="urn:microsoft.com/office/officeart/2005/8/layout/orgChart1"/>
    <dgm:cxn modelId="{CAC7A5CA-538E-4187-94EE-1581A777F2F5}" type="presParOf" srcId="{F232BB90-42DD-4C53-8B72-80F674342A24}" destId="{A1AEDAB4-925C-443D-B3CC-5236C44F66FF}" srcOrd="0" destOrd="0" presId="urn:microsoft.com/office/officeart/2005/8/layout/orgChart1"/>
    <dgm:cxn modelId="{C532EF2A-46A8-442F-8684-2411502D2902}" type="presParOf" srcId="{A1AEDAB4-925C-443D-B3CC-5236C44F66FF}" destId="{A8401B32-71D4-404D-AC33-5BC33C651FC9}" srcOrd="0" destOrd="0" presId="urn:microsoft.com/office/officeart/2005/8/layout/orgChart1"/>
    <dgm:cxn modelId="{B6EBA6BC-6E8E-4012-8F31-1D11E490D17A}" type="presParOf" srcId="{A1AEDAB4-925C-443D-B3CC-5236C44F66FF}" destId="{FAD2C39F-60F3-4070-83E7-DC9FCC542D6F}" srcOrd="1" destOrd="0" presId="urn:microsoft.com/office/officeart/2005/8/layout/orgChart1"/>
    <dgm:cxn modelId="{6076FFDB-2037-4C9B-BF24-A3BCB941076A}" type="presParOf" srcId="{F232BB90-42DD-4C53-8B72-80F674342A24}" destId="{5253D9D7-FB79-4E7F-8B5D-CA9FE7D38996}" srcOrd="1" destOrd="0" presId="urn:microsoft.com/office/officeart/2005/8/layout/orgChart1"/>
    <dgm:cxn modelId="{39CD9B58-D064-40E1-983D-ED4CF3ED5939}" type="presParOf" srcId="{5253D9D7-FB79-4E7F-8B5D-CA9FE7D38996}" destId="{40419D01-2FBD-47DC-8A9E-DA80F0C4C7F4}" srcOrd="0" destOrd="0" presId="urn:microsoft.com/office/officeart/2005/8/layout/orgChart1"/>
    <dgm:cxn modelId="{0C7F4984-9DE5-431E-A1FD-8B1624C5378A}" type="presParOf" srcId="{5253D9D7-FB79-4E7F-8B5D-CA9FE7D38996}" destId="{C028BDDF-0AC6-4329-A2E6-3DF538482F12}" srcOrd="1" destOrd="0" presId="urn:microsoft.com/office/officeart/2005/8/layout/orgChart1"/>
    <dgm:cxn modelId="{2EC803F5-5027-4D18-BA48-9D425046E8DE}" type="presParOf" srcId="{C028BDDF-0AC6-4329-A2E6-3DF538482F12}" destId="{C20F4DF8-C0DC-4D7D-A2A2-96B6B9D443EE}" srcOrd="0" destOrd="0" presId="urn:microsoft.com/office/officeart/2005/8/layout/orgChart1"/>
    <dgm:cxn modelId="{C718A2B7-4253-4F8A-9975-21F6EFE8909B}" type="presParOf" srcId="{C20F4DF8-C0DC-4D7D-A2A2-96B6B9D443EE}" destId="{4D8B2193-3E3B-4BE6-B5D7-FDB1E2E87687}" srcOrd="0" destOrd="0" presId="urn:microsoft.com/office/officeart/2005/8/layout/orgChart1"/>
    <dgm:cxn modelId="{D42446E1-7331-4862-895C-4A8B7937C1F9}" type="presParOf" srcId="{C20F4DF8-C0DC-4D7D-A2A2-96B6B9D443EE}" destId="{0769B730-E33F-4566-9733-CA5B545621C6}" srcOrd="1" destOrd="0" presId="urn:microsoft.com/office/officeart/2005/8/layout/orgChart1"/>
    <dgm:cxn modelId="{920D10B5-F108-4E67-B530-218BFEF6A3E0}" type="presParOf" srcId="{C028BDDF-0AC6-4329-A2E6-3DF538482F12}" destId="{143E2A99-1E2B-4983-92A0-815754C12EB6}" srcOrd="1" destOrd="0" presId="urn:microsoft.com/office/officeart/2005/8/layout/orgChart1"/>
    <dgm:cxn modelId="{F4677636-AB66-451A-80E9-D33CE327C3C5}" type="presParOf" srcId="{143E2A99-1E2B-4983-92A0-815754C12EB6}" destId="{FB84F04D-6CE1-4B5C-A440-97843617301E}" srcOrd="0" destOrd="0" presId="urn:microsoft.com/office/officeart/2005/8/layout/orgChart1"/>
    <dgm:cxn modelId="{3E0C2AAF-0314-4E03-BDA9-06A520158298}" type="presParOf" srcId="{143E2A99-1E2B-4983-92A0-815754C12EB6}" destId="{56A3323F-9910-4AB7-A490-F85775FCE5E2}" srcOrd="1" destOrd="0" presId="urn:microsoft.com/office/officeart/2005/8/layout/orgChart1"/>
    <dgm:cxn modelId="{35AEB3FD-B58D-4A37-9E4F-561B6520B14E}" type="presParOf" srcId="{56A3323F-9910-4AB7-A490-F85775FCE5E2}" destId="{EA28DB16-5E94-45CE-9DD8-2C52DBC1C9E5}" srcOrd="0" destOrd="0" presId="urn:microsoft.com/office/officeart/2005/8/layout/orgChart1"/>
    <dgm:cxn modelId="{F8F32267-5B54-4C2B-B837-702FEB46E359}" type="presParOf" srcId="{EA28DB16-5E94-45CE-9DD8-2C52DBC1C9E5}" destId="{46F89631-4D52-45EB-BAB7-354E6BE91ACF}" srcOrd="0" destOrd="0" presId="urn:microsoft.com/office/officeart/2005/8/layout/orgChart1"/>
    <dgm:cxn modelId="{DA7B107B-E02C-4CCA-AB89-12FC75C7D873}" type="presParOf" srcId="{EA28DB16-5E94-45CE-9DD8-2C52DBC1C9E5}" destId="{502CC318-46A0-45EA-8BFF-6DC9DA37A430}" srcOrd="1" destOrd="0" presId="urn:microsoft.com/office/officeart/2005/8/layout/orgChart1"/>
    <dgm:cxn modelId="{33AB0480-A80D-46BF-99DD-ACD0E4662EB6}" type="presParOf" srcId="{56A3323F-9910-4AB7-A490-F85775FCE5E2}" destId="{CD684BA0-074F-4CAC-B764-52DDDB4BFA37}" srcOrd="1" destOrd="0" presId="urn:microsoft.com/office/officeart/2005/8/layout/orgChart1"/>
    <dgm:cxn modelId="{7BA71499-E6A7-4613-9704-EA9A0626A7DE}" type="presParOf" srcId="{56A3323F-9910-4AB7-A490-F85775FCE5E2}" destId="{443431D6-5CE3-473C-9CF3-A6B50F0D9CE1}" srcOrd="2" destOrd="0" presId="urn:microsoft.com/office/officeart/2005/8/layout/orgChart1"/>
    <dgm:cxn modelId="{B8185CB2-9DB9-4ECB-A25D-AA8AD5AE967A}" type="presParOf" srcId="{143E2A99-1E2B-4983-92A0-815754C12EB6}" destId="{9BA94EFB-4222-4F10-9CBF-F95505700E87}" srcOrd="2" destOrd="0" presId="urn:microsoft.com/office/officeart/2005/8/layout/orgChart1"/>
    <dgm:cxn modelId="{43D9B3EE-FC27-4BD5-8B88-63B34A6E6F1F}" type="presParOf" srcId="{143E2A99-1E2B-4983-92A0-815754C12EB6}" destId="{98560A48-F270-4988-8BA9-44109AE1A208}" srcOrd="3" destOrd="0" presId="urn:microsoft.com/office/officeart/2005/8/layout/orgChart1"/>
    <dgm:cxn modelId="{88719B86-FD12-4DF0-A2C4-D13FE2A914D8}" type="presParOf" srcId="{98560A48-F270-4988-8BA9-44109AE1A208}" destId="{F5262780-7893-461C-897E-5EA7E32461F8}" srcOrd="0" destOrd="0" presId="urn:microsoft.com/office/officeart/2005/8/layout/orgChart1"/>
    <dgm:cxn modelId="{1599034E-19DA-4D4C-949D-46618009B6D7}" type="presParOf" srcId="{F5262780-7893-461C-897E-5EA7E32461F8}" destId="{FE119EF5-0B4C-4ED4-9DDC-4021FD3F884A}" srcOrd="0" destOrd="0" presId="urn:microsoft.com/office/officeart/2005/8/layout/orgChart1"/>
    <dgm:cxn modelId="{1F553540-BF34-41F0-BCA1-2B6EF7EC3833}" type="presParOf" srcId="{F5262780-7893-461C-897E-5EA7E32461F8}" destId="{31C2AB31-18C1-4D26-B0DD-8C41B600DB2E}" srcOrd="1" destOrd="0" presId="urn:microsoft.com/office/officeart/2005/8/layout/orgChart1"/>
    <dgm:cxn modelId="{C842BD8C-7C8B-414F-BD80-0D02E9B4196C}" type="presParOf" srcId="{98560A48-F270-4988-8BA9-44109AE1A208}" destId="{2C511510-FDB0-4159-9E5C-421F9DFD8237}" srcOrd="1" destOrd="0" presId="urn:microsoft.com/office/officeart/2005/8/layout/orgChart1"/>
    <dgm:cxn modelId="{0FA53F73-5B52-416A-9537-E9C22BADF07B}" type="presParOf" srcId="{98560A48-F270-4988-8BA9-44109AE1A208}" destId="{6230D236-7DF4-4A07-AE07-9B2EC70033FF}" srcOrd="2" destOrd="0" presId="urn:microsoft.com/office/officeart/2005/8/layout/orgChart1"/>
    <dgm:cxn modelId="{65D74A28-FE26-4A40-862C-A323F644FB3D}" type="presParOf" srcId="{C028BDDF-0AC6-4329-A2E6-3DF538482F12}" destId="{4EFF184C-46B1-4666-A7FF-7CCA88096070}" srcOrd="2" destOrd="0" presId="urn:microsoft.com/office/officeart/2005/8/layout/orgChart1"/>
    <dgm:cxn modelId="{522919E0-972B-4350-A72F-39C3EFAA736F}" type="presParOf" srcId="{5253D9D7-FB79-4E7F-8B5D-CA9FE7D38996}" destId="{64D8CB61-8A95-4EA8-9EFE-6148B8B7E9A0}" srcOrd="2" destOrd="0" presId="urn:microsoft.com/office/officeart/2005/8/layout/orgChart1"/>
    <dgm:cxn modelId="{2772DBC6-C8E1-4799-A83A-EC80492E7333}" type="presParOf" srcId="{5253D9D7-FB79-4E7F-8B5D-CA9FE7D38996}" destId="{8F8C9022-D613-4E98-B34F-9C81E10555D4}" srcOrd="3" destOrd="0" presId="urn:microsoft.com/office/officeart/2005/8/layout/orgChart1"/>
    <dgm:cxn modelId="{C341BED9-1DE2-4CE7-AB97-DFFE9881BFE7}" type="presParOf" srcId="{8F8C9022-D613-4E98-B34F-9C81E10555D4}" destId="{DBB2EE79-8DDB-4910-A85D-7180F0B927F2}" srcOrd="0" destOrd="0" presId="urn:microsoft.com/office/officeart/2005/8/layout/orgChart1"/>
    <dgm:cxn modelId="{33A5DCC6-D978-46D7-8B61-9A901620EAC2}" type="presParOf" srcId="{DBB2EE79-8DDB-4910-A85D-7180F0B927F2}" destId="{B1AE9F0B-765F-4B49-A6EE-649675500B3C}" srcOrd="0" destOrd="0" presId="urn:microsoft.com/office/officeart/2005/8/layout/orgChart1"/>
    <dgm:cxn modelId="{3DBED08C-0876-49FE-A178-331A13A9D320}" type="presParOf" srcId="{DBB2EE79-8DDB-4910-A85D-7180F0B927F2}" destId="{97CFF68E-3BB5-4C53-9B02-85AB7D18C4D1}" srcOrd="1" destOrd="0" presId="urn:microsoft.com/office/officeart/2005/8/layout/orgChart1"/>
    <dgm:cxn modelId="{CEC462CC-C6B7-4424-B1D2-6071B6F1D7D2}" type="presParOf" srcId="{8F8C9022-D613-4E98-B34F-9C81E10555D4}" destId="{27D47B95-7B0B-444B-9E94-7414C3B4FF0D}" srcOrd="1" destOrd="0" presId="urn:microsoft.com/office/officeart/2005/8/layout/orgChart1"/>
    <dgm:cxn modelId="{58FB9816-1389-448B-95BA-4A351E5F018E}" type="presParOf" srcId="{8F8C9022-D613-4E98-B34F-9C81E10555D4}" destId="{A1DC8FD9-E4F0-4026-92CE-69071939D256}" srcOrd="2" destOrd="0" presId="urn:microsoft.com/office/officeart/2005/8/layout/orgChart1"/>
    <dgm:cxn modelId="{484BACC9-7659-46BD-8C65-69017CE38AA5}" type="presParOf" srcId="{F232BB90-42DD-4C53-8B72-80F674342A24}" destId="{F1181846-A028-493F-BCF9-45640A86881E}" srcOrd="2" destOrd="0" presId="urn:microsoft.com/office/officeart/2005/8/layout/orgChart1"/>
    <dgm:cxn modelId="{359E9D3B-CAC5-44A5-AF80-6AAF76375C1B}" type="presParOf" srcId="{8FA944FA-5660-43FE-881E-7D04BFAA7390}" destId="{AF9D82A4-6332-4F9C-967C-3B7D03B1ACF6}" srcOrd="2" destOrd="0" presId="urn:microsoft.com/office/officeart/2005/8/layout/orgChart1"/>
    <dgm:cxn modelId="{5775418B-0B63-47FD-A557-ADA7C53A5E4F}" type="presParOf" srcId="{8FA944FA-5660-43FE-881E-7D04BFAA7390}" destId="{35E70073-8B2C-49ED-BA5E-F8A102D3F642}" srcOrd="3" destOrd="0" presId="urn:microsoft.com/office/officeart/2005/8/layout/orgChart1"/>
    <dgm:cxn modelId="{D0E182AE-AAEA-4B11-B2AB-A472CE44D7DB}" type="presParOf" srcId="{35E70073-8B2C-49ED-BA5E-F8A102D3F642}" destId="{380E5686-D2B4-4A2C-BCE3-DBDB56447930}" srcOrd="0" destOrd="0" presId="urn:microsoft.com/office/officeart/2005/8/layout/orgChart1"/>
    <dgm:cxn modelId="{C57EC95D-8FF2-43AC-89D8-0A092A0313DF}" type="presParOf" srcId="{380E5686-D2B4-4A2C-BCE3-DBDB56447930}" destId="{0C278C1E-E6D3-4403-9D34-12858B00EF12}" srcOrd="0" destOrd="0" presId="urn:microsoft.com/office/officeart/2005/8/layout/orgChart1"/>
    <dgm:cxn modelId="{126D8746-C54A-42C3-8CAC-863136BD23EE}" type="presParOf" srcId="{380E5686-D2B4-4A2C-BCE3-DBDB56447930}" destId="{165F25EC-41E0-4E90-80D9-0DB6353CD7BA}" srcOrd="1" destOrd="0" presId="urn:microsoft.com/office/officeart/2005/8/layout/orgChart1"/>
    <dgm:cxn modelId="{10E2CE3A-9EE3-4FCF-9265-BCC660846B8F}" type="presParOf" srcId="{35E70073-8B2C-49ED-BA5E-F8A102D3F642}" destId="{6CD0A106-91F3-45BF-9183-DB7CB7AC3023}" srcOrd="1" destOrd="0" presId="urn:microsoft.com/office/officeart/2005/8/layout/orgChart1"/>
    <dgm:cxn modelId="{5CE92470-626C-4EBF-B6EA-DAA5AF40C179}" type="presParOf" srcId="{6CD0A106-91F3-45BF-9183-DB7CB7AC3023}" destId="{C0A39DE9-3C78-44D7-946D-B937B29423E4}" srcOrd="0" destOrd="0" presId="urn:microsoft.com/office/officeart/2005/8/layout/orgChart1"/>
    <dgm:cxn modelId="{68A5618D-EC11-4805-9953-FFA23AD0C156}" type="presParOf" srcId="{6CD0A106-91F3-45BF-9183-DB7CB7AC3023}" destId="{D93711E9-56DA-4D21-8AC2-0F214604DAC3}" srcOrd="1" destOrd="0" presId="urn:microsoft.com/office/officeart/2005/8/layout/orgChart1"/>
    <dgm:cxn modelId="{6F595349-A12E-4466-9FA7-50F8B10EB2F7}" type="presParOf" srcId="{D93711E9-56DA-4D21-8AC2-0F214604DAC3}" destId="{04E0C6A8-5703-4661-92E2-E3604CF7F4E6}" srcOrd="0" destOrd="0" presId="urn:microsoft.com/office/officeart/2005/8/layout/orgChart1"/>
    <dgm:cxn modelId="{823A54C6-63A0-4C1F-AA1E-549D1111E2DC}" type="presParOf" srcId="{04E0C6A8-5703-4661-92E2-E3604CF7F4E6}" destId="{7665C758-3D6C-4896-8FDC-91454A6F2294}" srcOrd="0" destOrd="0" presId="urn:microsoft.com/office/officeart/2005/8/layout/orgChart1"/>
    <dgm:cxn modelId="{FFC185D8-7D18-4740-A1F7-3C9F7C1CF90D}" type="presParOf" srcId="{04E0C6A8-5703-4661-92E2-E3604CF7F4E6}" destId="{353A737A-EC65-4EE7-8AEC-88B7EACFFCC7}" srcOrd="1" destOrd="0" presId="urn:microsoft.com/office/officeart/2005/8/layout/orgChart1"/>
    <dgm:cxn modelId="{3B8396DA-94F3-423A-8F8F-BF4298AC8CF7}" type="presParOf" srcId="{D93711E9-56DA-4D21-8AC2-0F214604DAC3}" destId="{65EC00BF-BB92-430B-B86F-38DA750225DD}" srcOrd="1" destOrd="0" presId="urn:microsoft.com/office/officeart/2005/8/layout/orgChart1"/>
    <dgm:cxn modelId="{3FB4F1BD-4711-4A75-9E7B-0EA6351E2ADB}" type="presParOf" srcId="{D93711E9-56DA-4D21-8AC2-0F214604DAC3}" destId="{4DAAC913-B472-4E1F-91AB-FA24D50D6C8A}" srcOrd="2" destOrd="0" presId="urn:microsoft.com/office/officeart/2005/8/layout/orgChart1"/>
    <dgm:cxn modelId="{29A0D018-F47E-4BCB-BC0B-318C7410FBAD}" type="presParOf" srcId="{6CD0A106-91F3-45BF-9183-DB7CB7AC3023}" destId="{6DC63686-6794-44A2-AD6D-AD55AAF1F685}" srcOrd="2" destOrd="0" presId="urn:microsoft.com/office/officeart/2005/8/layout/orgChart1"/>
    <dgm:cxn modelId="{099F3220-C2F2-457E-B28B-48EE62EB604C}" type="presParOf" srcId="{6CD0A106-91F3-45BF-9183-DB7CB7AC3023}" destId="{9750BFA1-62FC-47F6-9318-F00C4C7768F5}" srcOrd="3" destOrd="0" presId="urn:microsoft.com/office/officeart/2005/8/layout/orgChart1"/>
    <dgm:cxn modelId="{9EB32E35-5877-4423-AE60-A60F9431D9A1}" type="presParOf" srcId="{9750BFA1-62FC-47F6-9318-F00C4C7768F5}" destId="{D1E9291D-8CAA-4552-9020-61DFB57E49CA}" srcOrd="0" destOrd="0" presId="urn:microsoft.com/office/officeart/2005/8/layout/orgChart1"/>
    <dgm:cxn modelId="{09F892DB-A82C-495A-8869-9074464C16B4}" type="presParOf" srcId="{D1E9291D-8CAA-4552-9020-61DFB57E49CA}" destId="{615B0518-1486-4414-BFEC-42C0228DC46A}" srcOrd="0" destOrd="0" presId="urn:microsoft.com/office/officeart/2005/8/layout/orgChart1"/>
    <dgm:cxn modelId="{05DA2DA4-BE3B-46E8-AFC5-3CD9C262739E}" type="presParOf" srcId="{D1E9291D-8CAA-4552-9020-61DFB57E49CA}" destId="{3BEC2F58-744F-403C-B909-426E6BFBF290}" srcOrd="1" destOrd="0" presId="urn:microsoft.com/office/officeart/2005/8/layout/orgChart1"/>
    <dgm:cxn modelId="{55398D25-ECA5-4596-BEBA-B0A7E45E970D}" type="presParOf" srcId="{9750BFA1-62FC-47F6-9318-F00C4C7768F5}" destId="{E31D2C8D-6798-4B96-9B38-DFD106462470}" srcOrd="1" destOrd="0" presId="urn:microsoft.com/office/officeart/2005/8/layout/orgChart1"/>
    <dgm:cxn modelId="{942A9676-F2ED-4C90-BE2A-4476CF047FCF}" type="presParOf" srcId="{9750BFA1-62FC-47F6-9318-F00C4C7768F5}" destId="{399B8063-3BE3-4D1E-AFC9-D9617E1A84DE}" srcOrd="2" destOrd="0" presId="urn:microsoft.com/office/officeart/2005/8/layout/orgChart1"/>
    <dgm:cxn modelId="{42543E25-CC05-42B0-99B6-74A8423CC3A1}" type="presParOf" srcId="{35E70073-8B2C-49ED-BA5E-F8A102D3F642}" destId="{2BD5B51B-28D8-4DC3-B97E-277E87135B95}" srcOrd="2" destOrd="0" presId="urn:microsoft.com/office/officeart/2005/8/layout/orgChart1"/>
    <dgm:cxn modelId="{835473E0-6AAB-4F07-AD1B-69ED99F90799}" type="presParOf" srcId="{8FA944FA-5660-43FE-881E-7D04BFAA7390}" destId="{2A81D178-C6EF-4F3F-AF7B-7DDF385F5947}" srcOrd="4" destOrd="0" presId="urn:microsoft.com/office/officeart/2005/8/layout/orgChart1"/>
    <dgm:cxn modelId="{86F9CC16-65DB-4DDF-A566-F4C114F0CD00}" type="presParOf" srcId="{8FA944FA-5660-43FE-881E-7D04BFAA7390}" destId="{9CC7B924-8766-42B9-8341-5234434E6678}" srcOrd="5" destOrd="0" presId="urn:microsoft.com/office/officeart/2005/8/layout/orgChart1"/>
    <dgm:cxn modelId="{33DFA905-E7BE-418A-A916-1A2BB7ABC6CD}" type="presParOf" srcId="{9CC7B924-8766-42B9-8341-5234434E6678}" destId="{201485F5-AD23-4BA7-AD17-6B03B0550A82}" srcOrd="0" destOrd="0" presId="urn:microsoft.com/office/officeart/2005/8/layout/orgChart1"/>
    <dgm:cxn modelId="{ECAA8A08-F557-4E6C-8340-01E344903A30}" type="presParOf" srcId="{201485F5-AD23-4BA7-AD17-6B03B0550A82}" destId="{631EFF45-A493-48D4-BE0B-7D591AB48D4E}" srcOrd="0" destOrd="0" presId="urn:microsoft.com/office/officeart/2005/8/layout/orgChart1"/>
    <dgm:cxn modelId="{1651C85D-6041-48C4-BAC9-6C4D0278C40F}" type="presParOf" srcId="{201485F5-AD23-4BA7-AD17-6B03B0550A82}" destId="{9C332EEE-9C5F-4098-9BEB-CD1D2FC944F6}" srcOrd="1" destOrd="0" presId="urn:microsoft.com/office/officeart/2005/8/layout/orgChart1"/>
    <dgm:cxn modelId="{CA5368F6-7A8F-4A1E-A1D4-5B9A544176BB}" type="presParOf" srcId="{9CC7B924-8766-42B9-8341-5234434E6678}" destId="{56BEA5AB-84FA-4F0F-90B7-71A772740F78}" srcOrd="1" destOrd="0" presId="urn:microsoft.com/office/officeart/2005/8/layout/orgChart1"/>
    <dgm:cxn modelId="{04F6E344-A1DB-4DE4-9F60-6965C6D9628D}" type="presParOf" srcId="{56BEA5AB-84FA-4F0F-90B7-71A772740F78}" destId="{00876D94-AF5C-4108-AB73-963BD23E39C5}" srcOrd="0" destOrd="0" presId="urn:microsoft.com/office/officeart/2005/8/layout/orgChart1"/>
    <dgm:cxn modelId="{B666CDDA-BE15-4E0E-878A-73B22CEF535A}" type="presParOf" srcId="{56BEA5AB-84FA-4F0F-90B7-71A772740F78}" destId="{C9116CC6-BEBE-407F-83C6-6A3CCB4A74D9}" srcOrd="1" destOrd="0" presId="urn:microsoft.com/office/officeart/2005/8/layout/orgChart1"/>
    <dgm:cxn modelId="{DE12104B-D969-4F81-BE50-4CA61C813FA1}" type="presParOf" srcId="{C9116CC6-BEBE-407F-83C6-6A3CCB4A74D9}" destId="{16C3458A-2ED2-48B2-8A36-7A8854892F0E}" srcOrd="0" destOrd="0" presId="urn:microsoft.com/office/officeart/2005/8/layout/orgChart1"/>
    <dgm:cxn modelId="{76EF033F-58B1-463F-8F49-186F1BF77A3A}" type="presParOf" srcId="{16C3458A-2ED2-48B2-8A36-7A8854892F0E}" destId="{4B3C9A44-DAFA-4DB6-A663-0F10D810BCA6}" srcOrd="0" destOrd="0" presId="urn:microsoft.com/office/officeart/2005/8/layout/orgChart1"/>
    <dgm:cxn modelId="{477B331E-05FF-4C99-A4E7-69C6E2896A66}" type="presParOf" srcId="{16C3458A-2ED2-48B2-8A36-7A8854892F0E}" destId="{48D7EDA5-8335-4A63-8E9E-A243B77B3ED6}" srcOrd="1" destOrd="0" presId="urn:microsoft.com/office/officeart/2005/8/layout/orgChart1"/>
    <dgm:cxn modelId="{741FE87F-8E1A-4066-8C6E-18F65E65BF85}" type="presParOf" srcId="{C9116CC6-BEBE-407F-83C6-6A3CCB4A74D9}" destId="{21D1399D-31A6-47F5-AC15-2610A4F9E175}" srcOrd="1" destOrd="0" presId="urn:microsoft.com/office/officeart/2005/8/layout/orgChart1"/>
    <dgm:cxn modelId="{7D1AFB64-DE98-4A64-8F61-D8317C6D4278}" type="presParOf" srcId="{C9116CC6-BEBE-407F-83C6-6A3CCB4A74D9}" destId="{CB675D01-CEDB-476B-8326-E51A82F56C05}" srcOrd="2" destOrd="0" presId="urn:microsoft.com/office/officeart/2005/8/layout/orgChart1"/>
    <dgm:cxn modelId="{BEBE46BA-8AB4-4AF6-B09E-148B6795B2B3}" type="presParOf" srcId="{56BEA5AB-84FA-4F0F-90B7-71A772740F78}" destId="{68C4DF44-9C8C-4D89-A37C-BD3659C51111}" srcOrd="2" destOrd="0" presId="urn:microsoft.com/office/officeart/2005/8/layout/orgChart1"/>
    <dgm:cxn modelId="{EA583CA2-26E1-45CB-94D7-042F0BED47F8}" type="presParOf" srcId="{56BEA5AB-84FA-4F0F-90B7-71A772740F78}" destId="{18E141D3-A6BB-42E4-ACBA-E01199B001CC}" srcOrd="3" destOrd="0" presId="urn:microsoft.com/office/officeart/2005/8/layout/orgChart1"/>
    <dgm:cxn modelId="{49127E66-B580-4F8D-9DB5-518C36E08408}" type="presParOf" srcId="{18E141D3-A6BB-42E4-ACBA-E01199B001CC}" destId="{EC7A4072-4226-4E94-8A1A-C195236237AE}" srcOrd="0" destOrd="0" presId="urn:microsoft.com/office/officeart/2005/8/layout/orgChart1"/>
    <dgm:cxn modelId="{D7E806C7-75A5-4CF9-A47A-1DB8D4CAE4EF}" type="presParOf" srcId="{EC7A4072-4226-4E94-8A1A-C195236237AE}" destId="{7CD91223-4941-44B9-BF38-DEF7DA4AA325}" srcOrd="0" destOrd="0" presId="urn:microsoft.com/office/officeart/2005/8/layout/orgChart1"/>
    <dgm:cxn modelId="{805CCA08-E34A-4160-BE68-035981B5BFEC}" type="presParOf" srcId="{EC7A4072-4226-4E94-8A1A-C195236237AE}" destId="{3E3AB7CD-4FBC-4D46-83B4-775F04938C01}" srcOrd="1" destOrd="0" presId="urn:microsoft.com/office/officeart/2005/8/layout/orgChart1"/>
    <dgm:cxn modelId="{6AC5B2D8-EDA5-4FA8-8762-EE9DE0AB913E}" type="presParOf" srcId="{18E141D3-A6BB-42E4-ACBA-E01199B001CC}" destId="{3C309F22-610B-4999-AD5E-5BEC92B32A7A}" srcOrd="1" destOrd="0" presId="urn:microsoft.com/office/officeart/2005/8/layout/orgChart1"/>
    <dgm:cxn modelId="{6F5DC7AA-4C04-4A49-8359-8AB857ABA9C2}" type="presParOf" srcId="{3C309F22-610B-4999-AD5E-5BEC92B32A7A}" destId="{92970902-D589-48A7-9250-9AA7724F2F2E}" srcOrd="0" destOrd="0" presId="urn:microsoft.com/office/officeart/2005/8/layout/orgChart1"/>
    <dgm:cxn modelId="{8F05D382-0358-4D8F-BC06-5F4FDCEC27B3}" type="presParOf" srcId="{3C309F22-610B-4999-AD5E-5BEC92B32A7A}" destId="{8C553A97-397A-4F81-8A4A-E5FB21FD45C4}" srcOrd="1" destOrd="0" presId="urn:microsoft.com/office/officeart/2005/8/layout/orgChart1"/>
    <dgm:cxn modelId="{19690D42-A818-45AC-8FCB-B248C30326DF}" type="presParOf" srcId="{8C553A97-397A-4F81-8A4A-E5FB21FD45C4}" destId="{F374A563-D1CA-42A1-92CE-DF90884540A9}" srcOrd="0" destOrd="0" presId="urn:microsoft.com/office/officeart/2005/8/layout/orgChart1"/>
    <dgm:cxn modelId="{7D153083-46E0-4E15-AEE1-DADEFB5F8290}" type="presParOf" srcId="{F374A563-D1CA-42A1-92CE-DF90884540A9}" destId="{98F98B7D-FCD3-4DA2-A2BC-59B151E6C6FA}" srcOrd="0" destOrd="0" presId="urn:microsoft.com/office/officeart/2005/8/layout/orgChart1"/>
    <dgm:cxn modelId="{3BF61FD8-BA55-47E8-ADB5-1FF1BEB7F927}" type="presParOf" srcId="{F374A563-D1CA-42A1-92CE-DF90884540A9}" destId="{B9882219-687A-4676-B54F-3C0AB5414E4C}" srcOrd="1" destOrd="0" presId="urn:microsoft.com/office/officeart/2005/8/layout/orgChart1"/>
    <dgm:cxn modelId="{4C66A2BB-A116-4AB0-87CC-052982AF5094}" type="presParOf" srcId="{8C553A97-397A-4F81-8A4A-E5FB21FD45C4}" destId="{EBB48B14-1C80-40E7-B31E-4AF56EA22D0A}" srcOrd="1" destOrd="0" presId="urn:microsoft.com/office/officeart/2005/8/layout/orgChart1"/>
    <dgm:cxn modelId="{016CDB94-A49C-40E1-9D9E-14BCB4647E80}" type="presParOf" srcId="{8C553A97-397A-4F81-8A4A-E5FB21FD45C4}" destId="{6096A362-249E-4554-ACF6-A14DBA4F8591}" srcOrd="2" destOrd="0" presId="urn:microsoft.com/office/officeart/2005/8/layout/orgChart1"/>
    <dgm:cxn modelId="{BD78CA59-4435-4E17-8798-FD9CC86A1937}" type="presParOf" srcId="{18E141D3-A6BB-42E4-ACBA-E01199B001CC}" destId="{1DFD2664-AE25-4FC5-896D-CB7D3CCD902C}" srcOrd="2" destOrd="0" presId="urn:microsoft.com/office/officeart/2005/8/layout/orgChart1"/>
    <dgm:cxn modelId="{941F14A2-F7E7-493F-875B-09A5F3867B21}" type="presParOf" srcId="{9CC7B924-8766-42B9-8341-5234434E6678}" destId="{0B372373-4487-472C-97E3-8D5237FE7455}" srcOrd="2" destOrd="0" presId="urn:microsoft.com/office/officeart/2005/8/layout/orgChart1"/>
    <dgm:cxn modelId="{3911C303-09A1-4CFA-A7EA-66B534485FF3}" type="presParOf" srcId="{8FA944FA-5660-43FE-881E-7D04BFAA7390}" destId="{383E6E55-631F-4A62-97E6-29DAC118DDE0}" srcOrd="6" destOrd="0" presId="urn:microsoft.com/office/officeart/2005/8/layout/orgChart1"/>
    <dgm:cxn modelId="{057A7C80-8632-4DEF-BA04-52FA3BC64375}" type="presParOf" srcId="{8FA944FA-5660-43FE-881E-7D04BFAA7390}" destId="{117790D6-DC68-4298-A3BB-3B6EC2E7FE2B}" srcOrd="7" destOrd="0" presId="urn:microsoft.com/office/officeart/2005/8/layout/orgChart1"/>
    <dgm:cxn modelId="{3EA3F841-6968-46DF-B144-59B169B3E7C5}" type="presParOf" srcId="{117790D6-DC68-4298-A3BB-3B6EC2E7FE2B}" destId="{E19A90BC-3FDE-4F93-9B4E-217BA584E81A}" srcOrd="0" destOrd="0" presId="urn:microsoft.com/office/officeart/2005/8/layout/orgChart1"/>
    <dgm:cxn modelId="{636892F6-96F3-4DC2-8B91-0A94BCAC5868}" type="presParOf" srcId="{E19A90BC-3FDE-4F93-9B4E-217BA584E81A}" destId="{61A8E91F-01FA-4EC2-83A7-E3CC9F429B67}" srcOrd="0" destOrd="0" presId="urn:microsoft.com/office/officeart/2005/8/layout/orgChart1"/>
    <dgm:cxn modelId="{7C99ED79-E03B-43C9-AB1C-73C0CD77F0A3}" type="presParOf" srcId="{E19A90BC-3FDE-4F93-9B4E-217BA584E81A}" destId="{01E40F6E-0952-40CB-BC6A-5850967098C7}" srcOrd="1" destOrd="0" presId="urn:microsoft.com/office/officeart/2005/8/layout/orgChart1"/>
    <dgm:cxn modelId="{198ADE9F-8ED5-4299-AED7-188DFB36DDB3}" type="presParOf" srcId="{117790D6-DC68-4298-A3BB-3B6EC2E7FE2B}" destId="{DEAD537A-AF51-4EA7-B01C-F2E05410BB9B}" srcOrd="1" destOrd="0" presId="urn:microsoft.com/office/officeart/2005/8/layout/orgChart1"/>
    <dgm:cxn modelId="{4D916B10-9AAE-42FE-BE77-3F3220498E8E}" type="presParOf" srcId="{DEAD537A-AF51-4EA7-B01C-F2E05410BB9B}" destId="{04EB6106-AA2F-4D90-9234-9ED0F55F1EE2}" srcOrd="0" destOrd="0" presId="urn:microsoft.com/office/officeart/2005/8/layout/orgChart1"/>
    <dgm:cxn modelId="{79A09102-D333-4A93-A975-D858A47C0F42}" type="presParOf" srcId="{DEAD537A-AF51-4EA7-B01C-F2E05410BB9B}" destId="{C43EFFE9-A400-403E-9A51-5B7F64DC0870}" srcOrd="1" destOrd="0" presId="urn:microsoft.com/office/officeart/2005/8/layout/orgChart1"/>
    <dgm:cxn modelId="{0AF3B84D-3EB5-446C-A834-90B8F22EB720}" type="presParOf" srcId="{C43EFFE9-A400-403E-9A51-5B7F64DC0870}" destId="{F8A84808-4462-4063-A0DE-C7B98909A2A0}" srcOrd="0" destOrd="0" presId="urn:microsoft.com/office/officeart/2005/8/layout/orgChart1"/>
    <dgm:cxn modelId="{B8375607-854E-4068-8957-AA1C55EB2289}" type="presParOf" srcId="{F8A84808-4462-4063-A0DE-C7B98909A2A0}" destId="{98B82480-E653-42CA-AFC5-E457AA2E5164}" srcOrd="0" destOrd="0" presId="urn:microsoft.com/office/officeart/2005/8/layout/orgChart1"/>
    <dgm:cxn modelId="{EF6BF0CC-4D0C-4411-B663-788CBD189126}" type="presParOf" srcId="{F8A84808-4462-4063-A0DE-C7B98909A2A0}" destId="{B2EB92F5-E850-4932-9A54-A77A9BEAF584}" srcOrd="1" destOrd="0" presId="urn:microsoft.com/office/officeart/2005/8/layout/orgChart1"/>
    <dgm:cxn modelId="{D20AFD17-2F6E-4BBD-9EBF-5FB4C99A8B78}" type="presParOf" srcId="{C43EFFE9-A400-403E-9A51-5B7F64DC0870}" destId="{BFA9275A-00CD-411A-8D4B-CF013465A8EA}" srcOrd="1" destOrd="0" presId="urn:microsoft.com/office/officeart/2005/8/layout/orgChart1"/>
    <dgm:cxn modelId="{7C20A631-3244-4989-9599-865828C475CA}" type="presParOf" srcId="{C43EFFE9-A400-403E-9A51-5B7F64DC0870}" destId="{75EB34A3-995A-4F17-93CD-759E80D48427}" srcOrd="2" destOrd="0" presId="urn:microsoft.com/office/officeart/2005/8/layout/orgChart1"/>
    <dgm:cxn modelId="{6A97FF13-F89D-4277-921D-CE0C1F7CD8E5}" type="presParOf" srcId="{DEAD537A-AF51-4EA7-B01C-F2E05410BB9B}" destId="{EC38C921-903D-41CC-BA05-27E8EB57B822}" srcOrd="2" destOrd="0" presId="urn:microsoft.com/office/officeart/2005/8/layout/orgChart1"/>
    <dgm:cxn modelId="{E728A1D3-9D5E-45C6-8F7E-D8393E8F382A}" type="presParOf" srcId="{DEAD537A-AF51-4EA7-B01C-F2E05410BB9B}" destId="{7451E705-F9E9-484E-BCA0-ED46356BB449}" srcOrd="3" destOrd="0" presId="urn:microsoft.com/office/officeart/2005/8/layout/orgChart1"/>
    <dgm:cxn modelId="{7E1888EF-7440-44A2-AC17-8BB40EFA81AD}" type="presParOf" srcId="{7451E705-F9E9-484E-BCA0-ED46356BB449}" destId="{8E5E3AC5-419F-4A25-98EC-B59F030DFA8F}" srcOrd="0" destOrd="0" presId="urn:microsoft.com/office/officeart/2005/8/layout/orgChart1"/>
    <dgm:cxn modelId="{B6149A50-8D8E-4C37-95F2-316356EDD9AB}" type="presParOf" srcId="{8E5E3AC5-419F-4A25-98EC-B59F030DFA8F}" destId="{10CDABED-BD00-44C7-BBD9-C798846AAA29}" srcOrd="0" destOrd="0" presId="urn:microsoft.com/office/officeart/2005/8/layout/orgChart1"/>
    <dgm:cxn modelId="{997C8C8D-FB1A-4E26-920C-469D277E72B8}" type="presParOf" srcId="{8E5E3AC5-419F-4A25-98EC-B59F030DFA8F}" destId="{86C77FF0-90ED-4628-9F1D-562F7773A4CE}" srcOrd="1" destOrd="0" presId="urn:microsoft.com/office/officeart/2005/8/layout/orgChart1"/>
    <dgm:cxn modelId="{58DF4343-669C-4C13-8513-0638B03AABB0}" type="presParOf" srcId="{7451E705-F9E9-484E-BCA0-ED46356BB449}" destId="{26610769-9A4E-4D68-A9C3-07C4E0C2413E}" srcOrd="1" destOrd="0" presId="urn:microsoft.com/office/officeart/2005/8/layout/orgChart1"/>
    <dgm:cxn modelId="{85B8D72C-5374-4F42-9B46-F598757EA123}" type="presParOf" srcId="{7451E705-F9E9-484E-BCA0-ED46356BB449}" destId="{0D920B60-6F9C-4234-8FE3-636C749541EB}" srcOrd="2" destOrd="0" presId="urn:microsoft.com/office/officeart/2005/8/layout/orgChart1"/>
    <dgm:cxn modelId="{DB518060-523C-4EE0-B15E-8F42206C484D}" type="presParOf" srcId="{DEAD537A-AF51-4EA7-B01C-F2E05410BB9B}" destId="{27EA7125-AC84-4988-BFD8-652979089411}" srcOrd="4" destOrd="0" presId="urn:microsoft.com/office/officeart/2005/8/layout/orgChart1"/>
    <dgm:cxn modelId="{631A52D3-43D2-4A67-A93E-2AD7B23FB6B4}" type="presParOf" srcId="{DEAD537A-AF51-4EA7-B01C-F2E05410BB9B}" destId="{2BD1E04D-85E5-4380-8510-EE464A8FD8E6}" srcOrd="5" destOrd="0" presId="urn:microsoft.com/office/officeart/2005/8/layout/orgChart1"/>
    <dgm:cxn modelId="{B2E4DD66-0175-4739-8419-9CA9D482B5FB}" type="presParOf" srcId="{2BD1E04D-85E5-4380-8510-EE464A8FD8E6}" destId="{02E1FA50-08B8-443E-92D5-0164CAAFDEC5}" srcOrd="0" destOrd="0" presId="urn:microsoft.com/office/officeart/2005/8/layout/orgChart1"/>
    <dgm:cxn modelId="{D4F22579-5639-425A-B2F3-8FFEDA73E49D}" type="presParOf" srcId="{02E1FA50-08B8-443E-92D5-0164CAAFDEC5}" destId="{9B8410F3-C261-4466-BF12-B871CE7C6EB2}" srcOrd="0" destOrd="0" presId="urn:microsoft.com/office/officeart/2005/8/layout/orgChart1"/>
    <dgm:cxn modelId="{14E5AFB3-1BF1-480D-ACE2-BB33B8182B95}" type="presParOf" srcId="{02E1FA50-08B8-443E-92D5-0164CAAFDEC5}" destId="{330B4E35-D83A-4E57-B9B2-DA8B5AF245A4}" srcOrd="1" destOrd="0" presId="urn:microsoft.com/office/officeart/2005/8/layout/orgChart1"/>
    <dgm:cxn modelId="{6FC2BE5E-7353-453F-9A60-9005768200A3}" type="presParOf" srcId="{2BD1E04D-85E5-4380-8510-EE464A8FD8E6}" destId="{F0650CD3-325E-474F-ABB5-01A954D0A9D5}" srcOrd="1" destOrd="0" presId="urn:microsoft.com/office/officeart/2005/8/layout/orgChart1"/>
    <dgm:cxn modelId="{399DC89F-6107-4CCF-9209-98B44C794D65}" type="presParOf" srcId="{2BD1E04D-85E5-4380-8510-EE464A8FD8E6}" destId="{F804C94F-0BB6-405E-9F26-28E14F30A36F}" srcOrd="2" destOrd="0" presId="urn:microsoft.com/office/officeart/2005/8/layout/orgChart1"/>
    <dgm:cxn modelId="{ECBF137B-CBE1-4493-93EF-48F6C99ABA64}" type="presParOf" srcId="{117790D6-DC68-4298-A3BB-3B6EC2E7FE2B}" destId="{BD3EBFEE-9F54-4075-8F9F-583E8B7A30A7}" srcOrd="2" destOrd="0" presId="urn:microsoft.com/office/officeart/2005/8/layout/orgChart1"/>
    <dgm:cxn modelId="{8228E306-735F-4AD4-8296-E0BF0DF5CB46}" type="presParOf" srcId="{F29D4A3C-A833-43AA-90C1-2774D21BEFAA}" destId="{1946EA24-9D5D-4E3F-88BA-D24945A00923}" srcOrd="2" destOrd="0" presId="urn:microsoft.com/office/officeart/2005/8/layout/orgChart1"/>
  </dgm:cxnLst>
  <dgm:bg>
    <a:effectLst/>
  </dgm:bg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6C9D5F4-FF4F-420D-8420-A926E166D7A2}" type="doc">
      <dgm:prSet loTypeId="urn:microsoft.com/office/officeart/2009/3/layout/HorizontalOrganizationChart" loCatId="hierarchy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D0997319-AE2C-4C46-ADCB-BA43BE3F3F54}">
      <dgm:prSet phldrT="[Text]" custT="1"/>
      <dgm:spPr>
        <a:solidFill>
          <a:schemeClr val="accent1"/>
        </a:solidFill>
        <a:ln>
          <a:noFill/>
        </a:ln>
      </dgm:spPr>
      <dgm:t>
        <a:bodyPr/>
        <a:lstStyle/>
        <a:p>
          <a:r>
            <a:rPr lang="de-DE" sz="1400" b="1" dirty="0"/>
            <a:t>Position 1</a:t>
          </a:r>
        </a:p>
      </dgm:t>
    </dgm:pt>
    <dgm:pt modelId="{EDD69CBB-FC0D-413C-A203-D32C53DEA1CA}" type="parTrans" cxnId="{9486E231-E761-415A-A46A-B222DD3C9A89}">
      <dgm:prSet/>
      <dgm:spPr/>
      <dgm:t>
        <a:bodyPr/>
        <a:lstStyle/>
        <a:p>
          <a:endParaRPr lang="en-US" sz="1600"/>
        </a:p>
      </dgm:t>
    </dgm:pt>
    <dgm:pt modelId="{E975384C-827E-414A-AEB5-7C3391463B49}" type="sibTrans" cxnId="{9486E231-E761-415A-A46A-B222DD3C9A89}">
      <dgm:prSet/>
      <dgm:spPr/>
      <dgm:t>
        <a:bodyPr/>
        <a:lstStyle/>
        <a:p>
          <a:endParaRPr lang="en-US" sz="1600"/>
        </a:p>
      </dgm:t>
    </dgm:pt>
    <dgm:pt modelId="{8E70AA8F-7583-4AFE-9EDE-87363894E1F8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r>
            <a:rPr lang="de-DE" sz="1400" b="1" cap="none" baseline="0" dirty="0"/>
            <a:t>Position 2</a:t>
          </a:r>
          <a:br>
            <a:rPr lang="de-DE" sz="1400" b="1" cap="none" baseline="0" dirty="0"/>
          </a:br>
          <a:r>
            <a:rPr lang="de-DE" sz="1400" b="0" cap="none" baseline="0" dirty="0" err="1">
              <a:latin typeface="+mn-lt"/>
            </a:rPr>
            <a:t>Lorem</a:t>
          </a:r>
          <a:r>
            <a:rPr lang="de-DE" sz="1400" b="0" cap="none" baseline="0" dirty="0">
              <a:latin typeface="+mn-lt"/>
            </a:rPr>
            <a:t> Ipsum</a:t>
          </a:r>
        </a:p>
      </dgm:t>
    </dgm:pt>
    <dgm:pt modelId="{B164CB56-71EE-412E-A3A2-1509A3B08E05}" type="parTrans" cxnId="{707B8E58-ABA5-4C9A-AFCF-298CB05D08DA}">
      <dgm:prSet>
        <dgm:style>
          <a:lnRef idx="2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dgm:style>
      </dgm:prSet>
      <dgm:spPr>
        <a:noFill/>
        <a:ln w="12700" cap="flat" cmpd="sng" algn="ctr">
          <a:solidFill>
            <a:srgbClr val="000000"/>
          </a:solidFill>
          <a:prstDash val="solid"/>
        </a:ln>
        <a:effectLst/>
      </dgm:spPr>
      <dgm:t>
        <a:bodyPr/>
        <a:lstStyle/>
        <a:p>
          <a:endParaRPr lang="en-US" sz="1600"/>
        </a:p>
      </dgm:t>
    </dgm:pt>
    <dgm:pt modelId="{50009256-33DA-4FAC-A050-2DE70DDCC26C}" type="sibTrans" cxnId="{707B8E58-ABA5-4C9A-AFCF-298CB05D08DA}">
      <dgm:prSet/>
      <dgm:spPr/>
      <dgm:t>
        <a:bodyPr/>
        <a:lstStyle/>
        <a:p>
          <a:endParaRPr lang="en-US" sz="1600"/>
        </a:p>
      </dgm:t>
    </dgm:pt>
    <dgm:pt modelId="{7518AF73-C3E8-4B13-863B-C4E310C686A0}">
      <dgm:prSet phldrT="[Text]" custT="1"/>
      <dgm:spPr>
        <a:solidFill>
          <a:schemeClr val="accent3"/>
        </a:solidFill>
        <a:ln>
          <a:noFill/>
        </a:ln>
      </dgm:spPr>
      <dgm:t>
        <a:bodyPr/>
        <a:lstStyle/>
        <a:p>
          <a:r>
            <a:rPr lang="de-DE" sz="1400" dirty="0"/>
            <a:t>Position 3</a:t>
          </a:r>
        </a:p>
      </dgm:t>
    </dgm:pt>
    <dgm:pt modelId="{ABBFDE01-1481-464C-8AC1-99EC0D941066}" type="parTrans" cxnId="{BD1D9FF7-42B5-4F9C-A390-156FE5D7BE1F}">
      <dgm:prSet>
        <dgm:style>
          <a:lnRef idx="2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dgm:style>
      </dgm:prSet>
      <dgm:spPr>
        <a:ln w="12700">
          <a:solidFill>
            <a:schemeClr val="tx1"/>
          </a:solidFill>
        </a:ln>
      </dgm:spPr>
      <dgm:t>
        <a:bodyPr/>
        <a:lstStyle/>
        <a:p>
          <a:endParaRPr lang="en-US" sz="1600"/>
        </a:p>
      </dgm:t>
    </dgm:pt>
    <dgm:pt modelId="{690A0E8A-BAD8-4EE1-AD75-5AF1C8BEC1E5}" type="sibTrans" cxnId="{BD1D9FF7-42B5-4F9C-A390-156FE5D7BE1F}">
      <dgm:prSet/>
      <dgm:spPr/>
      <dgm:t>
        <a:bodyPr/>
        <a:lstStyle/>
        <a:p>
          <a:endParaRPr lang="en-US" sz="1600"/>
        </a:p>
      </dgm:t>
    </dgm:pt>
    <dgm:pt modelId="{E0596880-FF67-4DA5-941B-65923DFF419E}">
      <dgm:prSet phldrT="[Text]" custT="1"/>
      <dgm:spPr>
        <a:solidFill>
          <a:schemeClr val="accent3"/>
        </a:solidFill>
        <a:ln>
          <a:noFill/>
        </a:ln>
      </dgm:spPr>
      <dgm:t>
        <a:bodyPr/>
        <a:lstStyle/>
        <a:p>
          <a:r>
            <a:rPr lang="de-DE" sz="1400" dirty="0"/>
            <a:t>Position 3</a:t>
          </a:r>
        </a:p>
      </dgm:t>
    </dgm:pt>
    <dgm:pt modelId="{3CEC508D-6423-4788-A06A-BC7655EEA4B7}" type="parTrans" cxnId="{B57FC3A1-2579-489D-B729-E82B9FE53A02}">
      <dgm:prSet/>
      <dgm:spPr>
        <a:ln w="12700">
          <a:solidFill>
            <a:schemeClr val="tx1"/>
          </a:solidFill>
        </a:ln>
      </dgm:spPr>
      <dgm:t>
        <a:bodyPr/>
        <a:lstStyle/>
        <a:p>
          <a:endParaRPr lang="en-US" sz="1600"/>
        </a:p>
      </dgm:t>
    </dgm:pt>
    <dgm:pt modelId="{B7C6A75D-1EE1-4839-9058-D7BECB5C6118}" type="sibTrans" cxnId="{B57FC3A1-2579-489D-B729-E82B9FE53A02}">
      <dgm:prSet/>
      <dgm:spPr/>
      <dgm:t>
        <a:bodyPr/>
        <a:lstStyle/>
        <a:p>
          <a:endParaRPr lang="en-US" sz="1600"/>
        </a:p>
      </dgm:t>
    </dgm:pt>
    <dgm:pt modelId="{434F1058-EF12-4590-BD43-496B2D33656A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r>
            <a:rPr lang="de-DE" sz="1400" b="1" cap="none" baseline="0" dirty="0"/>
            <a:t>Position 2</a:t>
          </a:r>
          <a:br>
            <a:rPr lang="de-DE" sz="1400" b="1" cap="none" baseline="0" dirty="0"/>
          </a:br>
          <a:r>
            <a:rPr lang="de-DE" sz="1400" b="0" cap="none" baseline="0" dirty="0" err="1">
              <a:latin typeface="+mn-lt"/>
            </a:rPr>
            <a:t>Lorem</a:t>
          </a:r>
          <a:r>
            <a:rPr lang="de-DE" sz="1400" b="0" cap="none" baseline="0" dirty="0">
              <a:latin typeface="+mn-lt"/>
            </a:rPr>
            <a:t> Ipsum</a:t>
          </a:r>
          <a:endParaRPr lang="de-DE" sz="1400" b="1" dirty="0"/>
        </a:p>
      </dgm:t>
    </dgm:pt>
    <dgm:pt modelId="{17815460-B569-463A-BACE-734F709F874A}" type="parTrans" cxnId="{9E137BA1-2E21-43A2-A338-650B162A3662}">
      <dgm:prSet>
        <dgm:style>
          <a:lnRef idx="2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dgm:style>
      </dgm:prSet>
      <dgm:spPr>
        <a:ln w="12700"/>
      </dgm:spPr>
      <dgm:t>
        <a:bodyPr/>
        <a:lstStyle/>
        <a:p>
          <a:endParaRPr lang="en-US" sz="1600"/>
        </a:p>
      </dgm:t>
    </dgm:pt>
    <dgm:pt modelId="{BC8F1DC2-66B6-4B6F-BD02-84C41DB8AF5C}" type="sibTrans" cxnId="{9E137BA1-2E21-43A2-A338-650B162A3662}">
      <dgm:prSet/>
      <dgm:spPr/>
      <dgm:t>
        <a:bodyPr/>
        <a:lstStyle/>
        <a:p>
          <a:endParaRPr lang="en-US" sz="1600"/>
        </a:p>
      </dgm:t>
    </dgm:pt>
    <dgm:pt modelId="{4098A15D-6BE4-4258-B7C8-EC2A1354A4D6}">
      <dgm:prSet phldrT="[Text]" custT="1"/>
      <dgm:spPr>
        <a:solidFill>
          <a:schemeClr val="accent3"/>
        </a:solidFill>
        <a:ln>
          <a:noFill/>
        </a:ln>
      </dgm:spPr>
      <dgm:t>
        <a:bodyPr/>
        <a:lstStyle/>
        <a:p>
          <a:r>
            <a:rPr lang="de-DE" sz="1400" dirty="0"/>
            <a:t>Position 3</a:t>
          </a:r>
        </a:p>
      </dgm:t>
    </dgm:pt>
    <dgm:pt modelId="{DA62F256-25CF-4854-BFCD-F90F70E5F8D4}" type="parTrans" cxnId="{21D8E081-3F51-4864-8D5D-F1BA8CEC852F}">
      <dgm:prSet/>
      <dgm:spPr>
        <a:ln w="12700">
          <a:solidFill>
            <a:schemeClr val="tx1"/>
          </a:solidFill>
        </a:ln>
      </dgm:spPr>
      <dgm:t>
        <a:bodyPr/>
        <a:lstStyle/>
        <a:p>
          <a:endParaRPr lang="en-US" sz="1600"/>
        </a:p>
      </dgm:t>
    </dgm:pt>
    <dgm:pt modelId="{E1090322-3287-4D3C-A158-E43939F1FA7E}" type="sibTrans" cxnId="{21D8E081-3F51-4864-8D5D-F1BA8CEC852F}">
      <dgm:prSet/>
      <dgm:spPr/>
      <dgm:t>
        <a:bodyPr/>
        <a:lstStyle/>
        <a:p>
          <a:endParaRPr lang="en-US" sz="1600"/>
        </a:p>
      </dgm:t>
    </dgm:pt>
    <dgm:pt modelId="{C1D130BE-4BC5-481C-BADA-14A869727C0B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r>
            <a:rPr lang="de-DE" sz="1400" b="1" cap="none" baseline="0" dirty="0"/>
            <a:t>Position 2</a:t>
          </a:r>
          <a:br>
            <a:rPr lang="de-DE" sz="1400" b="1" cap="none" baseline="0" dirty="0"/>
          </a:br>
          <a:r>
            <a:rPr lang="de-DE" sz="1400" b="0" cap="none" baseline="0" dirty="0" err="1">
              <a:latin typeface="+mn-lt"/>
            </a:rPr>
            <a:t>Lorem</a:t>
          </a:r>
          <a:r>
            <a:rPr lang="de-DE" sz="1400" b="0" cap="none" baseline="0" dirty="0">
              <a:latin typeface="+mn-lt"/>
            </a:rPr>
            <a:t> Ipsum</a:t>
          </a:r>
          <a:endParaRPr lang="de-DE" sz="1400" b="1" cap="none" baseline="0" dirty="0"/>
        </a:p>
      </dgm:t>
    </dgm:pt>
    <dgm:pt modelId="{8A26916C-03BF-4B0E-92AF-656A56CF8513}" type="parTrans" cxnId="{221AD8BF-6539-43E4-9EB1-23AF138D0EE2}">
      <dgm:prSet>
        <dgm:style>
          <a:lnRef idx="2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dgm:style>
      </dgm:prSet>
      <dgm:spPr>
        <a:ln w="12700">
          <a:solidFill>
            <a:schemeClr val="tx1"/>
          </a:solidFill>
        </a:ln>
      </dgm:spPr>
      <dgm:t>
        <a:bodyPr/>
        <a:lstStyle/>
        <a:p>
          <a:endParaRPr lang="en-US" sz="1600"/>
        </a:p>
      </dgm:t>
    </dgm:pt>
    <dgm:pt modelId="{4F4BE6FE-AE34-4934-8B0D-8FDF04C5765F}" type="sibTrans" cxnId="{221AD8BF-6539-43E4-9EB1-23AF138D0EE2}">
      <dgm:prSet/>
      <dgm:spPr/>
      <dgm:t>
        <a:bodyPr/>
        <a:lstStyle/>
        <a:p>
          <a:endParaRPr lang="en-US" sz="1600"/>
        </a:p>
      </dgm:t>
    </dgm:pt>
    <dgm:pt modelId="{CD6C8CAB-2DB8-4BEB-8794-D14E24B56239}">
      <dgm:prSet phldrT="[Text]" custT="1"/>
      <dgm:spPr>
        <a:solidFill>
          <a:schemeClr val="accent3"/>
        </a:solidFill>
        <a:ln>
          <a:noFill/>
        </a:ln>
      </dgm:spPr>
      <dgm:t>
        <a:bodyPr/>
        <a:lstStyle/>
        <a:p>
          <a:r>
            <a:rPr lang="de-DE" sz="1400" dirty="0"/>
            <a:t>Position 3</a:t>
          </a:r>
        </a:p>
      </dgm:t>
    </dgm:pt>
    <dgm:pt modelId="{503510FB-9E52-432E-98AC-FEF28CA55F0D}" type="parTrans" cxnId="{08C6FF6E-ED40-443D-B75C-6827A78AAE2F}">
      <dgm:prSet/>
      <dgm:spPr>
        <a:ln w="12700">
          <a:solidFill>
            <a:schemeClr val="tx1"/>
          </a:solidFill>
        </a:ln>
      </dgm:spPr>
      <dgm:t>
        <a:bodyPr/>
        <a:lstStyle/>
        <a:p>
          <a:endParaRPr lang="en-US" sz="1600"/>
        </a:p>
      </dgm:t>
    </dgm:pt>
    <dgm:pt modelId="{F6688289-1E3B-4C81-B097-4BC4F02DEEB1}" type="sibTrans" cxnId="{08C6FF6E-ED40-443D-B75C-6827A78AAE2F}">
      <dgm:prSet/>
      <dgm:spPr/>
      <dgm:t>
        <a:bodyPr/>
        <a:lstStyle/>
        <a:p>
          <a:endParaRPr lang="en-US" sz="1600"/>
        </a:p>
      </dgm:t>
    </dgm:pt>
    <dgm:pt modelId="{16945C89-930D-4764-8730-4F183F8B4C87}">
      <dgm:prSet phldrT="[Text]" custT="1"/>
      <dgm:spPr>
        <a:solidFill>
          <a:schemeClr val="accent3"/>
        </a:solidFill>
        <a:ln>
          <a:noFill/>
        </a:ln>
      </dgm:spPr>
      <dgm:t>
        <a:bodyPr/>
        <a:lstStyle/>
        <a:p>
          <a:r>
            <a:rPr lang="de-DE" sz="1400" dirty="0"/>
            <a:t>Position 3</a:t>
          </a:r>
        </a:p>
      </dgm:t>
    </dgm:pt>
    <dgm:pt modelId="{B3C6A11E-10F5-433C-A0FB-1B185A7D12E0}" type="parTrans" cxnId="{587DEAC9-60C3-45DB-9C9F-C26256D35C0F}">
      <dgm:prSet/>
      <dgm:spPr>
        <a:ln w="12700">
          <a:solidFill>
            <a:schemeClr val="tx1"/>
          </a:solidFill>
        </a:ln>
      </dgm:spPr>
      <dgm:t>
        <a:bodyPr/>
        <a:lstStyle/>
        <a:p>
          <a:endParaRPr lang="en-US" sz="1600"/>
        </a:p>
      </dgm:t>
    </dgm:pt>
    <dgm:pt modelId="{5C8BCF49-4277-47C2-9543-A10467E88E20}" type="sibTrans" cxnId="{587DEAC9-60C3-45DB-9C9F-C26256D35C0F}">
      <dgm:prSet/>
      <dgm:spPr/>
      <dgm:t>
        <a:bodyPr/>
        <a:lstStyle/>
        <a:p>
          <a:endParaRPr lang="en-US" sz="1600"/>
        </a:p>
      </dgm:t>
    </dgm:pt>
    <dgm:pt modelId="{81425023-3658-474F-B398-A09F6A7715C4}">
      <dgm:prSet phldrT="[Text]" custT="1"/>
      <dgm:spPr>
        <a:solidFill>
          <a:schemeClr val="bg1"/>
        </a:solidFill>
        <a:ln>
          <a:noFill/>
        </a:ln>
      </dgm:spPr>
      <dgm:t>
        <a:bodyPr/>
        <a:lstStyle/>
        <a:p>
          <a:r>
            <a:rPr lang="de-DE" sz="1400" dirty="0">
              <a:solidFill>
                <a:schemeClr val="tx1"/>
              </a:solidFill>
            </a:rPr>
            <a:t>Position 4</a:t>
          </a:r>
        </a:p>
      </dgm:t>
    </dgm:pt>
    <dgm:pt modelId="{345CD3D7-27E7-4989-AC59-685A5F66867B}" type="parTrans" cxnId="{44341EF0-10C6-4D82-8DA6-2C6C50CE800E}">
      <dgm:prSet>
        <dgm:style>
          <a:lnRef idx="2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dgm:style>
      </dgm:prSet>
      <dgm:spPr>
        <a:ln w="12700"/>
      </dgm:spPr>
      <dgm:t>
        <a:bodyPr/>
        <a:lstStyle/>
        <a:p>
          <a:endParaRPr lang="en-US" sz="1600"/>
        </a:p>
      </dgm:t>
    </dgm:pt>
    <dgm:pt modelId="{CBF02706-A628-4026-928F-AF87A6453A9D}" type="sibTrans" cxnId="{44341EF0-10C6-4D82-8DA6-2C6C50CE800E}">
      <dgm:prSet/>
      <dgm:spPr/>
      <dgm:t>
        <a:bodyPr/>
        <a:lstStyle/>
        <a:p>
          <a:endParaRPr lang="en-US" sz="1600"/>
        </a:p>
      </dgm:t>
    </dgm:pt>
    <dgm:pt modelId="{66C44EFF-DEB7-4ECA-ABBE-4389F71F4791}">
      <dgm:prSet phldrT="[Text]" custT="1"/>
      <dgm:spPr>
        <a:solidFill>
          <a:schemeClr val="bg1"/>
        </a:solidFill>
        <a:ln>
          <a:noFill/>
        </a:ln>
      </dgm:spPr>
      <dgm:t>
        <a:bodyPr/>
        <a:lstStyle/>
        <a:p>
          <a:r>
            <a:rPr lang="de-DE" sz="1400" dirty="0">
              <a:solidFill>
                <a:schemeClr val="tx1"/>
              </a:solidFill>
            </a:rPr>
            <a:t>Position 4</a:t>
          </a:r>
        </a:p>
      </dgm:t>
    </dgm:pt>
    <dgm:pt modelId="{48DD0E39-F512-4992-838B-71D188118365}" type="parTrans" cxnId="{A259775D-9C36-4ACD-8965-090CEA188B42}">
      <dgm:prSet/>
      <dgm:spPr>
        <a:ln w="12700">
          <a:solidFill>
            <a:schemeClr val="tx1"/>
          </a:solidFill>
        </a:ln>
      </dgm:spPr>
      <dgm:t>
        <a:bodyPr/>
        <a:lstStyle/>
        <a:p>
          <a:endParaRPr lang="en-US" sz="1600"/>
        </a:p>
      </dgm:t>
    </dgm:pt>
    <dgm:pt modelId="{7E567B3E-F5E2-4DF6-8E1C-29A3F58A5F52}" type="sibTrans" cxnId="{A259775D-9C36-4ACD-8965-090CEA188B42}">
      <dgm:prSet/>
      <dgm:spPr/>
      <dgm:t>
        <a:bodyPr/>
        <a:lstStyle/>
        <a:p>
          <a:endParaRPr lang="en-US" sz="1600"/>
        </a:p>
      </dgm:t>
    </dgm:pt>
    <dgm:pt modelId="{CF5B8EE4-D285-4E9D-BBB6-5F2F77DD4689}">
      <dgm:prSet phldrT="[Text]" custT="1"/>
      <dgm:spPr>
        <a:solidFill>
          <a:schemeClr val="accent3"/>
        </a:solidFill>
        <a:ln>
          <a:noFill/>
        </a:ln>
      </dgm:spPr>
      <dgm:t>
        <a:bodyPr/>
        <a:lstStyle/>
        <a:p>
          <a:r>
            <a:rPr lang="de-DE" sz="1400" dirty="0"/>
            <a:t>Position 3</a:t>
          </a:r>
        </a:p>
      </dgm:t>
    </dgm:pt>
    <dgm:pt modelId="{D937D902-C50B-4BEC-9C1F-D9880BCC701B}" type="parTrans" cxnId="{2ED6F702-CE72-434F-A1BB-6BCE9E2DA2BA}">
      <dgm:prSet/>
      <dgm:spPr>
        <a:ln w="12700">
          <a:solidFill>
            <a:schemeClr val="tx1"/>
          </a:solidFill>
        </a:ln>
      </dgm:spPr>
      <dgm:t>
        <a:bodyPr/>
        <a:lstStyle/>
        <a:p>
          <a:endParaRPr lang="en-US" sz="1600"/>
        </a:p>
      </dgm:t>
    </dgm:pt>
    <dgm:pt modelId="{CADCD7D6-E889-4A66-B79B-3ACEEF43F075}" type="sibTrans" cxnId="{2ED6F702-CE72-434F-A1BB-6BCE9E2DA2BA}">
      <dgm:prSet/>
      <dgm:spPr/>
      <dgm:t>
        <a:bodyPr/>
        <a:lstStyle/>
        <a:p>
          <a:endParaRPr lang="en-US" sz="1600"/>
        </a:p>
      </dgm:t>
    </dgm:pt>
    <dgm:pt modelId="{2FEE2BF4-38E6-46BE-8106-6EC49885456E}">
      <dgm:prSet phldrT="[Text]" custT="1"/>
      <dgm:spPr>
        <a:solidFill>
          <a:schemeClr val="bg1"/>
        </a:solidFill>
        <a:ln>
          <a:noFill/>
        </a:ln>
      </dgm:spPr>
      <dgm:t>
        <a:bodyPr/>
        <a:lstStyle/>
        <a:p>
          <a:r>
            <a:rPr lang="de-DE" sz="1400" dirty="0">
              <a:solidFill>
                <a:schemeClr val="tx1"/>
              </a:solidFill>
            </a:rPr>
            <a:t>Position 4</a:t>
          </a:r>
        </a:p>
      </dgm:t>
    </dgm:pt>
    <dgm:pt modelId="{324BA76D-EC38-4C56-840D-1090A8A73FA9}" type="parTrans" cxnId="{8B1B3D9F-6DDB-40F6-B032-5C6E3D321F7C}">
      <dgm:prSet/>
      <dgm:spPr>
        <a:ln w="12700">
          <a:solidFill>
            <a:schemeClr val="tx1"/>
          </a:solidFill>
        </a:ln>
      </dgm:spPr>
      <dgm:t>
        <a:bodyPr/>
        <a:lstStyle/>
        <a:p>
          <a:endParaRPr lang="en-US" sz="1600"/>
        </a:p>
      </dgm:t>
    </dgm:pt>
    <dgm:pt modelId="{DC438ACA-527B-4585-8C32-A061704772AA}" type="sibTrans" cxnId="{8B1B3D9F-6DDB-40F6-B032-5C6E3D321F7C}">
      <dgm:prSet/>
      <dgm:spPr/>
      <dgm:t>
        <a:bodyPr/>
        <a:lstStyle/>
        <a:p>
          <a:endParaRPr lang="en-US" sz="1600"/>
        </a:p>
      </dgm:t>
    </dgm:pt>
    <dgm:pt modelId="{5CE6335D-6FEA-4878-B111-4B98BAE7640E}" type="pres">
      <dgm:prSet presAssocID="{96C9D5F4-FF4F-420D-8420-A926E166D7A2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7488B669-4E57-40E4-B98D-3459DAAB515E}" type="pres">
      <dgm:prSet presAssocID="{D0997319-AE2C-4C46-ADCB-BA43BE3F3F54}" presName="hierRoot1" presStyleCnt="0">
        <dgm:presLayoutVars>
          <dgm:hierBranch val="init"/>
        </dgm:presLayoutVars>
      </dgm:prSet>
      <dgm:spPr/>
    </dgm:pt>
    <dgm:pt modelId="{734E09B6-55FF-4827-9D9B-2642C3C3C348}" type="pres">
      <dgm:prSet presAssocID="{D0997319-AE2C-4C46-ADCB-BA43BE3F3F54}" presName="rootComposite1" presStyleCnt="0"/>
      <dgm:spPr/>
    </dgm:pt>
    <dgm:pt modelId="{8E6BAC62-88FB-4D7A-9AC4-44D4711F9415}" type="pres">
      <dgm:prSet presAssocID="{D0997319-AE2C-4C46-ADCB-BA43BE3F3F54}" presName="rootText1" presStyleLbl="node0" presStyleIdx="0" presStyleCnt="1">
        <dgm:presLayoutVars>
          <dgm:chPref val="3"/>
        </dgm:presLayoutVars>
      </dgm:prSet>
      <dgm:spPr/>
    </dgm:pt>
    <dgm:pt modelId="{5D3C668E-4027-4EEC-9C2A-D5E4EDE8366F}" type="pres">
      <dgm:prSet presAssocID="{D0997319-AE2C-4C46-ADCB-BA43BE3F3F54}" presName="rootConnector1" presStyleLbl="node1" presStyleIdx="0" presStyleCnt="0"/>
      <dgm:spPr/>
    </dgm:pt>
    <dgm:pt modelId="{22D16F18-2CE1-4A7E-A7DF-A275CF0371AD}" type="pres">
      <dgm:prSet presAssocID="{D0997319-AE2C-4C46-ADCB-BA43BE3F3F54}" presName="hierChild2" presStyleCnt="0"/>
      <dgm:spPr/>
    </dgm:pt>
    <dgm:pt modelId="{F8C3FE30-A7A8-477D-80E9-BEC0650BBCDC}" type="pres">
      <dgm:prSet presAssocID="{B164CB56-71EE-412E-A3A2-1509A3B08E05}" presName="Name64" presStyleLbl="parChTrans1D2" presStyleIdx="0" presStyleCnt="3"/>
      <dgm:spPr>
        <a:xfrm>
          <a:off x="2304736" y="858667"/>
          <a:ext cx="293718" cy="1210973"/>
        </a:xfrm>
        <a:custGeom>
          <a:avLst/>
          <a:gdLst/>
          <a:ahLst/>
          <a:cxnLst/>
          <a:rect l="0" t="0" r="0" b="0"/>
          <a:pathLst>
            <a:path>
              <a:moveTo>
                <a:pt x="0" y="1210973"/>
              </a:moveTo>
              <a:lnTo>
                <a:pt x="146859" y="1210973"/>
              </a:lnTo>
              <a:lnTo>
                <a:pt x="146859" y="0"/>
              </a:lnTo>
              <a:lnTo>
                <a:pt x="293718" y="0"/>
              </a:lnTo>
            </a:path>
          </a:pathLst>
        </a:custGeom>
      </dgm:spPr>
    </dgm:pt>
    <dgm:pt modelId="{77CFCB2C-59B0-405A-A904-C193E11BE101}" type="pres">
      <dgm:prSet presAssocID="{8E70AA8F-7583-4AFE-9EDE-87363894E1F8}" presName="hierRoot2" presStyleCnt="0">
        <dgm:presLayoutVars>
          <dgm:hierBranch val="init"/>
        </dgm:presLayoutVars>
      </dgm:prSet>
      <dgm:spPr/>
    </dgm:pt>
    <dgm:pt modelId="{11733223-0AA4-4FB2-9FC3-C7B3AA1C649F}" type="pres">
      <dgm:prSet presAssocID="{8E70AA8F-7583-4AFE-9EDE-87363894E1F8}" presName="rootComposite" presStyleCnt="0"/>
      <dgm:spPr/>
    </dgm:pt>
    <dgm:pt modelId="{FD9C3F94-D84E-4E02-AEAC-45A19EEA5888}" type="pres">
      <dgm:prSet presAssocID="{8E70AA8F-7583-4AFE-9EDE-87363894E1F8}" presName="rootText" presStyleLbl="node2" presStyleIdx="0" presStyleCnt="3" custScaleY="150530">
        <dgm:presLayoutVars>
          <dgm:chPref val="3"/>
        </dgm:presLayoutVars>
      </dgm:prSet>
      <dgm:spPr/>
    </dgm:pt>
    <dgm:pt modelId="{DC226BAD-3800-4DE9-8A0E-197C10F59DE3}" type="pres">
      <dgm:prSet presAssocID="{8E70AA8F-7583-4AFE-9EDE-87363894E1F8}" presName="rootConnector" presStyleLbl="node2" presStyleIdx="0" presStyleCnt="3"/>
      <dgm:spPr/>
    </dgm:pt>
    <dgm:pt modelId="{494E70B2-D16B-4CD0-B633-A95E632622D3}" type="pres">
      <dgm:prSet presAssocID="{8E70AA8F-7583-4AFE-9EDE-87363894E1F8}" presName="hierChild4" presStyleCnt="0"/>
      <dgm:spPr/>
    </dgm:pt>
    <dgm:pt modelId="{03597080-A7BE-417D-960C-3E85F84BB14F}" type="pres">
      <dgm:prSet presAssocID="{ABBFDE01-1481-464C-8AC1-99EC0D941066}" presName="Name64" presStyleLbl="parChTrans1D3" presStyleIdx="0" presStyleCnt="6"/>
      <dgm:spPr>
        <a:xfrm>
          <a:off x="4067045" y="542920"/>
          <a:ext cx="293718" cy="315747"/>
        </a:xfrm>
        <a:custGeom>
          <a:avLst/>
          <a:gdLst/>
          <a:ahLst/>
          <a:cxnLst/>
          <a:rect l="0" t="0" r="0" b="0"/>
          <a:pathLst>
            <a:path>
              <a:moveTo>
                <a:pt x="0" y="315747"/>
              </a:moveTo>
              <a:lnTo>
                <a:pt x="146859" y="315747"/>
              </a:lnTo>
              <a:lnTo>
                <a:pt x="146859" y="0"/>
              </a:lnTo>
              <a:lnTo>
                <a:pt x="293718" y="0"/>
              </a:lnTo>
            </a:path>
          </a:pathLst>
        </a:custGeom>
      </dgm:spPr>
    </dgm:pt>
    <dgm:pt modelId="{84CC9214-34E7-47AE-A13F-7513EA3F042A}" type="pres">
      <dgm:prSet presAssocID="{7518AF73-C3E8-4B13-863B-C4E310C686A0}" presName="hierRoot2" presStyleCnt="0">
        <dgm:presLayoutVars>
          <dgm:hierBranch val="init"/>
        </dgm:presLayoutVars>
      </dgm:prSet>
      <dgm:spPr/>
    </dgm:pt>
    <dgm:pt modelId="{71950C8C-78EC-43EE-BDFC-8CD6869C758E}" type="pres">
      <dgm:prSet presAssocID="{7518AF73-C3E8-4B13-863B-C4E310C686A0}" presName="rootComposite" presStyleCnt="0"/>
      <dgm:spPr/>
    </dgm:pt>
    <dgm:pt modelId="{804BC146-4867-40F8-B529-584822B70E8B}" type="pres">
      <dgm:prSet presAssocID="{7518AF73-C3E8-4B13-863B-C4E310C686A0}" presName="rootText" presStyleLbl="node3" presStyleIdx="0" presStyleCnt="6">
        <dgm:presLayoutVars>
          <dgm:chPref val="3"/>
        </dgm:presLayoutVars>
      </dgm:prSet>
      <dgm:spPr/>
    </dgm:pt>
    <dgm:pt modelId="{4A971127-885C-4EFB-9B37-2EA8B075E54B}" type="pres">
      <dgm:prSet presAssocID="{7518AF73-C3E8-4B13-863B-C4E310C686A0}" presName="rootConnector" presStyleLbl="node3" presStyleIdx="0" presStyleCnt="6"/>
      <dgm:spPr/>
    </dgm:pt>
    <dgm:pt modelId="{5D05719B-3ACA-4CE3-8DAF-C99C3028A130}" type="pres">
      <dgm:prSet presAssocID="{7518AF73-C3E8-4B13-863B-C4E310C686A0}" presName="hierChild4" presStyleCnt="0"/>
      <dgm:spPr/>
    </dgm:pt>
    <dgm:pt modelId="{48C92320-1FEA-4785-B85C-9DEBC6B4E0BD}" type="pres">
      <dgm:prSet presAssocID="{345CD3D7-27E7-4989-AC59-685A5F66867B}" presName="Name64" presStyleLbl="parChTrans1D4" presStyleIdx="0" presStyleCnt="3"/>
      <dgm:spPr>
        <a:xfrm>
          <a:off x="5829355" y="227173"/>
          <a:ext cx="293718" cy="315747"/>
        </a:xfrm>
        <a:custGeom>
          <a:avLst/>
          <a:gdLst/>
          <a:ahLst/>
          <a:cxnLst/>
          <a:rect l="0" t="0" r="0" b="0"/>
          <a:pathLst>
            <a:path>
              <a:moveTo>
                <a:pt x="0" y="315747"/>
              </a:moveTo>
              <a:lnTo>
                <a:pt x="146859" y="315747"/>
              </a:lnTo>
              <a:lnTo>
                <a:pt x="146859" y="0"/>
              </a:lnTo>
              <a:lnTo>
                <a:pt x="293718" y="0"/>
              </a:lnTo>
            </a:path>
          </a:pathLst>
        </a:custGeom>
      </dgm:spPr>
    </dgm:pt>
    <dgm:pt modelId="{27A3018F-1FBB-4733-8472-B4B7055B02FE}" type="pres">
      <dgm:prSet presAssocID="{81425023-3658-474F-B398-A09F6A7715C4}" presName="hierRoot2" presStyleCnt="0">
        <dgm:presLayoutVars>
          <dgm:hierBranch val="init"/>
        </dgm:presLayoutVars>
      </dgm:prSet>
      <dgm:spPr/>
    </dgm:pt>
    <dgm:pt modelId="{E3C00E1D-D34D-4ED5-9921-519FACE5F220}" type="pres">
      <dgm:prSet presAssocID="{81425023-3658-474F-B398-A09F6A7715C4}" presName="rootComposite" presStyleCnt="0"/>
      <dgm:spPr/>
    </dgm:pt>
    <dgm:pt modelId="{533FAE7A-99FC-4BD7-B353-F483C36BEBAF}" type="pres">
      <dgm:prSet presAssocID="{81425023-3658-474F-B398-A09F6A7715C4}" presName="rootText" presStyleLbl="node4" presStyleIdx="0" presStyleCnt="3">
        <dgm:presLayoutVars>
          <dgm:chPref val="3"/>
        </dgm:presLayoutVars>
      </dgm:prSet>
      <dgm:spPr/>
    </dgm:pt>
    <dgm:pt modelId="{957ECE23-4CDA-42C8-BE5B-EA2173CFC43C}" type="pres">
      <dgm:prSet presAssocID="{81425023-3658-474F-B398-A09F6A7715C4}" presName="rootConnector" presStyleLbl="node4" presStyleIdx="0" presStyleCnt="3"/>
      <dgm:spPr/>
    </dgm:pt>
    <dgm:pt modelId="{5C060F21-12B8-40F4-88BE-65CB10A232F1}" type="pres">
      <dgm:prSet presAssocID="{81425023-3658-474F-B398-A09F6A7715C4}" presName="hierChild4" presStyleCnt="0"/>
      <dgm:spPr/>
    </dgm:pt>
    <dgm:pt modelId="{F5A1FA3B-8961-407A-8423-F4E5585EEC3A}" type="pres">
      <dgm:prSet presAssocID="{81425023-3658-474F-B398-A09F6A7715C4}" presName="hierChild5" presStyleCnt="0"/>
      <dgm:spPr/>
    </dgm:pt>
    <dgm:pt modelId="{79FB51C1-03D6-437B-84F3-8B5A0D6A487D}" type="pres">
      <dgm:prSet presAssocID="{48DD0E39-F512-4992-838B-71D188118365}" presName="Name64" presStyleLbl="parChTrans1D4" presStyleIdx="1" presStyleCnt="3"/>
      <dgm:spPr/>
    </dgm:pt>
    <dgm:pt modelId="{096F02A1-CF40-4392-9CA7-A0CE61B1BADB}" type="pres">
      <dgm:prSet presAssocID="{66C44EFF-DEB7-4ECA-ABBE-4389F71F4791}" presName="hierRoot2" presStyleCnt="0">
        <dgm:presLayoutVars>
          <dgm:hierBranch val="init"/>
        </dgm:presLayoutVars>
      </dgm:prSet>
      <dgm:spPr/>
    </dgm:pt>
    <dgm:pt modelId="{04CCBAFE-F0EA-48C1-BC43-E26B4EAA697F}" type="pres">
      <dgm:prSet presAssocID="{66C44EFF-DEB7-4ECA-ABBE-4389F71F4791}" presName="rootComposite" presStyleCnt="0"/>
      <dgm:spPr/>
    </dgm:pt>
    <dgm:pt modelId="{540C0FD4-101D-461C-BD03-EC00DAD4042A}" type="pres">
      <dgm:prSet presAssocID="{66C44EFF-DEB7-4ECA-ABBE-4389F71F4791}" presName="rootText" presStyleLbl="node4" presStyleIdx="1" presStyleCnt="3">
        <dgm:presLayoutVars>
          <dgm:chPref val="3"/>
        </dgm:presLayoutVars>
      </dgm:prSet>
      <dgm:spPr/>
    </dgm:pt>
    <dgm:pt modelId="{39CD9C35-2A3A-4F51-A387-2F45C9753F11}" type="pres">
      <dgm:prSet presAssocID="{66C44EFF-DEB7-4ECA-ABBE-4389F71F4791}" presName="rootConnector" presStyleLbl="node4" presStyleIdx="1" presStyleCnt="3"/>
      <dgm:spPr/>
    </dgm:pt>
    <dgm:pt modelId="{7378337F-82F2-4EB3-BCC1-B5C184CBF185}" type="pres">
      <dgm:prSet presAssocID="{66C44EFF-DEB7-4ECA-ABBE-4389F71F4791}" presName="hierChild4" presStyleCnt="0"/>
      <dgm:spPr/>
    </dgm:pt>
    <dgm:pt modelId="{524259D1-F65C-46EF-B653-DCDAC07E01D0}" type="pres">
      <dgm:prSet presAssocID="{66C44EFF-DEB7-4ECA-ABBE-4389F71F4791}" presName="hierChild5" presStyleCnt="0"/>
      <dgm:spPr/>
    </dgm:pt>
    <dgm:pt modelId="{807B98CC-1DEC-4E49-A33B-386381B6C1EB}" type="pres">
      <dgm:prSet presAssocID="{7518AF73-C3E8-4B13-863B-C4E310C686A0}" presName="hierChild5" presStyleCnt="0"/>
      <dgm:spPr/>
    </dgm:pt>
    <dgm:pt modelId="{13699695-6C82-4DD1-9BA8-5A7D0DB66CC1}" type="pres">
      <dgm:prSet presAssocID="{3CEC508D-6423-4788-A06A-BC7655EEA4B7}" presName="Name64" presStyleLbl="parChTrans1D3" presStyleIdx="1" presStyleCnt="6"/>
      <dgm:spPr/>
    </dgm:pt>
    <dgm:pt modelId="{571F9BBF-51D0-49C7-A170-6A12150116D1}" type="pres">
      <dgm:prSet presAssocID="{E0596880-FF67-4DA5-941B-65923DFF419E}" presName="hierRoot2" presStyleCnt="0">
        <dgm:presLayoutVars>
          <dgm:hierBranch val="init"/>
        </dgm:presLayoutVars>
      </dgm:prSet>
      <dgm:spPr/>
    </dgm:pt>
    <dgm:pt modelId="{4BE3EEE0-7D46-474A-9551-4F6F1054ED98}" type="pres">
      <dgm:prSet presAssocID="{E0596880-FF67-4DA5-941B-65923DFF419E}" presName="rootComposite" presStyleCnt="0"/>
      <dgm:spPr/>
    </dgm:pt>
    <dgm:pt modelId="{5732FEF8-F5FD-425D-9045-594279BA2A60}" type="pres">
      <dgm:prSet presAssocID="{E0596880-FF67-4DA5-941B-65923DFF419E}" presName="rootText" presStyleLbl="node3" presStyleIdx="1" presStyleCnt="6">
        <dgm:presLayoutVars>
          <dgm:chPref val="3"/>
        </dgm:presLayoutVars>
      </dgm:prSet>
      <dgm:spPr/>
    </dgm:pt>
    <dgm:pt modelId="{0FD2F127-5F70-4587-A53B-EFE04953685E}" type="pres">
      <dgm:prSet presAssocID="{E0596880-FF67-4DA5-941B-65923DFF419E}" presName="rootConnector" presStyleLbl="node3" presStyleIdx="1" presStyleCnt="6"/>
      <dgm:spPr/>
    </dgm:pt>
    <dgm:pt modelId="{275B1833-BC14-4984-85DB-6AEF61682E4A}" type="pres">
      <dgm:prSet presAssocID="{E0596880-FF67-4DA5-941B-65923DFF419E}" presName="hierChild4" presStyleCnt="0"/>
      <dgm:spPr/>
    </dgm:pt>
    <dgm:pt modelId="{C012C633-BE10-4B58-85DA-406EB7A5FB1C}" type="pres">
      <dgm:prSet presAssocID="{E0596880-FF67-4DA5-941B-65923DFF419E}" presName="hierChild5" presStyleCnt="0"/>
      <dgm:spPr/>
    </dgm:pt>
    <dgm:pt modelId="{AE4BB68B-A5F6-4174-B89B-C6D386E9CB08}" type="pres">
      <dgm:prSet presAssocID="{8E70AA8F-7583-4AFE-9EDE-87363894E1F8}" presName="hierChild5" presStyleCnt="0"/>
      <dgm:spPr/>
    </dgm:pt>
    <dgm:pt modelId="{D2E456C1-0206-455A-856D-3986AECA52E7}" type="pres">
      <dgm:prSet presAssocID="{17815460-B569-463A-BACE-734F709F874A}" presName="Name64" presStyleLbl="parChTrans1D2" presStyleIdx="1" presStyleCnt="3"/>
      <dgm:spPr>
        <a:xfrm>
          <a:off x="2304736" y="2023921"/>
          <a:ext cx="293718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146859" y="45720"/>
              </a:lnTo>
              <a:lnTo>
                <a:pt x="146859" y="97734"/>
              </a:lnTo>
              <a:lnTo>
                <a:pt x="293718" y="97734"/>
              </a:lnTo>
            </a:path>
          </a:pathLst>
        </a:custGeom>
      </dgm:spPr>
    </dgm:pt>
    <dgm:pt modelId="{C84BBF10-D76E-452F-88D3-49E5B8A39916}" type="pres">
      <dgm:prSet presAssocID="{434F1058-EF12-4590-BD43-496B2D33656A}" presName="hierRoot2" presStyleCnt="0">
        <dgm:presLayoutVars>
          <dgm:hierBranch val="init"/>
        </dgm:presLayoutVars>
      </dgm:prSet>
      <dgm:spPr/>
    </dgm:pt>
    <dgm:pt modelId="{3A7E3A6B-DCC1-489D-9992-FC5551FF7F47}" type="pres">
      <dgm:prSet presAssocID="{434F1058-EF12-4590-BD43-496B2D33656A}" presName="rootComposite" presStyleCnt="0"/>
      <dgm:spPr/>
    </dgm:pt>
    <dgm:pt modelId="{ED652421-9518-4860-A958-9A296F3A3A20}" type="pres">
      <dgm:prSet presAssocID="{434F1058-EF12-4590-BD43-496B2D33656A}" presName="rootText" presStyleLbl="node2" presStyleIdx="1" presStyleCnt="3" custScaleY="142863">
        <dgm:presLayoutVars>
          <dgm:chPref val="3"/>
        </dgm:presLayoutVars>
      </dgm:prSet>
      <dgm:spPr/>
    </dgm:pt>
    <dgm:pt modelId="{E79E0873-CED8-4921-BE64-984009BA0A49}" type="pres">
      <dgm:prSet presAssocID="{434F1058-EF12-4590-BD43-496B2D33656A}" presName="rootConnector" presStyleLbl="node2" presStyleIdx="1" presStyleCnt="3"/>
      <dgm:spPr/>
    </dgm:pt>
    <dgm:pt modelId="{BAD43833-97F1-4F40-BC3C-1D72169B0BCE}" type="pres">
      <dgm:prSet presAssocID="{434F1058-EF12-4590-BD43-496B2D33656A}" presName="hierChild4" presStyleCnt="0"/>
      <dgm:spPr/>
    </dgm:pt>
    <dgm:pt modelId="{506CFC8A-BDB8-4110-A73E-B0B9410A45FE}" type="pres">
      <dgm:prSet presAssocID="{DA62F256-25CF-4854-BFCD-F90F70E5F8D4}" presName="Name64" presStyleLbl="parChTrans1D3" presStyleIdx="2" presStyleCnt="6"/>
      <dgm:spPr/>
    </dgm:pt>
    <dgm:pt modelId="{C424D771-35E5-4931-80BE-0F02410290CC}" type="pres">
      <dgm:prSet presAssocID="{4098A15D-6BE4-4258-B7C8-EC2A1354A4D6}" presName="hierRoot2" presStyleCnt="0">
        <dgm:presLayoutVars>
          <dgm:hierBranch val="init"/>
        </dgm:presLayoutVars>
      </dgm:prSet>
      <dgm:spPr/>
    </dgm:pt>
    <dgm:pt modelId="{50153940-9F3C-4EC8-A2F2-1FFECF362B98}" type="pres">
      <dgm:prSet presAssocID="{4098A15D-6BE4-4258-B7C8-EC2A1354A4D6}" presName="rootComposite" presStyleCnt="0"/>
      <dgm:spPr/>
    </dgm:pt>
    <dgm:pt modelId="{E2C67FFA-74CF-40A2-BA9E-C83D2F42549D}" type="pres">
      <dgm:prSet presAssocID="{4098A15D-6BE4-4258-B7C8-EC2A1354A4D6}" presName="rootText" presStyleLbl="node3" presStyleIdx="2" presStyleCnt="6">
        <dgm:presLayoutVars>
          <dgm:chPref val="3"/>
        </dgm:presLayoutVars>
      </dgm:prSet>
      <dgm:spPr/>
    </dgm:pt>
    <dgm:pt modelId="{5A1A1265-C7BC-4398-B803-4290A6E9DA02}" type="pres">
      <dgm:prSet presAssocID="{4098A15D-6BE4-4258-B7C8-EC2A1354A4D6}" presName="rootConnector" presStyleLbl="node3" presStyleIdx="2" presStyleCnt="6"/>
      <dgm:spPr/>
    </dgm:pt>
    <dgm:pt modelId="{23377940-A59E-46CC-BA9C-693EDF5BDCCA}" type="pres">
      <dgm:prSet presAssocID="{4098A15D-6BE4-4258-B7C8-EC2A1354A4D6}" presName="hierChild4" presStyleCnt="0"/>
      <dgm:spPr/>
    </dgm:pt>
    <dgm:pt modelId="{E77B4076-A5BB-4806-81AD-7D1CDFE629BA}" type="pres">
      <dgm:prSet presAssocID="{4098A15D-6BE4-4258-B7C8-EC2A1354A4D6}" presName="hierChild5" presStyleCnt="0"/>
      <dgm:spPr/>
    </dgm:pt>
    <dgm:pt modelId="{55361A42-7D73-4821-907B-199997EDD9B0}" type="pres">
      <dgm:prSet presAssocID="{D937D902-C50B-4BEC-9C1F-D9880BCC701B}" presName="Name64" presStyleLbl="parChTrans1D3" presStyleIdx="3" presStyleCnt="6"/>
      <dgm:spPr/>
    </dgm:pt>
    <dgm:pt modelId="{34C5FF6B-2119-4E0A-89EB-30669B10F663}" type="pres">
      <dgm:prSet presAssocID="{CF5B8EE4-D285-4E9D-BBB6-5F2F77DD4689}" presName="hierRoot2" presStyleCnt="0">
        <dgm:presLayoutVars>
          <dgm:hierBranch val="init"/>
        </dgm:presLayoutVars>
      </dgm:prSet>
      <dgm:spPr/>
    </dgm:pt>
    <dgm:pt modelId="{0B528577-3F1B-42E8-A198-E1FE9F3819B3}" type="pres">
      <dgm:prSet presAssocID="{CF5B8EE4-D285-4E9D-BBB6-5F2F77DD4689}" presName="rootComposite" presStyleCnt="0"/>
      <dgm:spPr/>
    </dgm:pt>
    <dgm:pt modelId="{72900B95-1529-4FEA-877B-F5DBCCBBE9E3}" type="pres">
      <dgm:prSet presAssocID="{CF5B8EE4-D285-4E9D-BBB6-5F2F77DD4689}" presName="rootText" presStyleLbl="node3" presStyleIdx="3" presStyleCnt="6">
        <dgm:presLayoutVars>
          <dgm:chPref val="3"/>
        </dgm:presLayoutVars>
      </dgm:prSet>
      <dgm:spPr/>
    </dgm:pt>
    <dgm:pt modelId="{3B107ABC-4A7B-4681-B396-208DB4B71CAA}" type="pres">
      <dgm:prSet presAssocID="{CF5B8EE4-D285-4E9D-BBB6-5F2F77DD4689}" presName="rootConnector" presStyleLbl="node3" presStyleIdx="3" presStyleCnt="6"/>
      <dgm:spPr/>
    </dgm:pt>
    <dgm:pt modelId="{60A8D3E1-ED4C-4C79-8083-C2C36CB2376D}" type="pres">
      <dgm:prSet presAssocID="{CF5B8EE4-D285-4E9D-BBB6-5F2F77DD4689}" presName="hierChild4" presStyleCnt="0"/>
      <dgm:spPr/>
    </dgm:pt>
    <dgm:pt modelId="{594F147E-3805-43BE-A986-2535DBE32F41}" type="pres">
      <dgm:prSet presAssocID="{CF5B8EE4-D285-4E9D-BBB6-5F2F77DD4689}" presName="hierChild5" presStyleCnt="0"/>
      <dgm:spPr/>
    </dgm:pt>
    <dgm:pt modelId="{C0238408-18E0-4E2B-A53A-0C33638931A0}" type="pres">
      <dgm:prSet presAssocID="{434F1058-EF12-4590-BD43-496B2D33656A}" presName="hierChild5" presStyleCnt="0"/>
      <dgm:spPr/>
    </dgm:pt>
    <dgm:pt modelId="{0B6B24BB-3756-435A-809A-71B8FD40B32A}" type="pres">
      <dgm:prSet presAssocID="{8A26916C-03BF-4B0E-92AF-656A56CF8513}" presName="Name64" presStyleLbl="parChTrans1D2" presStyleIdx="2" presStyleCnt="3"/>
      <dgm:spPr>
        <a:xfrm>
          <a:off x="2304736" y="2069641"/>
          <a:ext cx="293718" cy="131500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46859" y="0"/>
              </a:lnTo>
              <a:lnTo>
                <a:pt x="146859" y="1315003"/>
              </a:lnTo>
              <a:lnTo>
                <a:pt x="293718" y="1315003"/>
              </a:lnTo>
            </a:path>
          </a:pathLst>
        </a:custGeom>
      </dgm:spPr>
    </dgm:pt>
    <dgm:pt modelId="{F30D30B6-0FD8-4B68-B372-3D9EB7AFA2D7}" type="pres">
      <dgm:prSet presAssocID="{C1D130BE-4BC5-481C-BADA-14A869727C0B}" presName="hierRoot2" presStyleCnt="0">
        <dgm:presLayoutVars>
          <dgm:hierBranch val="init"/>
        </dgm:presLayoutVars>
      </dgm:prSet>
      <dgm:spPr/>
    </dgm:pt>
    <dgm:pt modelId="{2539A6E4-DF5E-424F-99C8-6C3249B9A43C}" type="pres">
      <dgm:prSet presAssocID="{C1D130BE-4BC5-481C-BADA-14A869727C0B}" presName="rootComposite" presStyleCnt="0"/>
      <dgm:spPr/>
    </dgm:pt>
    <dgm:pt modelId="{4925577A-3DBC-46CC-A305-52259EC03F45}" type="pres">
      <dgm:prSet presAssocID="{C1D130BE-4BC5-481C-BADA-14A869727C0B}" presName="rootText" presStyleLbl="node2" presStyleIdx="2" presStyleCnt="3" custScaleY="140299">
        <dgm:presLayoutVars>
          <dgm:chPref val="3"/>
        </dgm:presLayoutVars>
      </dgm:prSet>
      <dgm:spPr/>
    </dgm:pt>
    <dgm:pt modelId="{8E814718-61B2-4F78-B1FA-5C17A5F71777}" type="pres">
      <dgm:prSet presAssocID="{C1D130BE-4BC5-481C-BADA-14A869727C0B}" presName="rootConnector" presStyleLbl="node2" presStyleIdx="2" presStyleCnt="3"/>
      <dgm:spPr/>
    </dgm:pt>
    <dgm:pt modelId="{8FC904EF-212B-43D6-B211-4663A3025A70}" type="pres">
      <dgm:prSet presAssocID="{C1D130BE-4BC5-481C-BADA-14A869727C0B}" presName="hierChild4" presStyleCnt="0"/>
      <dgm:spPr/>
    </dgm:pt>
    <dgm:pt modelId="{DD72A47F-E7E7-4E44-AB11-0322D7804B7F}" type="pres">
      <dgm:prSet presAssocID="{503510FB-9E52-432E-98AC-FEF28CA55F0D}" presName="Name64" presStyleLbl="parChTrans1D3" presStyleIdx="4" presStyleCnt="6"/>
      <dgm:spPr/>
    </dgm:pt>
    <dgm:pt modelId="{37953032-5DF7-47A6-AE57-B68CB9E9BD12}" type="pres">
      <dgm:prSet presAssocID="{CD6C8CAB-2DB8-4BEB-8794-D14E24B56239}" presName="hierRoot2" presStyleCnt="0">
        <dgm:presLayoutVars>
          <dgm:hierBranch val="init"/>
        </dgm:presLayoutVars>
      </dgm:prSet>
      <dgm:spPr/>
    </dgm:pt>
    <dgm:pt modelId="{13BB3338-48E0-4101-9A1B-6ADD7EAD3BAA}" type="pres">
      <dgm:prSet presAssocID="{CD6C8CAB-2DB8-4BEB-8794-D14E24B56239}" presName="rootComposite" presStyleCnt="0"/>
      <dgm:spPr/>
    </dgm:pt>
    <dgm:pt modelId="{3B3F8463-D305-4CD2-9914-30577F921FB3}" type="pres">
      <dgm:prSet presAssocID="{CD6C8CAB-2DB8-4BEB-8794-D14E24B56239}" presName="rootText" presStyleLbl="node3" presStyleIdx="4" presStyleCnt="6">
        <dgm:presLayoutVars>
          <dgm:chPref val="3"/>
        </dgm:presLayoutVars>
      </dgm:prSet>
      <dgm:spPr/>
    </dgm:pt>
    <dgm:pt modelId="{956506E4-EF96-467A-B69F-456C81FCEEA7}" type="pres">
      <dgm:prSet presAssocID="{CD6C8CAB-2DB8-4BEB-8794-D14E24B56239}" presName="rootConnector" presStyleLbl="node3" presStyleIdx="4" presStyleCnt="6"/>
      <dgm:spPr/>
    </dgm:pt>
    <dgm:pt modelId="{6A3A5481-54BA-4C4C-8644-C7CA3EBC48EB}" type="pres">
      <dgm:prSet presAssocID="{CD6C8CAB-2DB8-4BEB-8794-D14E24B56239}" presName="hierChild4" presStyleCnt="0"/>
      <dgm:spPr/>
    </dgm:pt>
    <dgm:pt modelId="{7042021E-98F7-46C2-BD9F-8BA57B917C2C}" type="pres">
      <dgm:prSet presAssocID="{CD6C8CAB-2DB8-4BEB-8794-D14E24B56239}" presName="hierChild5" presStyleCnt="0"/>
      <dgm:spPr/>
    </dgm:pt>
    <dgm:pt modelId="{C3AF67E2-C695-44C2-A2AB-39884C62A9B6}" type="pres">
      <dgm:prSet presAssocID="{B3C6A11E-10F5-433C-A0FB-1B185A7D12E0}" presName="Name64" presStyleLbl="parChTrans1D3" presStyleIdx="5" presStyleCnt="6"/>
      <dgm:spPr/>
    </dgm:pt>
    <dgm:pt modelId="{22157CA5-31C1-4EB6-9CAA-5A8960F84EDC}" type="pres">
      <dgm:prSet presAssocID="{16945C89-930D-4764-8730-4F183F8B4C87}" presName="hierRoot2" presStyleCnt="0">
        <dgm:presLayoutVars>
          <dgm:hierBranch val="init"/>
        </dgm:presLayoutVars>
      </dgm:prSet>
      <dgm:spPr/>
    </dgm:pt>
    <dgm:pt modelId="{CADEE40A-1700-4850-AAF1-239F96B420AA}" type="pres">
      <dgm:prSet presAssocID="{16945C89-930D-4764-8730-4F183F8B4C87}" presName="rootComposite" presStyleCnt="0"/>
      <dgm:spPr/>
    </dgm:pt>
    <dgm:pt modelId="{D0C11F2E-B245-4875-BC28-1BAF0ACF29CC}" type="pres">
      <dgm:prSet presAssocID="{16945C89-930D-4764-8730-4F183F8B4C87}" presName="rootText" presStyleLbl="node3" presStyleIdx="5" presStyleCnt="6">
        <dgm:presLayoutVars>
          <dgm:chPref val="3"/>
        </dgm:presLayoutVars>
      </dgm:prSet>
      <dgm:spPr/>
    </dgm:pt>
    <dgm:pt modelId="{47BFE14A-6ED2-4C81-8463-8512C67E3811}" type="pres">
      <dgm:prSet presAssocID="{16945C89-930D-4764-8730-4F183F8B4C87}" presName="rootConnector" presStyleLbl="node3" presStyleIdx="5" presStyleCnt="6"/>
      <dgm:spPr/>
    </dgm:pt>
    <dgm:pt modelId="{862EDE29-8516-47CA-9D77-3EDE69BB3064}" type="pres">
      <dgm:prSet presAssocID="{16945C89-930D-4764-8730-4F183F8B4C87}" presName="hierChild4" presStyleCnt="0"/>
      <dgm:spPr/>
    </dgm:pt>
    <dgm:pt modelId="{3FCA43AF-C9E8-4302-8DEA-1A5E6217A596}" type="pres">
      <dgm:prSet presAssocID="{324BA76D-EC38-4C56-840D-1090A8A73FA9}" presName="Name64" presStyleLbl="parChTrans1D4" presStyleIdx="2" presStyleCnt="3"/>
      <dgm:spPr/>
    </dgm:pt>
    <dgm:pt modelId="{45A614A3-17DA-4A10-ABA0-675ADE8AF97B}" type="pres">
      <dgm:prSet presAssocID="{2FEE2BF4-38E6-46BE-8106-6EC49885456E}" presName="hierRoot2" presStyleCnt="0">
        <dgm:presLayoutVars>
          <dgm:hierBranch val="init"/>
        </dgm:presLayoutVars>
      </dgm:prSet>
      <dgm:spPr/>
    </dgm:pt>
    <dgm:pt modelId="{B325FFBF-4C0E-40E5-BD3F-21154D65094B}" type="pres">
      <dgm:prSet presAssocID="{2FEE2BF4-38E6-46BE-8106-6EC49885456E}" presName="rootComposite" presStyleCnt="0"/>
      <dgm:spPr/>
    </dgm:pt>
    <dgm:pt modelId="{2C995335-FA50-4971-B4A5-A75D1CE9534B}" type="pres">
      <dgm:prSet presAssocID="{2FEE2BF4-38E6-46BE-8106-6EC49885456E}" presName="rootText" presStyleLbl="node4" presStyleIdx="2" presStyleCnt="3">
        <dgm:presLayoutVars>
          <dgm:chPref val="3"/>
        </dgm:presLayoutVars>
      </dgm:prSet>
      <dgm:spPr/>
    </dgm:pt>
    <dgm:pt modelId="{831DD84A-3D91-43B0-BFD6-DD488F1F8CD9}" type="pres">
      <dgm:prSet presAssocID="{2FEE2BF4-38E6-46BE-8106-6EC49885456E}" presName="rootConnector" presStyleLbl="node4" presStyleIdx="2" presStyleCnt="3"/>
      <dgm:spPr/>
    </dgm:pt>
    <dgm:pt modelId="{3837C482-3F4C-4F5F-ADBE-C78EBBB28F36}" type="pres">
      <dgm:prSet presAssocID="{2FEE2BF4-38E6-46BE-8106-6EC49885456E}" presName="hierChild4" presStyleCnt="0"/>
      <dgm:spPr/>
    </dgm:pt>
    <dgm:pt modelId="{09A38CBA-A214-4478-893A-B59F9EA84B8B}" type="pres">
      <dgm:prSet presAssocID="{2FEE2BF4-38E6-46BE-8106-6EC49885456E}" presName="hierChild5" presStyleCnt="0"/>
      <dgm:spPr/>
    </dgm:pt>
    <dgm:pt modelId="{AA79BCA7-862B-4FC0-9C55-4301AA4890DF}" type="pres">
      <dgm:prSet presAssocID="{16945C89-930D-4764-8730-4F183F8B4C87}" presName="hierChild5" presStyleCnt="0"/>
      <dgm:spPr/>
    </dgm:pt>
    <dgm:pt modelId="{75B1D5EB-F135-4103-8135-683F9FEDB1A6}" type="pres">
      <dgm:prSet presAssocID="{C1D130BE-4BC5-481C-BADA-14A869727C0B}" presName="hierChild5" presStyleCnt="0"/>
      <dgm:spPr/>
    </dgm:pt>
    <dgm:pt modelId="{6A0CFB3A-568A-4C3D-8BBD-233ED33CF651}" type="pres">
      <dgm:prSet presAssocID="{D0997319-AE2C-4C46-ADCB-BA43BE3F3F54}" presName="hierChild3" presStyleCnt="0"/>
      <dgm:spPr/>
    </dgm:pt>
  </dgm:ptLst>
  <dgm:cxnLst>
    <dgm:cxn modelId="{A16CA701-8518-4F25-99A3-C7B91832FDF6}" type="presOf" srcId="{81425023-3658-474F-B398-A09F6A7715C4}" destId="{957ECE23-4CDA-42C8-BE5B-EA2173CFC43C}" srcOrd="1" destOrd="0" presId="urn:microsoft.com/office/officeart/2009/3/layout/HorizontalOrganizationChart"/>
    <dgm:cxn modelId="{2ED6F702-CE72-434F-A1BB-6BCE9E2DA2BA}" srcId="{434F1058-EF12-4590-BD43-496B2D33656A}" destId="{CF5B8EE4-D285-4E9D-BBB6-5F2F77DD4689}" srcOrd="1" destOrd="0" parTransId="{D937D902-C50B-4BEC-9C1F-D9880BCC701B}" sibTransId="{CADCD7D6-E889-4A66-B79B-3ACEEF43F075}"/>
    <dgm:cxn modelId="{F3EB8E07-3BFC-4D3A-9485-BFC7C0F88201}" type="presOf" srcId="{16945C89-930D-4764-8730-4F183F8B4C87}" destId="{D0C11F2E-B245-4875-BC28-1BAF0ACF29CC}" srcOrd="0" destOrd="0" presId="urn:microsoft.com/office/officeart/2009/3/layout/HorizontalOrganizationChart"/>
    <dgm:cxn modelId="{D44F0C29-F2C0-4041-9F2B-C09351A2596B}" type="presOf" srcId="{3CEC508D-6423-4788-A06A-BC7655EEA4B7}" destId="{13699695-6C82-4DD1-9BA8-5A7D0DB66CC1}" srcOrd="0" destOrd="0" presId="urn:microsoft.com/office/officeart/2009/3/layout/HorizontalOrganizationChart"/>
    <dgm:cxn modelId="{BC8EAF29-C775-4188-9F7C-26BD9CFB5F67}" type="presOf" srcId="{E0596880-FF67-4DA5-941B-65923DFF419E}" destId="{5732FEF8-F5FD-425D-9045-594279BA2A60}" srcOrd="0" destOrd="0" presId="urn:microsoft.com/office/officeart/2009/3/layout/HorizontalOrganizationChart"/>
    <dgm:cxn modelId="{F6249E2A-8722-4800-BFCF-F173E5D8965A}" type="presOf" srcId="{16945C89-930D-4764-8730-4F183F8B4C87}" destId="{47BFE14A-6ED2-4C81-8463-8512C67E3811}" srcOrd="1" destOrd="0" presId="urn:microsoft.com/office/officeart/2009/3/layout/HorizontalOrganizationChart"/>
    <dgm:cxn modelId="{D4DEC52C-AF93-4D48-A31F-E9FA4D3ABD0F}" type="presOf" srcId="{B3C6A11E-10F5-433C-A0FB-1B185A7D12E0}" destId="{C3AF67E2-C695-44C2-A2AB-39884C62A9B6}" srcOrd="0" destOrd="0" presId="urn:microsoft.com/office/officeart/2009/3/layout/HorizontalOrganizationChart"/>
    <dgm:cxn modelId="{9486E231-E761-415A-A46A-B222DD3C9A89}" srcId="{96C9D5F4-FF4F-420D-8420-A926E166D7A2}" destId="{D0997319-AE2C-4C46-ADCB-BA43BE3F3F54}" srcOrd="0" destOrd="0" parTransId="{EDD69CBB-FC0D-413C-A203-D32C53DEA1CA}" sibTransId="{E975384C-827E-414A-AEB5-7C3391463B49}"/>
    <dgm:cxn modelId="{A259775D-9C36-4ACD-8965-090CEA188B42}" srcId="{7518AF73-C3E8-4B13-863B-C4E310C686A0}" destId="{66C44EFF-DEB7-4ECA-ABBE-4389F71F4791}" srcOrd="1" destOrd="0" parTransId="{48DD0E39-F512-4992-838B-71D188118365}" sibTransId="{7E567B3E-F5E2-4DF6-8E1C-29A3F58A5F52}"/>
    <dgm:cxn modelId="{D9A73F5F-1C05-4AEA-8628-EE4A07987555}" type="presOf" srcId="{7518AF73-C3E8-4B13-863B-C4E310C686A0}" destId="{804BC146-4867-40F8-B529-584822B70E8B}" srcOrd="0" destOrd="0" presId="urn:microsoft.com/office/officeart/2009/3/layout/HorizontalOrganizationChart"/>
    <dgm:cxn modelId="{1F492760-3E6D-4BFF-A799-BC64C765B670}" type="presOf" srcId="{66C44EFF-DEB7-4ECA-ABBE-4389F71F4791}" destId="{540C0FD4-101D-461C-BD03-EC00DAD4042A}" srcOrd="0" destOrd="0" presId="urn:microsoft.com/office/officeart/2009/3/layout/HorizontalOrganizationChart"/>
    <dgm:cxn modelId="{6A36B762-92B7-4D6D-A753-DF4D394ECE21}" type="presOf" srcId="{2FEE2BF4-38E6-46BE-8106-6EC49885456E}" destId="{831DD84A-3D91-43B0-BFD6-DD488F1F8CD9}" srcOrd="1" destOrd="0" presId="urn:microsoft.com/office/officeart/2009/3/layout/HorizontalOrganizationChart"/>
    <dgm:cxn modelId="{516E8446-2046-4A9A-BAD3-D3DAA413C8F2}" type="presOf" srcId="{CD6C8CAB-2DB8-4BEB-8794-D14E24B56239}" destId="{3B3F8463-D305-4CD2-9914-30577F921FB3}" srcOrd="0" destOrd="0" presId="urn:microsoft.com/office/officeart/2009/3/layout/HorizontalOrganizationChart"/>
    <dgm:cxn modelId="{08C6FF6E-ED40-443D-B75C-6827A78AAE2F}" srcId="{C1D130BE-4BC5-481C-BADA-14A869727C0B}" destId="{CD6C8CAB-2DB8-4BEB-8794-D14E24B56239}" srcOrd="0" destOrd="0" parTransId="{503510FB-9E52-432E-98AC-FEF28CA55F0D}" sibTransId="{F6688289-1E3B-4C81-B097-4BC4F02DEEB1}"/>
    <dgm:cxn modelId="{6C421052-F6FC-4618-BE70-8D572D3A6179}" type="presOf" srcId="{CF5B8EE4-D285-4E9D-BBB6-5F2F77DD4689}" destId="{72900B95-1529-4FEA-877B-F5DBCCBBE9E3}" srcOrd="0" destOrd="0" presId="urn:microsoft.com/office/officeart/2009/3/layout/HorizontalOrganizationChart"/>
    <dgm:cxn modelId="{DC542C52-1F9A-4263-9572-C06E779B651B}" type="presOf" srcId="{D0997319-AE2C-4C46-ADCB-BA43BE3F3F54}" destId="{5D3C668E-4027-4EEC-9C2A-D5E4EDE8366F}" srcOrd="1" destOrd="0" presId="urn:microsoft.com/office/officeart/2009/3/layout/HorizontalOrganizationChart"/>
    <dgm:cxn modelId="{4FC44772-914D-421D-93F7-F9A7692FC6AF}" type="presOf" srcId="{8A26916C-03BF-4B0E-92AF-656A56CF8513}" destId="{0B6B24BB-3756-435A-809A-71B8FD40B32A}" srcOrd="0" destOrd="0" presId="urn:microsoft.com/office/officeart/2009/3/layout/HorizontalOrganizationChart"/>
    <dgm:cxn modelId="{D1024374-F49B-4194-AF18-D3B7AEB845DB}" type="presOf" srcId="{D937D902-C50B-4BEC-9C1F-D9880BCC701B}" destId="{55361A42-7D73-4821-907B-199997EDD9B0}" srcOrd="0" destOrd="0" presId="urn:microsoft.com/office/officeart/2009/3/layout/HorizontalOrganizationChart"/>
    <dgm:cxn modelId="{E8DAA975-3C2F-4B72-868B-B5605D5DD4E5}" type="presOf" srcId="{96C9D5F4-FF4F-420D-8420-A926E166D7A2}" destId="{5CE6335D-6FEA-4878-B111-4B98BAE7640E}" srcOrd="0" destOrd="0" presId="urn:microsoft.com/office/officeart/2009/3/layout/HorizontalOrganizationChart"/>
    <dgm:cxn modelId="{707B8E58-ABA5-4C9A-AFCF-298CB05D08DA}" srcId="{D0997319-AE2C-4C46-ADCB-BA43BE3F3F54}" destId="{8E70AA8F-7583-4AFE-9EDE-87363894E1F8}" srcOrd="0" destOrd="0" parTransId="{B164CB56-71EE-412E-A3A2-1509A3B08E05}" sibTransId="{50009256-33DA-4FAC-A050-2DE70DDCC26C}"/>
    <dgm:cxn modelId="{764DF658-BF69-46C3-A4C8-E04967864832}" type="presOf" srcId="{E0596880-FF67-4DA5-941B-65923DFF419E}" destId="{0FD2F127-5F70-4587-A53B-EFE04953685E}" srcOrd="1" destOrd="0" presId="urn:microsoft.com/office/officeart/2009/3/layout/HorizontalOrganizationChart"/>
    <dgm:cxn modelId="{24305A7E-6A08-4DBD-88A2-C6ED3BD8132E}" type="presOf" srcId="{ABBFDE01-1481-464C-8AC1-99EC0D941066}" destId="{03597080-A7BE-417D-960C-3E85F84BB14F}" srcOrd="0" destOrd="0" presId="urn:microsoft.com/office/officeart/2009/3/layout/HorizontalOrganizationChart"/>
    <dgm:cxn modelId="{21D8E081-3F51-4864-8D5D-F1BA8CEC852F}" srcId="{434F1058-EF12-4590-BD43-496B2D33656A}" destId="{4098A15D-6BE4-4258-B7C8-EC2A1354A4D6}" srcOrd="0" destOrd="0" parTransId="{DA62F256-25CF-4854-BFCD-F90F70E5F8D4}" sibTransId="{E1090322-3287-4D3C-A158-E43939F1FA7E}"/>
    <dgm:cxn modelId="{71F54C86-6585-47DC-87F1-4B0EDBC9FE83}" type="presOf" srcId="{345CD3D7-27E7-4989-AC59-685A5F66867B}" destId="{48C92320-1FEA-4785-B85C-9DEBC6B4E0BD}" srcOrd="0" destOrd="0" presId="urn:microsoft.com/office/officeart/2009/3/layout/HorizontalOrganizationChart"/>
    <dgm:cxn modelId="{44F71E8B-7E6F-4C7A-A7AE-B23C484102EC}" type="presOf" srcId="{17815460-B569-463A-BACE-734F709F874A}" destId="{D2E456C1-0206-455A-856D-3986AECA52E7}" srcOrd="0" destOrd="0" presId="urn:microsoft.com/office/officeart/2009/3/layout/HorizontalOrganizationChart"/>
    <dgm:cxn modelId="{F2A19B94-C070-417C-BCD5-3D6F78585C39}" type="presOf" srcId="{2FEE2BF4-38E6-46BE-8106-6EC49885456E}" destId="{2C995335-FA50-4971-B4A5-A75D1CE9534B}" srcOrd="0" destOrd="0" presId="urn:microsoft.com/office/officeart/2009/3/layout/HorizontalOrganizationChart"/>
    <dgm:cxn modelId="{2DD5E59E-74FB-43E5-90B6-02239554CB7B}" type="presOf" srcId="{503510FB-9E52-432E-98AC-FEF28CA55F0D}" destId="{DD72A47F-E7E7-4E44-AB11-0322D7804B7F}" srcOrd="0" destOrd="0" presId="urn:microsoft.com/office/officeart/2009/3/layout/HorizontalOrganizationChart"/>
    <dgm:cxn modelId="{125A26A0-80B3-46CE-B5BC-3011B27C08B2}" type="presOf" srcId="{C1D130BE-4BC5-481C-BADA-14A869727C0B}" destId="{4925577A-3DBC-46CC-A305-52259EC03F45}" srcOrd="0" destOrd="0" presId="urn:microsoft.com/office/officeart/2009/3/layout/HorizontalOrganizationChart"/>
    <dgm:cxn modelId="{9E137BA1-2E21-43A2-A338-650B162A3662}" srcId="{D0997319-AE2C-4C46-ADCB-BA43BE3F3F54}" destId="{434F1058-EF12-4590-BD43-496B2D33656A}" srcOrd="1" destOrd="0" parTransId="{17815460-B569-463A-BACE-734F709F874A}" sibTransId="{BC8F1DC2-66B6-4B6F-BD02-84C41DB8AF5C}"/>
    <dgm:cxn modelId="{B57FC3A1-2579-489D-B729-E82B9FE53A02}" srcId="{8E70AA8F-7583-4AFE-9EDE-87363894E1F8}" destId="{E0596880-FF67-4DA5-941B-65923DFF419E}" srcOrd="1" destOrd="0" parTransId="{3CEC508D-6423-4788-A06A-BC7655EEA4B7}" sibTransId="{B7C6A75D-1EE1-4839-9058-D7BECB5C6118}"/>
    <dgm:cxn modelId="{EAC836A2-1EB4-4DE3-BDB2-69B85E8A2954}" type="presOf" srcId="{81425023-3658-474F-B398-A09F6A7715C4}" destId="{533FAE7A-99FC-4BD7-B353-F483C36BEBAF}" srcOrd="0" destOrd="0" presId="urn:microsoft.com/office/officeart/2009/3/layout/HorizontalOrganizationChart"/>
    <dgm:cxn modelId="{91CC3FA9-EF9F-4ACE-9B71-A69D4860D300}" type="presOf" srcId="{CD6C8CAB-2DB8-4BEB-8794-D14E24B56239}" destId="{956506E4-EF96-467A-B69F-456C81FCEEA7}" srcOrd="1" destOrd="0" presId="urn:microsoft.com/office/officeart/2009/3/layout/HorizontalOrganizationChart"/>
    <dgm:cxn modelId="{4EA130B1-BC2A-47F9-B7CD-5D4AFE1EEC7F}" type="presOf" srcId="{B164CB56-71EE-412E-A3A2-1509A3B08E05}" destId="{F8C3FE30-A7A8-477D-80E9-BEC0650BBCDC}" srcOrd="0" destOrd="0" presId="urn:microsoft.com/office/officeart/2009/3/layout/HorizontalOrganizationChart"/>
    <dgm:cxn modelId="{C08D57B3-09E7-46C3-A6ED-0906B8156A90}" type="presOf" srcId="{434F1058-EF12-4590-BD43-496B2D33656A}" destId="{ED652421-9518-4860-A958-9A296F3A3A20}" srcOrd="0" destOrd="0" presId="urn:microsoft.com/office/officeart/2009/3/layout/HorizontalOrganizationChart"/>
    <dgm:cxn modelId="{56F5ECBA-335D-463B-B7F4-EF6AD64979E9}" type="presOf" srcId="{CF5B8EE4-D285-4E9D-BBB6-5F2F77DD4689}" destId="{3B107ABC-4A7B-4681-B396-208DB4B71CAA}" srcOrd="1" destOrd="0" presId="urn:microsoft.com/office/officeart/2009/3/layout/HorizontalOrganizationChart"/>
    <dgm:cxn modelId="{221AD8BF-6539-43E4-9EB1-23AF138D0EE2}" srcId="{D0997319-AE2C-4C46-ADCB-BA43BE3F3F54}" destId="{C1D130BE-4BC5-481C-BADA-14A869727C0B}" srcOrd="2" destOrd="0" parTransId="{8A26916C-03BF-4B0E-92AF-656A56CF8513}" sibTransId="{4F4BE6FE-AE34-4934-8B0D-8FDF04C5765F}"/>
    <dgm:cxn modelId="{4AF459DF-7348-464B-A70E-E66973FE3829}" type="presOf" srcId="{8E70AA8F-7583-4AFE-9EDE-87363894E1F8}" destId="{DC226BAD-3800-4DE9-8A0E-197C10F59DE3}" srcOrd="1" destOrd="0" presId="urn:microsoft.com/office/officeart/2009/3/layout/HorizontalOrganizationChart"/>
    <dgm:cxn modelId="{CC0B00C0-D406-499F-9BA3-55EE74848F55}" type="presOf" srcId="{8E70AA8F-7583-4AFE-9EDE-87363894E1F8}" destId="{FD9C3F94-D84E-4E02-AEAC-45A19EEA5888}" srcOrd="0" destOrd="0" presId="urn:microsoft.com/office/officeart/2009/3/layout/HorizontalOrganizationChart"/>
    <dgm:cxn modelId="{CB5F3CC1-5D6B-46E9-9355-766C5B1E6AFB}" type="presOf" srcId="{DA62F256-25CF-4854-BFCD-F90F70E5F8D4}" destId="{506CFC8A-BDB8-4110-A73E-B0B9410A45FE}" srcOrd="0" destOrd="0" presId="urn:microsoft.com/office/officeart/2009/3/layout/HorizontalOrganizationChart"/>
    <dgm:cxn modelId="{587DEAC9-60C3-45DB-9C9F-C26256D35C0F}" srcId="{C1D130BE-4BC5-481C-BADA-14A869727C0B}" destId="{16945C89-930D-4764-8730-4F183F8B4C87}" srcOrd="1" destOrd="0" parTransId="{B3C6A11E-10F5-433C-A0FB-1B185A7D12E0}" sibTransId="{5C8BCF49-4277-47C2-9543-A10467E88E20}"/>
    <dgm:cxn modelId="{852A9DEA-66FA-444D-AFE4-4FEDCA250145}" type="presOf" srcId="{48DD0E39-F512-4992-838B-71D188118365}" destId="{79FB51C1-03D6-437B-84F3-8B5A0D6A487D}" srcOrd="0" destOrd="0" presId="urn:microsoft.com/office/officeart/2009/3/layout/HorizontalOrganizationChart"/>
    <dgm:cxn modelId="{6DEAE5CB-1AB7-403A-A4C5-1C88C8244AB6}" type="presOf" srcId="{4098A15D-6BE4-4258-B7C8-EC2A1354A4D6}" destId="{E2C67FFA-74CF-40A2-BA9E-C83D2F42549D}" srcOrd="0" destOrd="0" presId="urn:microsoft.com/office/officeart/2009/3/layout/HorizontalOrganizationChart"/>
    <dgm:cxn modelId="{85D8B9EE-1338-4012-A94C-99EE7A1B40F0}" type="presOf" srcId="{7518AF73-C3E8-4B13-863B-C4E310C686A0}" destId="{4A971127-885C-4EFB-9B37-2EA8B075E54B}" srcOrd="1" destOrd="0" presId="urn:microsoft.com/office/officeart/2009/3/layout/HorizontalOrganizationChart"/>
    <dgm:cxn modelId="{44341EF0-10C6-4D82-8DA6-2C6C50CE800E}" srcId="{7518AF73-C3E8-4B13-863B-C4E310C686A0}" destId="{81425023-3658-474F-B398-A09F6A7715C4}" srcOrd="0" destOrd="0" parTransId="{345CD3D7-27E7-4989-AC59-685A5F66867B}" sibTransId="{CBF02706-A628-4026-928F-AF87A6453A9D}"/>
    <dgm:cxn modelId="{14CEE2D0-EA39-46D1-A508-5B3D0B3D10E8}" type="presOf" srcId="{D0997319-AE2C-4C46-ADCB-BA43BE3F3F54}" destId="{8E6BAC62-88FB-4D7A-9AC4-44D4711F9415}" srcOrd="0" destOrd="0" presId="urn:microsoft.com/office/officeart/2009/3/layout/HorizontalOrganizationChart"/>
    <dgm:cxn modelId="{85F49FD3-9D2A-4AE3-A2E8-7A06FF1F1EE3}" type="presOf" srcId="{434F1058-EF12-4590-BD43-496B2D33656A}" destId="{E79E0873-CED8-4921-BE64-984009BA0A49}" srcOrd="1" destOrd="0" presId="urn:microsoft.com/office/officeart/2009/3/layout/HorizontalOrganizationChart"/>
    <dgm:cxn modelId="{651945F6-16D0-44D5-A5D4-446989B1E0E3}" type="presOf" srcId="{C1D130BE-4BC5-481C-BADA-14A869727C0B}" destId="{8E814718-61B2-4F78-B1FA-5C17A5F71777}" srcOrd="1" destOrd="0" presId="urn:microsoft.com/office/officeart/2009/3/layout/HorizontalOrganizationChart"/>
    <dgm:cxn modelId="{BD1D9FF7-42B5-4F9C-A390-156FE5D7BE1F}" srcId="{8E70AA8F-7583-4AFE-9EDE-87363894E1F8}" destId="{7518AF73-C3E8-4B13-863B-C4E310C686A0}" srcOrd="0" destOrd="0" parTransId="{ABBFDE01-1481-464C-8AC1-99EC0D941066}" sibTransId="{690A0E8A-BAD8-4EE1-AD75-5AF1C8BEC1E5}"/>
    <dgm:cxn modelId="{2A370BFA-7E7D-42A9-969C-8D26D67E1AA8}" type="presOf" srcId="{66C44EFF-DEB7-4ECA-ABBE-4389F71F4791}" destId="{39CD9C35-2A3A-4F51-A387-2F45C9753F11}" srcOrd="1" destOrd="0" presId="urn:microsoft.com/office/officeart/2009/3/layout/HorizontalOrganizationChart"/>
    <dgm:cxn modelId="{FAF6EFDA-6404-4D5F-98FF-EDDE6633AA5B}" type="presOf" srcId="{4098A15D-6BE4-4258-B7C8-EC2A1354A4D6}" destId="{5A1A1265-C7BC-4398-B803-4290A6E9DA02}" srcOrd="1" destOrd="0" presId="urn:microsoft.com/office/officeart/2009/3/layout/HorizontalOrganizationChart"/>
    <dgm:cxn modelId="{8B1B3D9F-6DDB-40F6-B032-5C6E3D321F7C}" srcId="{16945C89-930D-4764-8730-4F183F8B4C87}" destId="{2FEE2BF4-38E6-46BE-8106-6EC49885456E}" srcOrd="0" destOrd="0" parTransId="{324BA76D-EC38-4C56-840D-1090A8A73FA9}" sibTransId="{DC438ACA-527B-4585-8C32-A061704772AA}"/>
    <dgm:cxn modelId="{A035FBFF-173F-410E-BFB9-BDB359616D32}" type="presOf" srcId="{324BA76D-EC38-4C56-840D-1090A8A73FA9}" destId="{3FCA43AF-C9E8-4302-8DEA-1A5E6217A596}" srcOrd="0" destOrd="0" presId="urn:microsoft.com/office/officeart/2009/3/layout/HorizontalOrganizationChart"/>
    <dgm:cxn modelId="{C91D9C51-106F-43CB-8C6E-DD4648CA0607}" type="presParOf" srcId="{5CE6335D-6FEA-4878-B111-4B98BAE7640E}" destId="{7488B669-4E57-40E4-B98D-3459DAAB515E}" srcOrd="0" destOrd="0" presId="urn:microsoft.com/office/officeart/2009/3/layout/HorizontalOrganizationChart"/>
    <dgm:cxn modelId="{4B421EF1-F30A-4B9F-90E2-22A6265C1AAF}" type="presParOf" srcId="{7488B669-4E57-40E4-B98D-3459DAAB515E}" destId="{734E09B6-55FF-4827-9D9B-2642C3C3C348}" srcOrd="0" destOrd="0" presId="urn:microsoft.com/office/officeart/2009/3/layout/HorizontalOrganizationChart"/>
    <dgm:cxn modelId="{FBAFAA8C-37D4-48DB-8B90-273019AB4AEE}" type="presParOf" srcId="{734E09B6-55FF-4827-9D9B-2642C3C3C348}" destId="{8E6BAC62-88FB-4D7A-9AC4-44D4711F9415}" srcOrd="0" destOrd="0" presId="urn:microsoft.com/office/officeart/2009/3/layout/HorizontalOrganizationChart"/>
    <dgm:cxn modelId="{9BDF4E20-948F-4AC3-B747-4A15E028DE26}" type="presParOf" srcId="{734E09B6-55FF-4827-9D9B-2642C3C3C348}" destId="{5D3C668E-4027-4EEC-9C2A-D5E4EDE8366F}" srcOrd="1" destOrd="0" presId="urn:microsoft.com/office/officeart/2009/3/layout/HorizontalOrganizationChart"/>
    <dgm:cxn modelId="{78083870-D704-4D1A-AF47-087D91DDB8C3}" type="presParOf" srcId="{7488B669-4E57-40E4-B98D-3459DAAB515E}" destId="{22D16F18-2CE1-4A7E-A7DF-A275CF0371AD}" srcOrd="1" destOrd="0" presId="urn:microsoft.com/office/officeart/2009/3/layout/HorizontalOrganizationChart"/>
    <dgm:cxn modelId="{C07FBA0C-52B8-4B24-A7F8-AD907EAFF6EA}" type="presParOf" srcId="{22D16F18-2CE1-4A7E-A7DF-A275CF0371AD}" destId="{F8C3FE30-A7A8-477D-80E9-BEC0650BBCDC}" srcOrd="0" destOrd="0" presId="urn:microsoft.com/office/officeart/2009/3/layout/HorizontalOrganizationChart"/>
    <dgm:cxn modelId="{1A269D29-ABC8-4470-8A81-835E577728B3}" type="presParOf" srcId="{22D16F18-2CE1-4A7E-A7DF-A275CF0371AD}" destId="{77CFCB2C-59B0-405A-A904-C193E11BE101}" srcOrd="1" destOrd="0" presId="urn:microsoft.com/office/officeart/2009/3/layout/HorizontalOrganizationChart"/>
    <dgm:cxn modelId="{1F8F9E41-6236-49AF-BE78-E7C364B879F5}" type="presParOf" srcId="{77CFCB2C-59B0-405A-A904-C193E11BE101}" destId="{11733223-0AA4-4FB2-9FC3-C7B3AA1C649F}" srcOrd="0" destOrd="0" presId="urn:microsoft.com/office/officeart/2009/3/layout/HorizontalOrganizationChart"/>
    <dgm:cxn modelId="{D62C3747-5704-4F20-9DBA-D3991B6924DF}" type="presParOf" srcId="{11733223-0AA4-4FB2-9FC3-C7B3AA1C649F}" destId="{FD9C3F94-D84E-4E02-AEAC-45A19EEA5888}" srcOrd="0" destOrd="0" presId="urn:microsoft.com/office/officeart/2009/3/layout/HorizontalOrganizationChart"/>
    <dgm:cxn modelId="{4A59381F-DDA1-4BB1-8068-43BB66738DB6}" type="presParOf" srcId="{11733223-0AA4-4FB2-9FC3-C7B3AA1C649F}" destId="{DC226BAD-3800-4DE9-8A0E-197C10F59DE3}" srcOrd="1" destOrd="0" presId="urn:microsoft.com/office/officeart/2009/3/layout/HorizontalOrganizationChart"/>
    <dgm:cxn modelId="{A72EDF68-2720-4428-9966-07CFA2304245}" type="presParOf" srcId="{77CFCB2C-59B0-405A-A904-C193E11BE101}" destId="{494E70B2-D16B-4CD0-B633-A95E632622D3}" srcOrd="1" destOrd="0" presId="urn:microsoft.com/office/officeart/2009/3/layout/HorizontalOrganizationChart"/>
    <dgm:cxn modelId="{64809ABC-BE68-4592-9CA3-DF2E5DC4D286}" type="presParOf" srcId="{494E70B2-D16B-4CD0-B633-A95E632622D3}" destId="{03597080-A7BE-417D-960C-3E85F84BB14F}" srcOrd="0" destOrd="0" presId="urn:microsoft.com/office/officeart/2009/3/layout/HorizontalOrganizationChart"/>
    <dgm:cxn modelId="{479B59A8-037D-4EAE-9886-864D85684907}" type="presParOf" srcId="{494E70B2-D16B-4CD0-B633-A95E632622D3}" destId="{84CC9214-34E7-47AE-A13F-7513EA3F042A}" srcOrd="1" destOrd="0" presId="urn:microsoft.com/office/officeart/2009/3/layout/HorizontalOrganizationChart"/>
    <dgm:cxn modelId="{0C88E7C7-17A3-40BB-B4CA-66EAA3880C7D}" type="presParOf" srcId="{84CC9214-34E7-47AE-A13F-7513EA3F042A}" destId="{71950C8C-78EC-43EE-BDFC-8CD6869C758E}" srcOrd="0" destOrd="0" presId="urn:microsoft.com/office/officeart/2009/3/layout/HorizontalOrganizationChart"/>
    <dgm:cxn modelId="{EADACF1B-CD96-4AC1-807B-211C44C5D292}" type="presParOf" srcId="{71950C8C-78EC-43EE-BDFC-8CD6869C758E}" destId="{804BC146-4867-40F8-B529-584822B70E8B}" srcOrd="0" destOrd="0" presId="urn:microsoft.com/office/officeart/2009/3/layout/HorizontalOrganizationChart"/>
    <dgm:cxn modelId="{55F2C92C-57B6-4F66-9ECB-F919642BB097}" type="presParOf" srcId="{71950C8C-78EC-43EE-BDFC-8CD6869C758E}" destId="{4A971127-885C-4EFB-9B37-2EA8B075E54B}" srcOrd="1" destOrd="0" presId="urn:microsoft.com/office/officeart/2009/3/layout/HorizontalOrganizationChart"/>
    <dgm:cxn modelId="{25B84964-E10F-4802-93CF-D47D34FD1DC4}" type="presParOf" srcId="{84CC9214-34E7-47AE-A13F-7513EA3F042A}" destId="{5D05719B-3ACA-4CE3-8DAF-C99C3028A130}" srcOrd="1" destOrd="0" presId="urn:microsoft.com/office/officeart/2009/3/layout/HorizontalOrganizationChart"/>
    <dgm:cxn modelId="{71BF96F5-D725-4297-8426-B9A18F56080A}" type="presParOf" srcId="{5D05719B-3ACA-4CE3-8DAF-C99C3028A130}" destId="{48C92320-1FEA-4785-B85C-9DEBC6B4E0BD}" srcOrd="0" destOrd="0" presId="urn:microsoft.com/office/officeart/2009/3/layout/HorizontalOrganizationChart"/>
    <dgm:cxn modelId="{E6EE714A-3CE4-4CE9-BEE0-245601C18E1E}" type="presParOf" srcId="{5D05719B-3ACA-4CE3-8DAF-C99C3028A130}" destId="{27A3018F-1FBB-4733-8472-B4B7055B02FE}" srcOrd="1" destOrd="0" presId="urn:microsoft.com/office/officeart/2009/3/layout/HorizontalOrganizationChart"/>
    <dgm:cxn modelId="{477A5395-821C-4BCF-94EA-49218FD2C6E4}" type="presParOf" srcId="{27A3018F-1FBB-4733-8472-B4B7055B02FE}" destId="{E3C00E1D-D34D-4ED5-9921-519FACE5F220}" srcOrd="0" destOrd="0" presId="urn:microsoft.com/office/officeart/2009/3/layout/HorizontalOrganizationChart"/>
    <dgm:cxn modelId="{2F0F2A75-7FEA-48FD-91E1-BCBCCA88025A}" type="presParOf" srcId="{E3C00E1D-D34D-4ED5-9921-519FACE5F220}" destId="{533FAE7A-99FC-4BD7-B353-F483C36BEBAF}" srcOrd="0" destOrd="0" presId="urn:microsoft.com/office/officeart/2009/3/layout/HorizontalOrganizationChart"/>
    <dgm:cxn modelId="{CEFDDE05-C8ED-4A07-800F-B1F4C864DD44}" type="presParOf" srcId="{E3C00E1D-D34D-4ED5-9921-519FACE5F220}" destId="{957ECE23-4CDA-42C8-BE5B-EA2173CFC43C}" srcOrd="1" destOrd="0" presId="urn:microsoft.com/office/officeart/2009/3/layout/HorizontalOrganizationChart"/>
    <dgm:cxn modelId="{537D009E-A093-449B-9397-1E86B9E98362}" type="presParOf" srcId="{27A3018F-1FBB-4733-8472-B4B7055B02FE}" destId="{5C060F21-12B8-40F4-88BE-65CB10A232F1}" srcOrd="1" destOrd="0" presId="urn:microsoft.com/office/officeart/2009/3/layout/HorizontalOrganizationChart"/>
    <dgm:cxn modelId="{E68F7FDE-A625-44F8-9316-495ED28EB0EC}" type="presParOf" srcId="{27A3018F-1FBB-4733-8472-B4B7055B02FE}" destId="{F5A1FA3B-8961-407A-8423-F4E5585EEC3A}" srcOrd="2" destOrd="0" presId="urn:microsoft.com/office/officeart/2009/3/layout/HorizontalOrganizationChart"/>
    <dgm:cxn modelId="{7413C838-C9B5-43BB-8A37-CBB56418E7EE}" type="presParOf" srcId="{5D05719B-3ACA-4CE3-8DAF-C99C3028A130}" destId="{79FB51C1-03D6-437B-84F3-8B5A0D6A487D}" srcOrd="2" destOrd="0" presId="urn:microsoft.com/office/officeart/2009/3/layout/HorizontalOrganizationChart"/>
    <dgm:cxn modelId="{931EEEB0-C882-4E21-949C-E5C6C31D5FF3}" type="presParOf" srcId="{5D05719B-3ACA-4CE3-8DAF-C99C3028A130}" destId="{096F02A1-CF40-4392-9CA7-A0CE61B1BADB}" srcOrd="3" destOrd="0" presId="urn:microsoft.com/office/officeart/2009/3/layout/HorizontalOrganizationChart"/>
    <dgm:cxn modelId="{780B17FC-0B23-4BD4-B694-F292B53502C6}" type="presParOf" srcId="{096F02A1-CF40-4392-9CA7-A0CE61B1BADB}" destId="{04CCBAFE-F0EA-48C1-BC43-E26B4EAA697F}" srcOrd="0" destOrd="0" presId="urn:microsoft.com/office/officeart/2009/3/layout/HorizontalOrganizationChart"/>
    <dgm:cxn modelId="{406377E4-984A-44D2-8806-2755D2568AB5}" type="presParOf" srcId="{04CCBAFE-F0EA-48C1-BC43-E26B4EAA697F}" destId="{540C0FD4-101D-461C-BD03-EC00DAD4042A}" srcOrd="0" destOrd="0" presId="urn:microsoft.com/office/officeart/2009/3/layout/HorizontalOrganizationChart"/>
    <dgm:cxn modelId="{D98F0DE3-B097-4799-AEC7-546655818A69}" type="presParOf" srcId="{04CCBAFE-F0EA-48C1-BC43-E26B4EAA697F}" destId="{39CD9C35-2A3A-4F51-A387-2F45C9753F11}" srcOrd="1" destOrd="0" presId="urn:microsoft.com/office/officeart/2009/3/layout/HorizontalOrganizationChart"/>
    <dgm:cxn modelId="{BBA2D7F1-A491-4ACE-B828-BFF8B11039B2}" type="presParOf" srcId="{096F02A1-CF40-4392-9CA7-A0CE61B1BADB}" destId="{7378337F-82F2-4EB3-BCC1-B5C184CBF185}" srcOrd="1" destOrd="0" presId="urn:microsoft.com/office/officeart/2009/3/layout/HorizontalOrganizationChart"/>
    <dgm:cxn modelId="{1AB9DBE4-0291-483D-8C40-6F57E047A92A}" type="presParOf" srcId="{096F02A1-CF40-4392-9CA7-A0CE61B1BADB}" destId="{524259D1-F65C-46EF-B653-DCDAC07E01D0}" srcOrd="2" destOrd="0" presId="urn:microsoft.com/office/officeart/2009/3/layout/HorizontalOrganizationChart"/>
    <dgm:cxn modelId="{C4132238-E4EB-44F1-903E-7857E0887CF5}" type="presParOf" srcId="{84CC9214-34E7-47AE-A13F-7513EA3F042A}" destId="{807B98CC-1DEC-4E49-A33B-386381B6C1EB}" srcOrd="2" destOrd="0" presId="urn:microsoft.com/office/officeart/2009/3/layout/HorizontalOrganizationChart"/>
    <dgm:cxn modelId="{81980097-43EC-4A38-9FBD-3DD4EE4DAAC3}" type="presParOf" srcId="{494E70B2-D16B-4CD0-B633-A95E632622D3}" destId="{13699695-6C82-4DD1-9BA8-5A7D0DB66CC1}" srcOrd="2" destOrd="0" presId="urn:microsoft.com/office/officeart/2009/3/layout/HorizontalOrganizationChart"/>
    <dgm:cxn modelId="{90D87874-66C4-408F-84A5-D787943FDA19}" type="presParOf" srcId="{494E70B2-D16B-4CD0-B633-A95E632622D3}" destId="{571F9BBF-51D0-49C7-A170-6A12150116D1}" srcOrd="3" destOrd="0" presId="urn:microsoft.com/office/officeart/2009/3/layout/HorizontalOrganizationChart"/>
    <dgm:cxn modelId="{DB8F5AA0-D0D1-45CE-9C2D-525715D6128D}" type="presParOf" srcId="{571F9BBF-51D0-49C7-A170-6A12150116D1}" destId="{4BE3EEE0-7D46-474A-9551-4F6F1054ED98}" srcOrd="0" destOrd="0" presId="urn:microsoft.com/office/officeart/2009/3/layout/HorizontalOrganizationChart"/>
    <dgm:cxn modelId="{404E59D7-FA0C-4828-8A98-08E3E61DDFD8}" type="presParOf" srcId="{4BE3EEE0-7D46-474A-9551-4F6F1054ED98}" destId="{5732FEF8-F5FD-425D-9045-594279BA2A60}" srcOrd="0" destOrd="0" presId="urn:microsoft.com/office/officeart/2009/3/layout/HorizontalOrganizationChart"/>
    <dgm:cxn modelId="{DA01AB4D-E75D-4FDB-9BE4-E968FBAF384A}" type="presParOf" srcId="{4BE3EEE0-7D46-474A-9551-4F6F1054ED98}" destId="{0FD2F127-5F70-4587-A53B-EFE04953685E}" srcOrd="1" destOrd="0" presId="urn:microsoft.com/office/officeart/2009/3/layout/HorizontalOrganizationChart"/>
    <dgm:cxn modelId="{15FBF2CE-90D3-4A7E-AB13-906BF7BF61CF}" type="presParOf" srcId="{571F9BBF-51D0-49C7-A170-6A12150116D1}" destId="{275B1833-BC14-4984-85DB-6AEF61682E4A}" srcOrd="1" destOrd="0" presId="urn:microsoft.com/office/officeart/2009/3/layout/HorizontalOrganizationChart"/>
    <dgm:cxn modelId="{6306A2E8-0233-434C-8809-FB4F2509AA51}" type="presParOf" srcId="{571F9BBF-51D0-49C7-A170-6A12150116D1}" destId="{C012C633-BE10-4B58-85DA-406EB7A5FB1C}" srcOrd="2" destOrd="0" presId="urn:microsoft.com/office/officeart/2009/3/layout/HorizontalOrganizationChart"/>
    <dgm:cxn modelId="{0842F0E8-8920-4723-AB6A-26CFCD236D3C}" type="presParOf" srcId="{77CFCB2C-59B0-405A-A904-C193E11BE101}" destId="{AE4BB68B-A5F6-4174-B89B-C6D386E9CB08}" srcOrd="2" destOrd="0" presId="urn:microsoft.com/office/officeart/2009/3/layout/HorizontalOrganizationChart"/>
    <dgm:cxn modelId="{7A786605-EF5B-4333-BB96-D9C7CF9792B9}" type="presParOf" srcId="{22D16F18-2CE1-4A7E-A7DF-A275CF0371AD}" destId="{D2E456C1-0206-455A-856D-3986AECA52E7}" srcOrd="2" destOrd="0" presId="urn:microsoft.com/office/officeart/2009/3/layout/HorizontalOrganizationChart"/>
    <dgm:cxn modelId="{F275A557-C4EE-4E36-9E84-E6E2F6CA6255}" type="presParOf" srcId="{22D16F18-2CE1-4A7E-A7DF-A275CF0371AD}" destId="{C84BBF10-D76E-452F-88D3-49E5B8A39916}" srcOrd="3" destOrd="0" presId="urn:microsoft.com/office/officeart/2009/3/layout/HorizontalOrganizationChart"/>
    <dgm:cxn modelId="{532C361B-70F4-4635-897A-DD9EB9B41BA0}" type="presParOf" srcId="{C84BBF10-D76E-452F-88D3-49E5B8A39916}" destId="{3A7E3A6B-DCC1-489D-9992-FC5551FF7F47}" srcOrd="0" destOrd="0" presId="urn:microsoft.com/office/officeart/2009/3/layout/HorizontalOrganizationChart"/>
    <dgm:cxn modelId="{56C8C545-640E-44BC-95F3-EB5DDA0F7A55}" type="presParOf" srcId="{3A7E3A6B-DCC1-489D-9992-FC5551FF7F47}" destId="{ED652421-9518-4860-A958-9A296F3A3A20}" srcOrd="0" destOrd="0" presId="urn:microsoft.com/office/officeart/2009/3/layout/HorizontalOrganizationChart"/>
    <dgm:cxn modelId="{5441EFC1-41E6-498B-AB92-99EB94A0CAB6}" type="presParOf" srcId="{3A7E3A6B-DCC1-489D-9992-FC5551FF7F47}" destId="{E79E0873-CED8-4921-BE64-984009BA0A49}" srcOrd="1" destOrd="0" presId="urn:microsoft.com/office/officeart/2009/3/layout/HorizontalOrganizationChart"/>
    <dgm:cxn modelId="{ECF6E524-F30E-421D-ADF8-DAA6A68892F5}" type="presParOf" srcId="{C84BBF10-D76E-452F-88D3-49E5B8A39916}" destId="{BAD43833-97F1-4F40-BC3C-1D72169B0BCE}" srcOrd="1" destOrd="0" presId="urn:microsoft.com/office/officeart/2009/3/layout/HorizontalOrganizationChart"/>
    <dgm:cxn modelId="{29F7E489-B1B5-4F68-9DD2-7AFE791A0E52}" type="presParOf" srcId="{BAD43833-97F1-4F40-BC3C-1D72169B0BCE}" destId="{506CFC8A-BDB8-4110-A73E-B0B9410A45FE}" srcOrd="0" destOrd="0" presId="urn:microsoft.com/office/officeart/2009/3/layout/HorizontalOrganizationChart"/>
    <dgm:cxn modelId="{4C362099-0D0C-48DD-A953-0E64D75D18EA}" type="presParOf" srcId="{BAD43833-97F1-4F40-BC3C-1D72169B0BCE}" destId="{C424D771-35E5-4931-80BE-0F02410290CC}" srcOrd="1" destOrd="0" presId="urn:microsoft.com/office/officeart/2009/3/layout/HorizontalOrganizationChart"/>
    <dgm:cxn modelId="{D60CB5F7-5C78-432C-A832-0C9B88F25CFE}" type="presParOf" srcId="{C424D771-35E5-4931-80BE-0F02410290CC}" destId="{50153940-9F3C-4EC8-A2F2-1FFECF362B98}" srcOrd="0" destOrd="0" presId="urn:microsoft.com/office/officeart/2009/3/layout/HorizontalOrganizationChart"/>
    <dgm:cxn modelId="{21634464-A1C2-4880-969F-69DB1D1C26B7}" type="presParOf" srcId="{50153940-9F3C-4EC8-A2F2-1FFECF362B98}" destId="{E2C67FFA-74CF-40A2-BA9E-C83D2F42549D}" srcOrd="0" destOrd="0" presId="urn:microsoft.com/office/officeart/2009/3/layout/HorizontalOrganizationChart"/>
    <dgm:cxn modelId="{47A5B775-BB2B-456A-9D03-891CD9ABB32D}" type="presParOf" srcId="{50153940-9F3C-4EC8-A2F2-1FFECF362B98}" destId="{5A1A1265-C7BC-4398-B803-4290A6E9DA02}" srcOrd="1" destOrd="0" presId="urn:microsoft.com/office/officeart/2009/3/layout/HorizontalOrganizationChart"/>
    <dgm:cxn modelId="{99C5F6A0-2684-44CD-A750-2B148F5B7267}" type="presParOf" srcId="{C424D771-35E5-4931-80BE-0F02410290CC}" destId="{23377940-A59E-46CC-BA9C-693EDF5BDCCA}" srcOrd="1" destOrd="0" presId="urn:microsoft.com/office/officeart/2009/3/layout/HorizontalOrganizationChart"/>
    <dgm:cxn modelId="{307DB8D2-7CAD-4AE9-A228-DAE6B4CE9153}" type="presParOf" srcId="{C424D771-35E5-4931-80BE-0F02410290CC}" destId="{E77B4076-A5BB-4806-81AD-7D1CDFE629BA}" srcOrd="2" destOrd="0" presId="urn:microsoft.com/office/officeart/2009/3/layout/HorizontalOrganizationChart"/>
    <dgm:cxn modelId="{162E6401-CB5F-420F-B9AE-4B55040E49CF}" type="presParOf" srcId="{BAD43833-97F1-4F40-BC3C-1D72169B0BCE}" destId="{55361A42-7D73-4821-907B-199997EDD9B0}" srcOrd="2" destOrd="0" presId="urn:microsoft.com/office/officeart/2009/3/layout/HorizontalOrganizationChart"/>
    <dgm:cxn modelId="{559A5499-0F6C-4A55-AE83-CD4693DB3D1C}" type="presParOf" srcId="{BAD43833-97F1-4F40-BC3C-1D72169B0BCE}" destId="{34C5FF6B-2119-4E0A-89EB-30669B10F663}" srcOrd="3" destOrd="0" presId="urn:microsoft.com/office/officeart/2009/3/layout/HorizontalOrganizationChart"/>
    <dgm:cxn modelId="{B2CE6B0C-0580-49CB-B754-58CAA430DC1D}" type="presParOf" srcId="{34C5FF6B-2119-4E0A-89EB-30669B10F663}" destId="{0B528577-3F1B-42E8-A198-E1FE9F3819B3}" srcOrd="0" destOrd="0" presId="urn:microsoft.com/office/officeart/2009/3/layout/HorizontalOrganizationChart"/>
    <dgm:cxn modelId="{4EEA98E9-961A-4045-A246-C1FD9278F537}" type="presParOf" srcId="{0B528577-3F1B-42E8-A198-E1FE9F3819B3}" destId="{72900B95-1529-4FEA-877B-F5DBCCBBE9E3}" srcOrd="0" destOrd="0" presId="urn:microsoft.com/office/officeart/2009/3/layout/HorizontalOrganizationChart"/>
    <dgm:cxn modelId="{288457D3-1F2E-428F-81FB-CF21393A70A9}" type="presParOf" srcId="{0B528577-3F1B-42E8-A198-E1FE9F3819B3}" destId="{3B107ABC-4A7B-4681-B396-208DB4B71CAA}" srcOrd="1" destOrd="0" presId="urn:microsoft.com/office/officeart/2009/3/layout/HorizontalOrganizationChart"/>
    <dgm:cxn modelId="{DC3C20C2-E350-4452-A3DD-54383FC979CC}" type="presParOf" srcId="{34C5FF6B-2119-4E0A-89EB-30669B10F663}" destId="{60A8D3E1-ED4C-4C79-8083-C2C36CB2376D}" srcOrd="1" destOrd="0" presId="urn:microsoft.com/office/officeart/2009/3/layout/HorizontalOrganizationChart"/>
    <dgm:cxn modelId="{4299007F-4C66-45A7-8005-5BD8DCF719DE}" type="presParOf" srcId="{34C5FF6B-2119-4E0A-89EB-30669B10F663}" destId="{594F147E-3805-43BE-A986-2535DBE32F41}" srcOrd="2" destOrd="0" presId="urn:microsoft.com/office/officeart/2009/3/layout/HorizontalOrganizationChart"/>
    <dgm:cxn modelId="{C39A8AA3-EEA3-4F92-80BD-9ADC56DE7D13}" type="presParOf" srcId="{C84BBF10-D76E-452F-88D3-49E5B8A39916}" destId="{C0238408-18E0-4E2B-A53A-0C33638931A0}" srcOrd="2" destOrd="0" presId="urn:microsoft.com/office/officeart/2009/3/layout/HorizontalOrganizationChart"/>
    <dgm:cxn modelId="{579E2374-307E-477D-B93B-1F87805B0FB8}" type="presParOf" srcId="{22D16F18-2CE1-4A7E-A7DF-A275CF0371AD}" destId="{0B6B24BB-3756-435A-809A-71B8FD40B32A}" srcOrd="4" destOrd="0" presId="urn:microsoft.com/office/officeart/2009/3/layout/HorizontalOrganizationChart"/>
    <dgm:cxn modelId="{45BD7EDC-2594-431F-B0CF-29838F34E5E6}" type="presParOf" srcId="{22D16F18-2CE1-4A7E-A7DF-A275CF0371AD}" destId="{F30D30B6-0FD8-4B68-B372-3D9EB7AFA2D7}" srcOrd="5" destOrd="0" presId="urn:microsoft.com/office/officeart/2009/3/layout/HorizontalOrganizationChart"/>
    <dgm:cxn modelId="{8FBA11C8-FD03-4BD7-B61D-714392AC1C41}" type="presParOf" srcId="{F30D30B6-0FD8-4B68-B372-3D9EB7AFA2D7}" destId="{2539A6E4-DF5E-424F-99C8-6C3249B9A43C}" srcOrd="0" destOrd="0" presId="urn:microsoft.com/office/officeart/2009/3/layout/HorizontalOrganizationChart"/>
    <dgm:cxn modelId="{743FD9DD-39CE-4BAF-809C-1579745746C3}" type="presParOf" srcId="{2539A6E4-DF5E-424F-99C8-6C3249B9A43C}" destId="{4925577A-3DBC-46CC-A305-52259EC03F45}" srcOrd="0" destOrd="0" presId="urn:microsoft.com/office/officeart/2009/3/layout/HorizontalOrganizationChart"/>
    <dgm:cxn modelId="{0FAD1AC0-CF20-41AE-AC52-632574164F95}" type="presParOf" srcId="{2539A6E4-DF5E-424F-99C8-6C3249B9A43C}" destId="{8E814718-61B2-4F78-B1FA-5C17A5F71777}" srcOrd="1" destOrd="0" presId="urn:microsoft.com/office/officeart/2009/3/layout/HorizontalOrganizationChart"/>
    <dgm:cxn modelId="{1C1E8A37-F89B-4F34-AA6F-D49DCA8B03B7}" type="presParOf" srcId="{F30D30B6-0FD8-4B68-B372-3D9EB7AFA2D7}" destId="{8FC904EF-212B-43D6-B211-4663A3025A70}" srcOrd="1" destOrd="0" presId="urn:microsoft.com/office/officeart/2009/3/layout/HorizontalOrganizationChart"/>
    <dgm:cxn modelId="{A0AEADC5-5D28-4113-822C-2E5577812D68}" type="presParOf" srcId="{8FC904EF-212B-43D6-B211-4663A3025A70}" destId="{DD72A47F-E7E7-4E44-AB11-0322D7804B7F}" srcOrd="0" destOrd="0" presId="urn:microsoft.com/office/officeart/2009/3/layout/HorizontalOrganizationChart"/>
    <dgm:cxn modelId="{B0268552-8D14-4E6F-852F-4C38401809D7}" type="presParOf" srcId="{8FC904EF-212B-43D6-B211-4663A3025A70}" destId="{37953032-5DF7-47A6-AE57-B68CB9E9BD12}" srcOrd="1" destOrd="0" presId="urn:microsoft.com/office/officeart/2009/3/layout/HorizontalOrganizationChart"/>
    <dgm:cxn modelId="{18923704-EA48-4520-A857-FDA90F26534D}" type="presParOf" srcId="{37953032-5DF7-47A6-AE57-B68CB9E9BD12}" destId="{13BB3338-48E0-4101-9A1B-6ADD7EAD3BAA}" srcOrd="0" destOrd="0" presId="urn:microsoft.com/office/officeart/2009/3/layout/HorizontalOrganizationChart"/>
    <dgm:cxn modelId="{222F62D7-11DB-49D6-AC13-1CEBB07F2AE2}" type="presParOf" srcId="{13BB3338-48E0-4101-9A1B-6ADD7EAD3BAA}" destId="{3B3F8463-D305-4CD2-9914-30577F921FB3}" srcOrd="0" destOrd="0" presId="urn:microsoft.com/office/officeart/2009/3/layout/HorizontalOrganizationChart"/>
    <dgm:cxn modelId="{0CE35901-8833-4793-8A96-9F0331889496}" type="presParOf" srcId="{13BB3338-48E0-4101-9A1B-6ADD7EAD3BAA}" destId="{956506E4-EF96-467A-B69F-456C81FCEEA7}" srcOrd="1" destOrd="0" presId="urn:microsoft.com/office/officeart/2009/3/layout/HorizontalOrganizationChart"/>
    <dgm:cxn modelId="{21BDC971-1034-495B-A58C-0450242586F0}" type="presParOf" srcId="{37953032-5DF7-47A6-AE57-B68CB9E9BD12}" destId="{6A3A5481-54BA-4C4C-8644-C7CA3EBC48EB}" srcOrd="1" destOrd="0" presId="urn:microsoft.com/office/officeart/2009/3/layout/HorizontalOrganizationChart"/>
    <dgm:cxn modelId="{05E7339D-1C61-48D9-8350-BB534D337212}" type="presParOf" srcId="{37953032-5DF7-47A6-AE57-B68CB9E9BD12}" destId="{7042021E-98F7-46C2-BD9F-8BA57B917C2C}" srcOrd="2" destOrd="0" presId="urn:microsoft.com/office/officeart/2009/3/layout/HorizontalOrganizationChart"/>
    <dgm:cxn modelId="{F2BA6BC3-3246-4AEA-9DC4-26CC5105C32E}" type="presParOf" srcId="{8FC904EF-212B-43D6-B211-4663A3025A70}" destId="{C3AF67E2-C695-44C2-A2AB-39884C62A9B6}" srcOrd="2" destOrd="0" presId="urn:microsoft.com/office/officeart/2009/3/layout/HorizontalOrganizationChart"/>
    <dgm:cxn modelId="{5ED681B4-819B-48C6-B64B-1EF05BAAF8A7}" type="presParOf" srcId="{8FC904EF-212B-43D6-B211-4663A3025A70}" destId="{22157CA5-31C1-4EB6-9CAA-5A8960F84EDC}" srcOrd="3" destOrd="0" presId="urn:microsoft.com/office/officeart/2009/3/layout/HorizontalOrganizationChart"/>
    <dgm:cxn modelId="{48FF787B-970E-4AE5-B8B4-B5E294DAFC45}" type="presParOf" srcId="{22157CA5-31C1-4EB6-9CAA-5A8960F84EDC}" destId="{CADEE40A-1700-4850-AAF1-239F96B420AA}" srcOrd="0" destOrd="0" presId="urn:microsoft.com/office/officeart/2009/3/layout/HorizontalOrganizationChart"/>
    <dgm:cxn modelId="{147992D6-6D4A-4BC1-B3F8-EB99313F4A20}" type="presParOf" srcId="{CADEE40A-1700-4850-AAF1-239F96B420AA}" destId="{D0C11F2E-B245-4875-BC28-1BAF0ACF29CC}" srcOrd="0" destOrd="0" presId="urn:microsoft.com/office/officeart/2009/3/layout/HorizontalOrganizationChart"/>
    <dgm:cxn modelId="{E9A220B9-18AA-44A2-A1C7-29E5FE6B0777}" type="presParOf" srcId="{CADEE40A-1700-4850-AAF1-239F96B420AA}" destId="{47BFE14A-6ED2-4C81-8463-8512C67E3811}" srcOrd="1" destOrd="0" presId="urn:microsoft.com/office/officeart/2009/3/layout/HorizontalOrganizationChart"/>
    <dgm:cxn modelId="{97E4C073-66C8-4A2B-8C84-329165F7A7D1}" type="presParOf" srcId="{22157CA5-31C1-4EB6-9CAA-5A8960F84EDC}" destId="{862EDE29-8516-47CA-9D77-3EDE69BB3064}" srcOrd="1" destOrd="0" presId="urn:microsoft.com/office/officeart/2009/3/layout/HorizontalOrganizationChart"/>
    <dgm:cxn modelId="{B59E2E65-EB3A-4B91-89EC-A1394307F619}" type="presParOf" srcId="{862EDE29-8516-47CA-9D77-3EDE69BB3064}" destId="{3FCA43AF-C9E8-4302-8DEA-1A5E6217A596}" srcOrd="0" destOrd="0" presId="urn:microsoft.com/office/officeart/2009/3/layout/HorizontalOrganizationChart"/>
    <dgm:cxn modelId="{AF1FFA11-D54F-46CC-9A57-96414E05F29F}" type="presParOf" srcId="{862EDE29-8516-47CA-9D77-3EDE69BB3064}" destId="{45A614A3-17DA-4A10-ABA0-675ADE8AF97B}" srcOrd="1" destOrd="0" presId="urn:microsoft.com/office/officeart/2009/3/layout/HorizontalOrganizationChart"/>
    <dgm:cxn modelId="{67724EE6-C046-46C1-BABD-3ACED2A672A7}" type="presParOf" srcId="{45A614A3-17DA-4A10-ABA0-675ADE8AF97B}" destId="{B325FFBF-4C0E-40E5-BD3F-21154D65094B}" srcOrd="0" destOrd="0" presId="urn:microsoft.com/office/officeart/2009/3/layout/HorizontalOrganizationChart"/>
    <dgm:cxn modelId="{8E12F863-7B1F-4963-BED7-E0610B11F8DB}" type="presParOf" srcId="{B325FFBF-4C0E-40E5-BD3F-21154D65094B}" destId="{2C995335-FA50-4971-B4A5-A75D1CE9534B}" srcOrd="0" destOrd="0" presId="urn:microsoft.com/office/officeart/2009/3/layout/HorizontalOrganizationChart"/>
    <dgm:cxn modelId="{FCB2CBE9-1C9E-410B-B21E-2C2B0651D209}" type="presParOf" srcId="{B325FFBF-4C0E-40E5-BD3F-21154D65094B}" destId="{831DD84A-3D91-43B0-BFD6-DD488F1F8CD9}" srcOrd="1" destOrd="0" presId="urn:microsoft.com/office/officeart/2009/3/layout/HorizontalOrganizationChart"/>
    <dgm:cxn modelId="{A9156693-8A2C-467B-BCC4-C1D3ED73A1FE}" type="presParOf" srcId="{45A614A3-17DA-4A10-ABA0-675ADE8AF97B}" destId="{3837C482-3F4C-4F5F-ADBE-C78EBBB28F36}" srcOrd="1" destOrd="0" presId="urn:microsoft.com/office/officeart/2009/3/layout/HorizontalOrganizationChart"/>
    <dgm:cxn modelId="{4769957E-0744-4446-8B44-CD74593B16E7}" type="presParOf" srcId="{45A614A3-17DA-4A10-ABA0-675ADE8AF97B}" destId="{09A38CBA-A214-4478-893A-B59F9EA84B8B}" srcOrd="2" destOrd="0" presId="urn:microsoft.com/office/officeart/2009/3/layout/HorizontalOrganizationChart"/>
    <dgm:cxn modelId="{6D18DAF8-DEC6-4AC1-A67D-4ECBB364DEFE}" type="presParOf" srcId="{22157CA5-31C1-4EB6-9CAA-5A8960F84EDC}" destId="{AA79BCA7-862B-4FC0-9C55-4301AA4890DF}" srcOrd="2" destOrd="0" presId="urn:microsoft.com/office/officeart/2009/3/layout/HorizontalOrganizationChart"/>
    <dgm:cxn modelId="{4234436F-315F-437C-9AE6-5C57F296A51A}" type="presParOf" srcId="{F30D30B6-0FD8-4B68-B372-3D9EB7AFA2D7}" destId="{75B1D5EB-F135-4103-8135-683F9FEDB1A6}" srcOrd="2" destOrd="0" presId="urn:microsoft.com/office/officeart/2009/3/layout/HorizontalOrganizationChart"/>
    <dgm:cxn modelId="{A372A9E7-1BE8-4281-B92E-AA9490EA2D0A}" type="presParOf" srcId="{7488B669-4E57-40E4-B98D-3459DAAB515E}" destId="{6A0CFB3A-568A-4C3D-8BBD-233ED33CF651}" srcOrd="2" destOrd="0" presId="urn:microsoft.com/office/officeart/2009/3/layout/HorizontalOrganizationChart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B9C32B05-62EA-407A-B21C-2310C7945705}" type="doc">
      <dgm:prSet loTypeId="urn:microsoft.com/office/officeart/2005/8/layout/hChevron3" loCatId="cycle" qsTypeId="urn:microsoft.com/office/officeart/2005/8/quickstyle/simple4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42D71409-67F9-455C-8C6D-716D284AAA6B}">
      <dgm:prSet phldrT="[Text]" custT="1"/>
      <dgm:spPr>
        <a:solidFill>
          <a:schemeClr val="accent1"/>
        </a:solidFill>
        <a:ln w="50800">
          <a:solidFill>
            <a:schemeClr val="bg1"/>
          </a:solidFill>
        </a:ln>
        <a:effectLst/>
      </dgm:spPr>
      <dgm:t>
        <a:bodyPr lIns="216000" tIns="180000"/>
        <a:lstStyle/>
        <a:p>
          <a:pPr marL="0">
            <a:lnSpc>
              <a:spcPct val="110000"/>
            </a:lnSpc>
          </a:pPr>
          <a:r>
            <a:rPr lang="en-US" sz="1400" dirty="0">
              <a:latin typeface="Frutiger LT Com 65 Bold" panose="020B0803030504020204" pitchFamily="34" charset="0"/>
            </a:rPr>
            <a:t>Lorem Ipsum</a:t>
          </a:r>
        </a:p>
      </dgm:t>
    </dgm:pt>
    <dgm:pt modelId="{51680ED1-AF6E-4B28-AE94-92B0EFB0DF7D}" type="parTrans" cxnId="{2AA9C11F-1F1D-428E-801A-47EAA766C99D}">
      <dgm:prSet/>
      <dgm:spPr/>
      <dgm:t>
        <a:bodyPr/>
        <a:lstStyle/>
        <a:p>
          <a:endParaRPr lang="en-US"/>
        </a:p>
      </dgm:t>
    </dgm:pt>
    <dgm:pt modelId="{478B7D3C-9FB4-4BC6-90AC-49960560DECD}" type="sibTrans" cxnId="{2AA9C11F-1F1D-428E-801A-47EAA766C99D}">
      <dgm:prSet/>
      <dgm:spPr/>
      <dgm:t>
        <a:bodyPr/>
        <a:lstStyle/>
        <a:p>
          <a:endParaRPr lang="en-US"/>
        </a:p>
      </dgm:t>
    </dgm:pt>
    <dgm:pt modelId="{F66099B6-DBBD-4AB0-82D2-877B80F846F7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2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0">
            <a:lnSpc>
              <a:spcPct val="110000"/>
            </a:lnSpc>
            <a:buNone/>
          </a:pPr>
          <a:r>
            <a:rPr lang="en-US" sz="1400" dirty="0">
              <a:latin typeface="Frutiger LT Com 65 Bold" panose="020B0803030504020204" pitchFamily="34" charset="0"/>
            </a:rPr>
            <a:t>Lorem Ipsum</a:t>
          </a:r>
        </a:p>
      </dgm:t>
    </dgm:pt>
    <dgm:pt modelId="{B09C8BFB-F41C-4AC4-AB94-F216E3081C2D}" type="parTrans" cxnId="{B4F3EA32-CE64-4A92-9BAE-BC57E5392B05}">
      <dgm:prSet/>
      <dgm:spPr/>
      <dgm:t>
        <a:bodyPr/>
        <a:lstStyle/>
        <a:p>
          <a:endParaRPr lang="en-US"/>
        </a:p>
      </dgm:t>
    </dgm:pt>
    <dgm:pt modelId="{BC531B32-9B0E-482E-BF91-65C61F17168D}" type="sibTrans" cxnId="{B4F3EA32-CE64-4A92-9BAE-BC57E5392B05}">
      <dgm:prSet/>
      <dgm:spPr/>
      <dgm:t>
        <a:bodyPr/>
        <a:lstStyle/>
        <a:p>
          <a:endParaRPr lang="en-US"/>
        </a:p>
      </dgm:t>
    </dgm:pt>
    <dgm:pt modelId="{EE62A4F6-4AC4-435B-990E-81A71CE8CAC7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4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3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0">
            <a:lnSpc>
              <a:spcPct val="110000"/>
            </a:lnSpc>
          </a:pPr>
          <a:r>
            <a:rPr lang="en-US" sz="1400">
              <a:latin typeface="Frutiger LT Com 65 Bold" panose="020B0803030504020204" pitchFamily="34" charset="0"/>
            </a:rPr>
            <a:t>Lorem Ipsum</a:t>
          </a:r>
          <a:endParaRPr lang="en-US" sz="1400" dirty="0"/>
        </a:p>
      </dgm:t>
    </dgm:pt>
    <dgm:pt modelId="{F287B947-7343-4FA2-B288-B23A59FFAE31}" type="parTrans" cxnId="{3A2CECA6-0C5B-46BB-B7C6-7D37E9D210BD}">
      <dgm:prSet/>
      <dgm:spPr/>
      <dgm:t>
        <a:bodyPr/>
        <a:lstStyle/>
        <a:p>
          <a:endParaRPr lang="en-US"/>
        </a:p>
      </dgm:t>
    </dgm:pt>
    <dgm:pt modelId="{389F9A93-0231-4877-8C41-5D5B8DD7AAC0}" type="sibTrans" cxnId="{3A2CECA6-0C5B-46BB-B7C6-7D37E9D210BD}">
      <dgm:prSet/>
      <dgm:spPr/>
      <dgm:t>
        <a:bodyPr/>
        <a:lstStyle/>
        <a:p>
          <a:endParaRPr lang="en-US"/>
        </a:p>
      </dgm:t>
    </dgm:pt>
    <dgm:pt modelId="{2A22E84C-3AA3-4E9C-AE5F-9C2FB0D7FB11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4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0">
            <a:lnSpc>
              <a:spcPct val="110000"/>
            </a:lnSpc>
          </a:pPr>
          <a:r>
            <a:rPr lang="en-US" sz="1400" dirty="0">
              <a:latin typeface="Frutiger LT Com 65 Bold" panose="020B0803030504020204" pitchFamily="34" charset="0"/>
            </a:rPr>
            <a:t>Lorem Ipsum</a:t>
          </a:r>
          <a:endParaRPr lang="en-US" sz="1400" dirty="0"/>
        </a:p>
      </dgm:t>
    </dgm:pt>
    <dgm:pt modelId="{6C025E55-DF42-4C5D-AFD5-6015FA053D46}" type="parTrans" cxnId="{BEB859E7-C343-408E-86A1-667C27EE5761}">
      <dgm:prSet/>
      <dgm:spPr/>
      <dgm:t>
        <a:bodyPr/>
        <a:lstStyle/>
        <a:p>
          <a:endParaRPr lang="en-US"/>
        </a:p>
      </dgm:t>
    </dgm:pt>
    <dgm:pt modelId="{744EA591-F199-49C2-B63A-82709D96C729}" type="sibTrans" cxnId="{BEB859E7-C343-408E-86A1-667C27EE5761}">
      <dgm:prSet/>
      <dgm:spPr/>
      <dgm:t>
        <a:bodyPr/>
        <a:lstStyle/>
        <a:p>
          <a:endParaRPr lang="en-US"/>
        </a:p>
      </dgm:t>
    </dgm:pt>
    <dgm:pt modelId="{36045517-CEA4-4BE3-B836-C2B6BFE5649B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3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5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0">
            <a:lnSpc>
              <a:spcPct val="110000"/>
            </a:lnSpc>
          </a:pPr>
          <a:r>
            <a:rPr lang="en-US" sz="1400" dirty="0">
              <a:latin typeface="Frutiger LT Com 65 Bold" panose="020B0803030504020204" pitchFamily="34" charset="0"/>
            </a:rPr>
            <a:t>Lorem Ipsum</a:t>
          </a:r>
          <a:endParaRPr lang="en-US" sz="1400" dirty="0"/>
        </a:p>
      </dgm:t>
    </dgm:pt>
    <dgm:pt modelId="{6231A36F-9B04-4B4A-917A-7E163AFFC956}" type="parTrans" cxnId="{4019353B-443B-4DED-AA6C-3C60E18414C7}">
      <dgm:prSet/>
      <dgm:spPr/>
      <dgm:t>
        <a:bodyPr/>
        <a:lstStyle/>
        <a:p>
          <a:endParaRPr lang="en-US"/>
        </a:p>
      </dgm:t>
    </dgm:pt>
    <dgm:pt modelId="{BFF3C5ED-87D0-4709-A3B8-A7BF0668006A}" type="sibTrans" cxnId="{4019353B-443B-4DED-AA6C-3C60E18414C7}">
      <dgm:prSet/>
      <dgm:spPr/>
      <dgm:t>
        <a:bodyPr/>
        <a:lstStyle/>
        <a:p>
          <a:endParaRPr lang="en-US"/>
        </a:p>
      </dgm:t>
    </dgm:pt>
    <dgm:pt modelId="{0507EB23-E579-4478-95DE-8B3AF2785525}">
      <dgm:prSet phldrT="[Text]" custT="1"/>
      <dgm:spPr>
        <a:solidFill>
          <a:schemeClr val="accent1"/>
        </a:solidFill>
        <a:ln w="50800">
          <a:solidFill>
            <a:schemeClr val="bg1"/>
          </a:solidFill>
        </a:ln>
        <a:effectLst/>
      </dgm:spPr>
      <dgm:t>
        <a:bodyPr lIns="216000"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dirty="0">
              <a:solidFill>
                <a:schemeClr val="bg1"/>
              </a:solidFill>
            </a:rPr>
            <a:t>Lorem ipsum dolor sit</a:t>
          </a:r>
        </a:p>
      </dgm:t>
    </dgm:pt>
    <dgm:pt modelId="{123B8FA7-F5AC-4574-A3AA-6A93B87ED425}" type="sibTrans" cxnId="{0D6EFCC2-FDF8-4F6E-9A5E-CA692745C16F}">
      <dgm:prSet/>
      <dgm:spPr/>
      <dgm:t>
        <a:bodyPr/>
        <a:lstStyle/>
        <a:p>
          <a:endParaRPr lang="de-DE"/>
        </a:p>
      </dgm:t>
    </dgm:pt>
    <dgm:pt modelId="{F3890ED8-B1A6-42C1-ACD6-91916746AB30}" type="parTrans" cxnId="{0D6EFCC2-FDF8-4F6E-9A5E-CA692745C16F}">
      <dgm:prSet/>
      <dgm:spPr/>
      <dgm:t>
        <a:bodyPr/>
        <a:lstStyle/>
        <a:p>
          <a:endParaRPr lang="de-DE"/>
        </a:p>
      </dgm:t>
    </dgm:pt>
    <dgm:pt modelId="{DBCD5B3C-A86D-47A2-8434-08E893599803}">
      <dgm:prSet phldrT="[Text]" custT="1"/>
      <dgm:spPr>
        <a:solidFill>
          <a:schemeClr val="accent1"/>
        </a:solidFill>
        <a:ln w="50800">
          <a:solidFill>
            <a:schemeClr val="bg1"/>
          </a:solidFill>
        </a:ln>
        <a:effectLst/>
      </dgm:spPr>
      <dgm:t>
        <a:bodyPr lIns="216000" tIns="180000"/>
        <a:lstStyle/>
        <a:p>
          <a:pPr marL="180975" indent="-180975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dirty="0">
              <a:solidFill>
                <a:schemeClr val="bg1"/>
              </a:solidFill>
            </a:rPr>
            <a:t>Lorem ipsum dolor sit</a:t>
          </a:r>
        </a:p>
      </dgm:t>
    </dgm:pt>
    <dgm:pt modelId="{E6ED9BA8-1290-4AB4-B022-0176401CC517}" type="parTrans" cxnId="{0B5FD747-676C-4F70-8EA0-D706FAAD205B}">
      <dgm:prSet/>
      <dgm:spPr/>
      <dgm:t>
        <a:bodyPr/>
        <a:lstStyle/>
        <a:p>
          <a:endParaRPr lang="de-DE"/>
        </a:p>
      </dgm:t>
    </dgm:pt>
    <dgm:pt modelId="{FEF86C3F-064E-4F3B-9B4B-2A707289F53B}" type="sibTrans" cxnId="{0B5FD747-676C-4F70-8EA0-D706FAAD205B}">
      <dgm:prSet/>
      <dgm:spPr/>
      <dgm:t>
        <a:bodyPr/>
        <a:lstStyle/>
        <a:p>
          <a:endParaRPr lang="de-DE"/>
        </a:p>
      </dgm:t>
    </dgm:pt>
    <dgm:pt modelId="{0AB8619A-0452-4DF6-A6EC-13D6C3FEA353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4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3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dirty="0">
              <a:solidFill>
                <a:schemeClr val="bg1"/>
              </a:solidFill>
            </a:rPr>
            <a:t>Lorem ipsum dolor sit</a:t>
          </a:r>
        </a:p>
      </dgm:t>
    </dgm:pt>
    <dgm:pt modelId="{D5BEE2A3-7ECD-4721-A190-18464DE8C0F9}" type="parTrans" cxnId="{ABA3BF23-2693-4748-83C4-FB11E5E5797D}">
      <dgm:prSet/>
      <dgm:spPr/>
      <dgm:t>
        <a:bodyPr/>
        <a:lstStyle/>
        <a:p>
          <a:endParaRPr lang="de-DE"/>
        </a:p>
      </dgm:t>
    </dgm:pt>
    <dgm:pt modelId="{F4FBC88E-4EF8-494E-AA3E-374D5200B01A}" type="sibTrans" cxnId="{ABA3BF23-2693-4748-83C4-FB11E5E5797D}">
      <dgm:prSet/>
      <dgm:spPr/>
      <dgm:t>
        <a:bodyPr/>
        <a:lstStyle/>
        <a:p>
          <a:endParaRPr lang="de-DE"/>
        </a:p>
      </dgm:t>
    </dgm:pt>
    <dgm:pt modelId="{441560A4-7875-49E8-B728-BB801DDA4220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4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3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dirty="0">
              <a:solidFill>
                <a:schemeClr val="bg1"/>
              </a:solidFill>
            </a:rPr>
            <a:t>Lorem ipsum dolor sit</a:t>
          </a:r>
        </a:p>
      </dgm:t>
    </dgm:pt>
    <dgm:pt modelId="{4F5759A7-B651-4547-82AB-B8A685B0FD29}" type="parTrans" cxnId="{7AA7B47E-E3A5-42C3-9F2F-0F9F36F637EE}">
      <dgm:prSet/>
      <dgm:spPr/>
      <dgm:t>
        <a:bodyPr/>
        <a:lstStyle/>
        <a:p>
          <a:endParaRPr lang="de-DE"/>
        </a:p>
      </dgm:t>
    </dgm:pt>
    <dgm:pt modelId="{5D922C9D-E664-4032-B6A0-5290EED9F7FE}" type="sibTrans" cxnId="{7AA7B47E-E3A5-42C3-9F2F-0F9F36F637EE}">
      <dgm:prSet/>
      <dgm:spPr/>
      <dgm:t>
        <a:bodyPr/>
        <a:lstStyle/>
        <a:p>
          <a:endParaRPr lang="de-DE"/>
        </a:p>
      </dgm:t>
    </dgm:pt>
    <dgm:pt modelId="{BEB62D13-5BEC-4977-8F6F-8C3F28961E3C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4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dirty="0">
              <a:solidFill>
                <a:schemeClr val="bg1"/>
              </a:solidFill>
            </a:rPr>
            <a:t>Lorem ipsum dolor sit</a:t>
          </a:r>
        </a:p>
      </dgm:t>
    </dgm:pt>
    <dgm:pt modelId="{AFDEEA22-B0CB-46D5-9C89-0EFDEF63C529}" type="parTrans" cxnId="{510BD0FD-48A2-409A-9661-4730A7BB49EB}">
      <dgm:prSet/>
      <dgm:spPr/>
      <dgm:t>
        <a:bodyPr/>
        <a:lstStyle/>
        <a:p>
          <a:endParaRPr lang="de-DE"/>
        </a:p>
      </dgm:t>
    </dgm:pt>
    <dgm:pt modelId="{B82C9051-9E34-472E-9E48-606FCAEFDEC6}" type="sibTrans" cxnId="{510BD0FD-48A2-409A-9661-4730A7BB49EB}">
      <dgm:prSet/>
      <dgm:spPr/>
      <dgm:t>
        <a:bodyPr/>
        <a:lstStyle/>
        <a:p>
          <a:endParaRPr lang="de-DE"/>
        </a:p>
      </dgm:t>
    </dgm:pt>
    <dgm:pt modelId="{F120C875-C509-4081-87E6-6350904753BD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4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dirty="0">
              <a:solidFill>
                <a:schemeClr val="bg1"/>
              </a:solidFill>
            </a:rPr>
            <a:t>Lorem ipsum dolor sit</a:t>
          </a:r>
        </a:p>
      </dgm:t>
    </dgm:pt>
    <dgm:pt modelId="{2E0E720D-110C-4EE4-9D09-849E526553BD}" type="parTrans" cxnId="{8330F4DB-2FD0-423F-AB4F-95EACD0A5EE0}">
      <dgm:prSet/>
      <dgm:spPr/>
      <dgm:t>
        <a:bodyPr/>
        <a:lstStyle/>
        <a:p>
          <a:endParaRPr lang="de-DE"/>
        </a:p>
      </dgm:t>
    </dgm:pt>
    <dgm:pt modelId="{4AE28C9C-610B-4512-A6F1-FEDBA241D3BF}" type="sibTrans" cxnId="{8330F4DB-2FD0-423F-AB4F-95EACD0A5EE0}">
      <dgm:prSet/>
      <dgm:spPr/>
      <dgm:t>
        <a:bodyPr/>
        <a:lstStyle/>
        <a:p>
          <a:endParaRPr lang="de-DE"/>
        </a:p>
      </dgm:t>
    </dgm:pt>
    <dgm:pt modelId="{F8E3A3B7-F438-45D5-A29C-F200999E4D00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3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5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dirty="0">
              <a:solidFill>
                <a:schemeClr val="bg1"/>
              </a:solidFill>
            </a:rPr>
            <a:t>Lorem ipsum dolor sit</a:t>
          </a:r>
        </a:p>
      </dgm:t>
    </dgm:pt>
    <dgm:pt modelId="{EBE74FE5-8352-47B1-A213-85F22B3EEE1C}" type="parTrans" cxnId="{A947D035-0B8B-4855-A643-AE9D369D77DA}">
      <dgm:prSet/>
      <dgm:spPr/>
      <dgm:t>
        <a:bodyPr/>
        <a:lstStyle/>
        <a:p>
          <a:endParaRPr lang="de-DE"/>
        </a:p>
      </dgm:t>
    </dgm:pt>
    <dgm:pt modelId="{37D7261F-5B1C-4A5C-8B6C-844FD207F39B}" type="sibTrans" cxnId="{A947D035-0B8B-4855-A643-AE9D369D77DA}">
      <dgm:prSet/>
      <dgm:spPr/>
      <dgm:t>
        <a:bodyPr/>
        <a:lstStyle/>
        <a:p>
          <a:endParaRPr lang="de-DE"/>
        </a:p>
      </dgm:t>
    </dgm:pt>
    <dgm:pt modelId="{2C1A310C-0742-4EDF-B6C2-AAA95824EA58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3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5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dirty="0">
              <a:solidFill>
                <a:schemeClr val="bg1"/>
              </a:solidFill>
            </a:rPr>
            <a:t>Lorem ipsum dolor sit</a:t>
          </a:r>
        </a:p>
      </dgm:t>
    </dgm:pt>
    <dgm:pt modelId="{7304ED03-F122-486A-86B7-93A60B133365}" type="parTrans" cxnId="{7B2A6EFC-8581-4620-BBCC-B284DF1E9409}">
      <dgm:prSet/>
      <dgm:spPr/>
      <dgm:t>
        <a:bodyPr/>
        <a:lstStyle/>
        <a:p>
          <a:endParaRPr lang="de-DE"/>
        </a:p>
      </dgm:t>
    </dgm:pt>
    <dgm:pt modelId="{B776D3FC-BA83-4F3C-BA4B-FDAF92FD455F}" type="sibTrans" cxnId="{7B2A6EFC-8581-4620-BBCC-B284DF1E9409}">
      <dgm:prSet/>
      <dgm:spPr/>
      <dgm:t>
        <a:bodyPr/>
        <a:lstStyle/>
        <a:p>
          <a:endParaRPr lang="de-DE"/>
        </a:p>
      </dgm:t>
    </dgm:pt>
    <dgm:pt modelId="{DD4E9A18-2A8A-4AA0-802F-381B7855DAA1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3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5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endParaRPr lang="en-US" sz="1400" dirty="0">
            <a:solidFill>
              <a:schemeClr val="bg1"/>
            </a:solidFill>
          </a:endParaRPr>
        </a:p>
      </dgm:t>
    </dgm:pt>
    <dgm:pt modelId="{B530A2DD-29FD-49B0-9122-03FC27C2B2DF}" type="parTrans" cxnId="{FF5BCB6A-3DC2-4341-9559-9552C881344C}">
      <dgm:prSet/>
      <dgm:spPr/>
      <dgm:t>
        <a:bodyPr/>
        <a:lstStyle/>
        <a:p>
          <a:endParaRPr lang="de-DE"/>
        </a:p>
      </dgm:t>
    </dgm:pt>
    <dgm:pt modelId="{592B1058-E6E3-4713-B13C-71CDE231CE94}" type="sibTrans" cxnId="{FF5BCB6A-3DC2-4341-9559-9552C881344C}">
      <dgm:prSet/>
      <dgm:spPr/>
      <dgm:t>
        <a:bodyPr/>
        <a:lstStyle/>
        <a:p>
          <a:endParaRPr lang="de-DE"/>
        </a:p>
      </dgm:t>
    </dgm:pt>
    <dgm:pt modelId="{B6AA7AF8-8E5E-423B-AEC6-2E09EFA77200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2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dirty="0">
              <a:solidFill>
                <a:schemeClr val="bg1"/>
              </a:solidFill>
            </a:rPr>
            <a:t>Lorem ipsum dolor sit</a:t>
          </a:r>
        </a:p>
      </dgm:t>
    </dgm:pt>
    <dgm:pt modelId="{DC7A4BE5-4896-420E-85A6-C4D22092C1F7}" type="sibTrans" cxnId="{79319D4F-6831-44C3-854B-6DFD55FEB07A}">
      <dgm:prSet/>
      <dgm:spPr/>
      <dgm:t>
        <a:bodyPr/>
        <a:lstStyle/>
        <a:p>
          <a:endParaRPr lang="de-DE"/>
        </a:p>
      </dgm:t>
    </dgm:pt>
    <dgm:pt modelId="{DD3AAC74-1FDB-4118-80FD-2C9569C48377}" type="parTrans" cxnId="{79319D4F-6831-44C3-854B-6DFD55FEB07A}">
      <dgm:prSet/>
      <dgm:spPr/>
      <dgm:t>
        <a:bodyPr/>
        <a:lstStyle/>
        <a:p>
          <a:endParaRPr lang="de-DE"/>
        </a:p>
      </dgm:t>
    </dgm:pt>
    <dgm:pt modelId="{864DB7B0-E11A-4971-BF5D-0F0DFBBB19FE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2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dirty="0">
              <a:solidFill>
                <a:schemeClr val="bg1"/>
              </a:solidFill>
            </a:rPr>
            <a:t>Lorem ipsum dolor sit</a:t>
          </a:r>
        </a:p>
      </dgm:t>
    </dgm:pt>
    <dgm:pt modelId="{7643EDC4-AD7D-4232-A16E-779451AE243A}" type="parTrans" cxnId="{693EC991-026C-4869-BFA3-BF48EA6C4E6E}">
      <dgm:prSet/>
      <dgm:spPr/>
      <dgm:t>
        <a:bodyPr/>
        <a:lstStyle/>
        <a:p>
          <a:endParaRPr lang="de-DE"/>
        </a:p>
      </dgm:t>
    </dgm:pt>
    <dgm:pt modelId="{DB083896-ABFC-4C1F-8FF0-ECF5AFA56B83}" type="sibTrans" cxnId="{693EC991-026C-4869-BFA3-BF48EA6C4E6E}">
      <dgm:prSet/>
      <dgm:spPr/>
      <dgm:t>
        <a:bodyPr/>
        <a:lstStyle/>
        <a:p>
          <a:endParaRPr lang="de-DE"/>
        </a:p>
      </dgm:t>
    </dgm:pt>
    <dgm:pt modelId="{AB306E7F-BBFE-4840-97DE-4860B97247CD}" type="pres">
      <dgm:prSet presAssocID="{B9C32B05-62EA-407A-B21C-2310C7945705}" presName="Name0" presStyleCnt="0">
        <dgm:presLayoutVars>
          <dgm:dir/>
          <dgm:resizeHandles val="exact"/>
        </dgm:presLayoutVars>
      </dgm:prSet>
      <dgm:spPr/>
    </dgm:pt>
    <dgm:pt modelId="{B9826503-FF9C-6249-9C5E-E871F59DF66E}" type="pres">
      <dgm:prSet presAssocID="{42D71409-67F9-455C-8C6D-716D284AAA6B}" presName="parAndChTx" presStyleLbl="node1" presStyleIdx="0" presStyleCnt="5">
        <dgm:presLayoutVars>
          <dgm:bulletEnabled val="1"/>
        </dgm:presLayoutVars>
      </dgm:prSet>
      <dgm:spPr/>
    </dgm:pt>
    <dgm:pt modelId="{9E68C294-9D60-C64E-831C-8471394B08F2}" type="pres">
      <dgm:prSet presAssocID="{478B7D3C-9FB4-4BC6-90AC-49960560DECD}" presName="parAndChSpace" presStyleCnt="0"/>
      <dgm:spPr/>
    </dgm:pt>
    <dgm:pt modelId="{CE4FB90A-23D3-624D-9472-058615351CBF}" type="pres">
      <dgm:prSet presAssocID="{F66099B6-DBBD-4AB0-82D2-877B80F846F7}" presName="parAndChTx" presStyleLbl="node1" presStyleIdx="1" presStyleCnt="5" custLinFactNeighborX="238">
        <dgm:presLayoutVars>
          <dgm:bulletEnabled val="1"/>
        </dgm:presLayoutVars>
      </dgm:prSet>
      <dgm:spPr>
        <a:xfrm>
          <a:off x="2139347" y="1032955"/>
          <a:ext cx="2670883" cy="2136706"/>
        </a:xfrm>
        <a:prstGeom prst="chevron">
          <a:avLst>
            <a:gd name="adj" fmla="val 25000"/>
          </a:avLst>
        </a:prstGeom>
      </dgm:spPr>
    </dgm:pt>
    <dgm:pt modelId="{85FAA2A2-408F-4949-BE8D-AD37BDF00EDF}" type="pres">
      <dgm:prSet presAssocID="{BC531B32-9B0E-482E-BF91-65C61F17168D}" presName="parAndChSpace" presStyleCnt="0"/>
      <dgm:spPr/>
    </dgm:pt>
    <dgm:pt modelId="{C15471C6-BFF9-794C-A967-24D4510CC0B1}" type="pres">
      <dgm:prSet presAssocID="{EE62A4F6-4AC4-435B-990E-81A71CE8CAC7}" presName="parAndChTx" presStyleLbl="node1" presStyleIdx="2" presStyleCnt="5" custLinFactNeighborX="478">
        <dgm:presLayoutVars>
          <dgm:bulletEnabled val="1"/>
        </dgm:presLayoutVars>
      </dgm:prSet>
      <dgm:spPr>
        <a:xfrm>
          <a:off x="4277336" y="1032955"/>
          <a:ext cx="2670883" cy="2136706"/>
        </a:xfrm>
        <a:prstGeom prst="chevron">
          <a:avLst>
            <a:gd name="adj" fmla="val 25000"/>
          </a:avLst>
        </a:prstGeom>
      </dgm:spPr>
    </dgm:pt>
    <dgm:pt modelId="{3B48E58C-E618-4C44-8650-13C0E456C746}" type="pres">
      <dgm:prSet presAssocID="{389F9A93-0231-4877-8C41-5D5B8DD7AAC0}" presName="parAndChSpace" presStyleCnt="0"/>
      <dgm:spPr/>
    </dgm:pt>
    <dgm:pt modelId="{06E132D3-40E2-204E-AF8C-A0D9B0AEDE48}" type="pres">
      <dgm:prSet presAssocID="{2A22E84C-3AA3-4E9C-AE5F-9C2FB0D7FB11}" presName="parAndChTx" presStyleLbl="node1" presStyleIdx="3" presStyleCnt="5" custLinFactNeighborX="808">
        <dgm:presLayoutVars>
          <dgm:bulletEnabled val="1"/>
        </dgm:presLayoutVars>
      </dgm:prSet>
      <dgm:spPr>
        <a:xfrm>
          <a:off x="6415806" y="1032955"/>
          <a:ext cx="2670883" cy="2136706"/>
        </a:xfrm>
        <a:prstGeom prst="chevron">
          <a:avLst>
            <a:gd name="adj" fmla="val 25000"/>
          </a:avLst>
        </a:prstGeom>
      </dgm:spPr>
    </dgm:pt>
    <dgm:pt modelId="{0533F1AC-E484-2A4A-87E0-4742A07FFE2C}" type="pres">
      <dgm:prSet presAssocID="{744EA591-F199-49C2-B63A-82709D96C729}" presName="parAndChSpace" presStyleCnt="0"/>
      <dgm:spPr/>
    </dgm:pt>
    <dgm:pt modelId="{182A42C9-E9CF-A141-834A-3F05F838D1A7}" type="pres">
      <dgm:prSet presAssocID="{36045517-CEA4-4BE3-B836-C2B6BFE5649B}" presName="parAndChTx" presStyleLbl="node1" presStyleIdx="4" presStyleCnt="5" custLinFactNeighborX="2247">
        <dgm:presLayoutVars>
          <dgm:bulletEnabled val="1"/>
        </dgm:presLayoutVars>
      </dgm:prSet>
      <dgm:spPr>
        <a:xfrm>
          <a:off x="8549566" y="1032955"/>
          <a:ext cx="2670883" cy="2136706"/>
        </a:xfrm>
        <a:prstGeom prst="chevron">
          <a:avLst>
            <a:gd name="adj" fmla="val 25000"/>
          </a:avLst>
        </a:prstGeom>
      </dgm:spPr>
    </dgm:pt>
  </dgm:ptLst>
  <dgm:cxnLst>
    <dgm:cxn modelId="{F2BC8F1B-6C7C-4037-8FA2-511BCA555262}" type="presOf" srcId="{0507EB23-E579-4478-95DE-8B3AF2785525}" destId="{B9826503-FF9C-6249-9C5E-E871F59DF66E}" srcOrd="0" destOrd="1" presId="urn:microsoft.com/office/officeart/2005/8/layout/hChevron3"/>
    <dgm:cxn modelId="{61D7941F-5EBF-492C-9D57-B49C1BE1EA1C}" type="presOf" srcId="{B6AA7AF8-8E5E-423B-AEC6-2E09EFA77200}" destId="{CE4FB90A-23D3-624D-9472-058615351CBF}" srcOrd="0" destOrd="1" presId="urn:microsoft.com/office/officeart/2005/8/layout/hChevron3"/>
    <dgm:cxn modelId="{2AA9C11F-1F1D-428E-801A-47EAA766C99D}" srcId="{B9C32B05-62EA-407A-B21C-2310C7945705}" destId="{42D71409-67F9-455C-8C6D-716D284AAA6B}" srcOrd="0" destOrd="0" parTransId="{51680ED1-AF6E-4B28-AE94-92B0EFB0DF7D}" sibTransId="{478B7D3C-9FB4-4BC6-90AC-49960560DECD}"/>
    <dgm:cxn modelId="{ABA3BF23-2693-4748-83C4-FB11E5E5797D}" srcId="{EE62A4F6-4AC4-435B-990E-81A71CE8CAC7}" destId="{0AB8619A-0452-4DF6-A6EC-13D6C3FEA353}" srcOrd="0" destOrd="0" parTransId="{D5BEE2A3-7ECD-4721-A190-18464DE8C0F9}" sibTransId="{F4FBC88E-4EF8-494E-AA3E-374D5200B01A}"/>
    <dgm:cxn modelId="{B4F3EA32-CE64-4A92-9BAE-BC57E5392B05}" srcId="{B9C32B05-62EA-407A-B21C-2310C7945705}" destId="{F66099B6-DBBD-4AB0-82D2-877B80F846F7}" srcOrd="1" destOrd="0" parTransId="{B09C8BFB-F41C-4AC4-AB94-F216E3081C2D}" sibTransId="{BC531B32-9B0E-482E-BF91-65C61F17168D}"/>
    <dgm:cxn modelId="{A947D035-0B8B-4855-A643-AE9D369D77DA}" srcId="{36045517-CEA4-4BE3-B836-C2B6BFE5649B}" destId="{F8E3A3B7-F438-45D5-A29C-F200999E4D00}" srcOrd="0" destOrd="0" parTransId="{EBE74FE5-8352-47B1-A213-85F22B3EEE1C}" sibTransId="{37D7261F-5B1C-4A5C-8B6C-844FD207F39B}"/>
    <dgm:cxn modelId="{42B37039-7118-4F21-A9FF-9D52EC739763}" type="presOf" srcId="{0AB8619A-0452-4DF6-A6EC-13D6C3FEA353}" destId="{C15471C6-BFF9-794C-A967-24D4510CC0B1}" srcOrd="0" destOrd="1" presId="urn:microsoft.com/office/officeart/2005/8/layout/hChevron3"/>
    <dgm:cxn modelId="{4019353B-443B-4DED-AA6C-3C60E18414C7}" srcId="{B9C32B05-62EA-407A-B21C-2310C7945705}" destId="{36045517-CEA4-4BE3-B836-C2B6BFE5649B}" srcOrd="4" destOrd="0" parTransId="{6231A36F-9B04-4B4A-917A-7E163AFFC956}" sibTransId="{BFF3C5ED-87D0-4709-A3B8-A7BF0668006A}"/>
    <dgm:cxn modelId="{C8158E5D-1174-49CF-B0BC-8D9A56B46C7F}" type="presOf" srcId="{BEB62D13-5BEC-4977-8F6F-8C3F28961E3C}" destId="{06E132D3-40E2-204E-AF8C-A0D9B0AEDE48}" srcOrd="0" destOrd="1" presId="urn:microsoft.com/office/officeart/2005/8/layout/hChevron3"/>
    <dgm:cxn modelId="{C372D560-F3C4-4CD5-91B5-7198B58A4521}" type="presOf" srcId="{DBCD5B3C-A86D-47A2-8434-08E893599803}" destId="{B9826503-FF9C-6249-9C5E-E871F59DF66E}" srcOrd="0" destOrd="2" presId="urn:microsoft.com/office/officeart/2005/8/layout/hChevron3"/>
    <dgm:cxn modelId="{0B5FD747-676C-4F70-8EA0-D706FAAD205B}" srcId="{42D71409-67F9-455C-8C6D-716D284AAA6B}" destId="{DBCD5B3C-A86D-47A2-8434-08E893599803}" srcOrd="1" destOrd="0" parTransId="{E6ED9BA8-1290-4AB4-B022-0176401CC517}" sibTransId="{FEF86C3F-064E-4F3B-9B4B-2A707289F53B}"/>
    <dgm:cxn modelId="{FF5BCB6A-3DC2-4341-9559-9552C881344C}" srcId="{36045517-CEA4-4BE3-B836-C2B6BFE5649B}" destId="{DD4E9A18-2A8A-4AA0-802F-381B7855DAA1}" srcOrd="2" destOrd="0" parTransId="{B530A2DD-29FD-49B0-9122-03FC27C2B2DF}" sibTransId="{592B1058-E6E3-4713-B13C-71CDE231CE94}"/>
    <dgm:cxn modelId="{79319D4F-6831-44C3-854B-6DFD55FEB07A}" srcId="{F66099B6-DBBD-4AB0-82D2-877B80F846F7}" destId="{B6AA7AF8-8E5E-423B-AEC6-2E09EFA77200}" srcOrd="0" destOrd="0" parTransId="{DD3AAC74-1FDB-4118-80FD-2C9569C48377}" sibTransId="{DC7A4BE5-4896-420E-85A6-C4D22092C1F7}"/>
    <dgm:cxn modelId="{57067E7C-465C-408D-9CC6-985179C67C9C}" type="presOf" srcId="{2C1A310C-0742-4EDF-B6C2-AAA95824EA58}" destId="{182A42C9-E9CF-A141-834A-3F05F838D1A7}" srcOrd="0" destOrd="2" presId="urn:microsoft.com/office/officeart/2005/8/layout/hChevron3"/>
    <dgm:cxn modelId="{7AA7B47E-E3A5-42C3-9F2F-0F9F36F637EE}" srcId="{EE62A4F6-4AC4-435B-990E-81A71CE8CAC7}" destId="{441560A4-7875-49E8-B728-BB801DDA4220}" srcOrd="1" destOrd="0" parTransId="{4F5759A7-B651-4547-82AB-B8A685B0FD29}" sibTransId="{5D922C9D-E664-4032-B6A0-5290EED9F7FE}"/>
    <dgm:cxn modelId="{6098A082-8692-AB46-984B-7F99438C1E5E}" type="presOf" srcId="{2A22E84C-3AA3-4E9C-AE5F-9C2FB0D7FB11}" destId="{06E132D3-40E2-204E-AF8C-A0D9B0AEDE48}" srcOrd="0" destOrd="0" presId="urn:microsoft.com/office/officeart/2005/8/layout/hChevron3"/>
    <dgm:cxn modelId="{499AFE89-1C22-4809-A31B-44BC6F87F2FD}" type="presOf" srcId="{DD4E9A18-2A8A-4AA0-802F-381B7855DAA1}" destId="{182A42C9-E9CF-A141-834A-3F05F838D1A7}" srcOrd="0" destOrd="3" presId="urn:microsoft.com/office/officeart/2005/8/layout/hChevron3"/>
    <dgm:cxn modelId="{693EC991-026C-4869-BFA3-BF48EA6C4E6E}" srcId="{F66099B6-DBBD-4AB0-82D2-877B80F846F7}" destId="{864DB7B0-E11A-4971-BF5D-0F0DFBBB19FE}" srcOrd="1" destOrd="0" parTransId="{7643EDC4-AD7D-4232-A16E-779451AE243A}" sibTransId="{DB083896-ABFC-4C1F-8FF0-ECF5AFA56B83}"/>
    <dgm:cxn modelId="{502E20A1-8C8D-45D8-898C-C1D40345B0FD}" type="presOf" srcId="{441560A4-7875-49E8-B728-BB801DDA4220}" destId="{C15471C6-BFF9-794C-A967-24D4510CC0B1}" srcOrd="0" destOrd="2" presId="urn:microsoft.com/office/officeart/2005/8/layout/hChevron3"/>
    <dgm:cxn modelId="{3A2CECA6-0C5B-46BB-B7C6-7D37E9D210BD}" srcId="{B9C32B05-62EA-407A-B21C-2310C7945705}" destId="{EE62A4F6-4AC4-435B-990E-81A71CE8CAC7}" srcOrd="2" destOrd="0" parTransId="{F287B947-7343-4FA2-B288-B23A59FFAE31}" sibTransId="{389F9A93-0231-4877-8C41-5D5B8DD7AAC0}"/>
    <dgm:cxn modelId="{5FC5EAA9-04D6-4B44-89E3-55C1C95F6D03}" type="presOf" srcId="{42D71409-67F9-455C-8C6D-716D284AAA6B}" destId="{B9826503-FF9C-6249-9C5E-E871F59DF66E}" srcOrd="0" destOrd="0" presId="urn:microsoft.com/office/officeart/2005/8/layout/hChevron3"/>
    <dgm:cxn modelId="{6C3A2DC2-4534-444F-B2A4-EC21C4097F1A}" type="presOf" srcId="{36045517-CEA4-4BE3-B836-C2B6BFE5649B}" destId="{182A42C9-E9CF-A141-834A-3F05F838D1A7}" srcOrd="0" destOrd="0" presId="urn:microsoft.com/office/officeart/2005/8/layout/hChevron3"/>
    <dgm:cxn modelId="{23187EE2-FDCB-4AAD-AE08-981877358273}" type="presOf" srcId="{864DB7B0-E11A-4971-BF5D-0F0DFBBB19FE}" destId="{CE4FB90A-23D3-624D-9472-058615351CBF}" srcOrd="0" destOrd="2" presId="urn:microsoft.com/office/officeart/2005/8/layout/hChevron3"/>
    <dgm:cxn modelId="{0D6EFCC2-FDF8-4F6E-9A5E-CA692745C16F}" srcId="{42D71409-67F9-455C-8C6D-716D284AAA6B}" destId="{0507EB23-E579-4478-95DE-8B3AF2785525}" srcOrd="0" destOrd="0" parTransId="{F3890ED8-B1A6-42C1-ACD6-91916746AB30}" sibTransId="{123B8FA7-F5AC-4574-A3AA-6A93B87ED425}"/>
    <dgm:cxn modelId="{FCA4F9E3-5AF9-3B44-BC86-C54CC8DA7F56}" type="presOf" srcId="{EE62A4F6-4AC4-435B-990E-81A71CE8CAC7}" destId="{C15471C6-BFF9-794C-A967-24D4510CC0B1}" srcOrd="0" destOrd="0" presId="urn:microsoft.com/office/officeart/2005/8/layout/hChevron3"/>
    <dgm:cxn modelId="{BEB859E7-C343-408E-86A1-667C27EE5761}" srcId="{B9C32B05-62EA-407A-B21C-2310C7945705}" destId="{2A22E84C-3AA3-4E9C-AE5F-9C2FB0D7FB11}" srcOrd="3" destOrd="0" parTransId="{6C025E55-DF42-4C5D-AFD5-6015FA053D46}" sibTransId="{744EA591-F199-49C2-B63A-82709D96C729}"/>
    <dgm:cxn modelId="{7CF965CB-6E73-8C40-A714-E58570D12267}" type="presOf" srcId="{F66099B6-DBBD-4AB0-82D2-877B80F846F7}" destId="{CE4FB90A-23D3-624D-9472-058615351CBF}" srcOrd="0" destOrd="0" presId="urn:microsoft.com/office/officeart/2005/8/layout/hChevron3"/>
    <dgm:cxn modelId="{771A36CD-2BA5-154E-AC00-01B6378AFB6D}" type="presOf" srcId="{B9C32B05-62EA-407A-B21C-2310C7945705}" destId="{AB306E7F-BBFE-4840-97DE-4860B97247CD}" srcOrd="0" destOrd="0" presId="urn:microsoft.com/office/officeart/2005/8/layout/hChevron3"/>
    <dgm:cxn modelId="{AAFDC6CD-9789-4F2F-9856-AFA5819D6635}" type="presOf" srcId="{F120C875-C509-4081-87E6-6350904753BD}" destId="{06E132D3-40E2-204E-AF8C-A0D9B0AEDE48}" srcOrd="0" destOrd="2" presId="urn:microsoft.com/office/officeart/2005/8/layout/hChevron3"/>
    <dgm:cxn modelId="{701333CE-F8FE-470A-9DFD-70A4933969B2}" type="presOf" srcId="{F8E3A3B7-F438-45D5-A29C-F200999E4D00}" destId="{182A42C9-E9CF-A141-834A-3F05F838D1A7}" srcOrd="0" destOrd="1" presId="urn:microsoft.com/office/officeart/2005/8/layout/hChevron3"/>
    <dgm:cxn modelId="{8330F4DB-2FD0-423F-AB4F-95EACD0A5EE0}" srcId="{2A22E84C-3AA3-4E9C-AE5F-9C2FB0D7FB11}" destId="{F120C875-C509-4081-87E6-6350904753BD}" srcOrd="1" destOrd="0" parTransId="{2E0E720D-110C-4EE4-9D09-849E526553BD}" sibTransId="{4AE28C9C-610B-4512-A6F1-FEDBA241D3BF}"/>
    <dgm:cxn modelId="{7B2A6EFC-8581-4620-BBCC-B284DF1E9409}" srcId="{36045517-CEA4-4BE3-B836-C2B6BFE5649B}" destId="{2C1A310C-0742-4EDF-B6C2-AAA95824EA58}" srcOrd="1" destOrd="0" parTransId="{7304ED03-F122-486A-86B7-93A60B133365}" sibTransId="{B776D3FC-BA83-4F3C-BA4B-FDAF92FD455F}"/>
    <dgm:cxn modelId="{510BD0FD-48A2-409A-9661-4730A7BB49EB}" srcId="{2A22E84C-3AA3-4E9C-AE5F-9C2FB0D7FB11}" destId="{BEB62D13-5BEC-4977-8F6F-8C3F28961E3C}" srcOrd="0" destOrd="0" parTransId="{AFDEEA22-B0CB-46D5-9C89-0EFDEF63C529}" sibTransId="{B82C9051-9E34-472E-9E48-606FCAEFDEC6}"/>
    <dgm:cxn modelId="{DE6ACD62-BCE5-D54F-A6F6-A039788F89A4}" type="presParOf" srcId="{AB306E7F-BBFE-4840-97DE-4860B97247CD}" destId="{B9826503-FF9C-6249-9C5E-E871F59DF66E}" srcOrd="0" destOrd="0" presId="urn:microsoft.com/office/officeart/2005/8/layout/hChevron3"/>
    <dgm:cxn modelId="{69B8145E-251F-EE4F-ABCC-4048475C3A0B}" type="presParOf" srcId="{AB306E7F-BBFE-4840-97DE-4860B97247CD}" destId="{9E68C294-9D60-C64E-831C-8471394B08F2}" srcOrd="1" destOrd="0" presId="urn:microsoft.com/office/officeart/2005/8/layout/hChevron3"/>
    <dgm:cxn modelId="{446E00F2-6ACA-2F4D-AD09-C2B503BFF403}" type="presParOf" srcId="{AB306E7F-BBFE-4840-97DE-4860B97247CD}" destId="{CE4FB90A-23D3-624D-9472-058615351CBF}" srcOrd="2" destOrd="0" presId="urn:microsoft.com/office/officeart/2005/8/layout/hChevron3"/>
    <dgm:cxn modelId="{8A768791-3A2E-5E46-8EC8-7EB78D621572}" type="presParOf" srcId="{AB306E7F-BBFE-4840-97DE-4860B97247CD}" destId="{85FAA2A2-408F-4949-BE8D-AD37BDF00EDF}" srcOrd="3" destOrd="0" presId="urn:microsoft.com/office/officeart/2005/8/layout/hChevron3"/>
    <dgm:cxn modelId="{C1D9DDFB-5AC1-9646-9109-D9DD986BA471}" type="presParOf" srcId="{AB306E7F-BBFE-4840-97DE-4860B97247CD}" destId="{C15471C6-BFF9-794C-A967-24D4510CC0B1}" srcOrd="4" destOrd="0" presId="urn:microsoft.com/office/officeart/2005/8/layout/hChevron3"/>
    <dgm:cxn modelId="{6CE53580-37BA-034B-954B-1670DB41C869}" type="presParOf" srcId="{AB306E7F-BBFE-4840-97DE-4860B97247CD}" destId="{3B48E58C-E618-4C44-8650-13C0E456C746}" srcOrd="5" destOrd="0" presId="urn:microsoft.com/office/officeart/2005/8/layout/hChevron3"/>
    <dgm:cxn modelId="{180A4A5F-14AD-1B4A-9A63-493764DC42F5}" type="presParOf" srcId="{AB306E7F-BBFE-4840-97DE-4860B97247CD}" destId="{06E132D3-40E2-204E-AF8C-A0D9B0AEDE48}" srcOrd="6" destOrd="0" presId="urn:microsoft.com/office/officeart/2005/8/layout/hChevron3"/>
    <dgm:cxn modelId="{6B7BD185-3558-7640-B604-34855655EFEF}" type="presParOf" srcId="{AB306E7F-BBFE-4840-97DE-4860B97247CD}" destId="{0533F1AC-E484-2A4A-87E0-4742A07FFE2C}" srcOrd="7" destOrd="0" presId="urn:microsoft.com/office/officeart/2005/8/layout/hChevron3"/>
    <dgm:cxn modelId="{D119BBE3-A07C-C14E-B21C-1D5467E28D9F}" type="presParOf" srcId="{AB306E7F-BBFE-4840-97DE-4860B97247CD}" destId="{182A42C9-E9CF-A141-834A-3F05F838D1A7}" srcOrd="8" destOrd="0" presId="urn:microsoft.com/office/officeart/2005/8/layout/hChevron3"/>
  </dgm:cxnLst>
  <dgm:bg>
    <a:noFill/>
  </dgm:bg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B9C32B05-62EA-407A-B21C-2310C7945705}" type="doc">
      <dgm:prSet loTypeId="urn:microsoft.com/office/officeart/2005/8/layout/cycle4" loCatId="matrix" qsTypeId="urn:microsoft.com/office/officeart/2005/8/quickstyle/simple4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8EA7219F-BDB2-48EB-9EEB-3133522D132E}">
      <dgm:prSet phldrT="[Text]" custT="1"/>
      <dgm:spPr>
        <a:solidFill>
          <a:schemeClr val="accent1"/>
        </a:solidFill>
        <a:effectLst/>
      </dgm:spPr>
      <dgm:t>
        <a:bodyPr/>
        <a:lstStyle/>
        <a:p>
          <a:r>
            <a:rPr lang="de-DE" sz="2400" dirty="0" err="1"/>
            <a:t>Lorem</a:t>
          </a:r>
          <a:r>
            <a:rPr lang="de-DE" sz="2400" dirty="0"/>
            <a:t> Ipsum</a:t>
          </a:r>
        </a:p>
      </dgm:t>
    </dgm:pt>
    <dgm:pt modelId="{3EE8403A-CB7C-4815-85BD-AEBCAEB71B37}" type="parTrans" cxnId="{58AD7EEF-D408-406B-87EE-4691D4C30668}">
      <dgm:prSet/>
      <dgm:spPr/>
      <dgm:t>
        <a:bodyPr/>
        <a:lstStyle/>
        <a:p>
          <a:endParaRPr lang="en-US"/>
        </a:p>
      </dgm:t>
    </dgm:pt>
    <dgm:pt modelId="{C94B7947-85DC-4B21-BB99-DF8438356F98}" type="sibTrans" cxnId="{58AD7EEF-D408-406B-87EE-4691D4C30668}">
      <dgm:prSet/>
      <dgm:spPr/>
      <dgm:t>
        <a:bodyPr/>
        <a:lstStyle/>
        <a:p>
          <a:endParaRPr lang="en-US"/>
        </a:p>
      </dgm:t>
    </dgm:pt>
    <dgm:pt modelId="{DDE0D928-D49D-4A27-8E92-3130B9320568}">
      <dgm:prSet phldrT="[Text]" custT="1"/>
      <dgm:spPr>
        <a:solidFill>
          <a:schemeClr val="bg2">
            <a:lumMod val="40000"/>
            <a:lumOff val="60000"/>
          </a:schemeClr>
        </a:solidFill>
        <a:ln>
          <a:noFill/>
        </a:ln>
      </dgm:spPr>
      <dgm:t>
        <a:bodyPr lIns="180000" tIns="108000"/>
        <a:lstStyle/>
        <a:p>
          <a:pPr marL="180000" indent="-180000">
            <a:lnSpc>
              <a:spcPct val="110000"/>
            </a:lnSpc>
            <a:buClr>
              <a:schemeClr val="accent1"/>
            </a:buClr>
            <a:buFont typeface="Wingdings" panose="05000000000000000000" pitchFamily="2" charset="2"/>
            <a:buChar char="§"/>
          </a:pPr>
          <a:r>
            <a:rPr lang="en-US" sz="1400" kern="1200" dirty="0">
              <a:solidFill>
                <a:schemeClr val="tx1"/>
              </a:solidFill>
            </a:rPr>
            <a:t>Lorem ipsum dolor sit</a:t>
          </a:r>
          <a:endParaRPr lang="en-US" sz="1400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</dgm:t>
    </dgm:pt>
    <dgm:pt modelId="{BD8A01E6-DCFB-4634-AA12-EAF5B15F9CCB}" type="parTrans" cxnId="{2709EABC-E6A1-4AF4-BB66-635BCC932127}">
      <dgm:prSet/>
      <dgm:spPr/>
      <dgm:t>
        <a:bodyPr/>
        <a:lstStyle/>
        <a:p>
          <a:endParaRPr lang="en-US"/>
        </a:p>
      </dgm:t>
    </dgm:pt>
    <dgm:pt modelId="{4311EAF2-34EE-4C77-BBCA-D60A3715C931}" type="sibTrans" cxnId="{2709EABC-E6A1-4AF4-BB66-635BCC932127}">
      <dgm:prSet/>
      <dgm:spPr/>
      <dgm:t>
        <a:bodyPr/>
        <a:lstStyle/>
        <a:p>
          <a:endParaRPr lang="en-US"/>
        </a:p>
      </dgm:t>
    </dgm:pt>
    <dgm:pt modelId="{F3FA86F7-575E-4FDD-B637-1D7276F725A4}">
      <dgm:prSet phldrT="[Text]" custT="1"/>
      <dgm:spPr>
        <a:solidFill>
          <a:schemeClr val="accent2"/>
        </a:solidFill>
        <a:effectLst/>
      </dgm:spPr>
      <dgm:t>
        <a:bodyPr/>
        <a:lstStyle/>
        <a:p>
          <a:r>
            <a:rPr lang="de-DE" sz="2400" dirty="0" err="1"/>
            <a:t>Lorem</a:t>
          </a:r>
          <a:r>
            <a:rPr lang="de-DE" sz="2400" dirty="0"/>
            <a:t> Ipsum</a:t>
          </a:r>
        </a:p>
      </dgm:t>
    </dgm:pt>
    <dgm:pt modelId="{192CD16B-FA85-49AB-96EA-80094BA41ED5}" type="parTrans" cxnId="{B38DB338-3B1E-4324-A45E-8025E9D81450}">
      <dgm:prSet/>
      <dgm:spPr/>
      <dgm:t>
        <a:bodyPr/>
        <a:lstStyle/>
        <a:p>
          <a:endParaRPr lang="en-US"/>
        </a:p>
      </dgm:t>
    </dgm:pt>
    <dgm:pt modelId="{BEF45895-E33A-456A-85CE-5D5DFC2CF2C9}" type="sibTrans" cxnId="{B38DB338-3B1E-4324-A45E-8025E9D81450}">
      <dgm:prSet/>
      <dgm:spPr/>
      <dgm:t>
        <a:bodyPr/>
        <a:lstStyle/>
        <a:p>
          <a:endParaRPr lang="en-US"/>
        </a:p>
      </dgm:t>
    </dgm:pt>
    <dgm:pt modelId="{8BA28110-3C4D-4B65-A456-1880B9B8C044}">
      <dgm:prSet phldrT="[Text]" custT="1"/>
      <dgm:spPr>
        <a:solidFill>
          <a:schemeClr val="bg2">
            <a:lumMod val="40000"/>
            <a:lumOff val="60000"/>
          </a:schemeClr>
        </a:solidFill>
        <a:ln>
          <a:noFill/>
        </a:ln>
      </dgm:spPr>
      <dgm:t>
        <a:bodyPr tIns="108000"/>
        <a:lstStyle/>
        <a:p>
          <a:pPr marL="180000" indent="-180000">
            <a:lnSpc>
              <a:spcPct val="110000"/>
            </a:lnSpc>
            <a:buClr>
              <a:schemeClr val="accent1"/>
            </a:buClr>
            <a:buFont typeface="Wingdings" panose="05000000000000000000" pitchFamily="2" charset="2"/>
            <a:buChar char="§"/>
          </a:pPr>
          <a:r>
            <a:rPr lang="en-US" sz="1400" kern="1200" dirty="0">
              <a:solidFill>
                <a:schemeClr val="tx1"/>
              </a:solidFill>
            </a:rPr>
            <a:t>Lorem ipsum dolor sit</a:t>
          </a:r>
          <a:endParaRPr lang="en-US" sz="1400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</dgm:t>
    </dgm:pt>
    <dgm:pt modelId="{92633400-0D09-4796-9848-67220ABE14A1}" type="parTrans" cxnId="{1D896142-E250-41E4-8577-114DB897E5B3}">
      <dgm:prSet/>
      <dgm:spPr/>
      <dgm:t>
        <a:bodyPr/>
        <a:lstStyle/>
        <a:p>
          <a:endParaRPr lang="en-US"/>
        </a:p>
      </dgm:t>
    </dgm:pt>
    <dgm:pt modelId="{AADC4A7F-BF6D-4764-B281-1669C0CA9F6D}" type="sibTrans" cxnId="{1D896142-E250-41E4-8577-114DB897E5B3}">
      <dgm:prSet/>
      <dgm:spPr/>
      <dgm:t>
        <a:bodyPr/>
        <a:lstStyle/>
        <a:p>
          <a:endParaRPr lang="en-US"/>
        </a:p>
      </dgm:t>
    </dgm:pt>
    <dgm:pt modelId="{8D3744A8-1883-4930-8E0D-B57E26D003C6}">
      <dgm:prSet phldrT="[Text]" custT="1"/>
      <dgm:spPr>
        <a:solidFill>
          <a:schemeClr val="accent3"/>
        </a:solidFill>
        <a:effectLst/>
      </dgm:spPr>
      <dgm:t>
        <a:bodyPr/>
        <a:lstStyle/>
        <a:p>
          <a:r>
            <a:rPr lang="de-DE" sz="2400" dirty="0" err="1"/>
            <a:t>Lorem</a:t>
          </a:r>
          <a:r>
            <a:rPr lang="de-DE" sz="2400" dirty="0"/>
            <a:t> Ipsum</a:t>
          </a:r>
        </a:p>
      </dgm:t>
    </dgm:pt>
    <dgm:pt modelId="{AC9EAF57-EBF1-4FB7-8ED0-6ECFF59ADE74}" type="parTrans" cxnId="{C8FCCD3C-805E-4A27-964D-25DE1206ADCA}">
      <dgm:prSet/>
      <dgm:spPr/>
      <dgm:t>
        <a:bodyPr/>
        <a:lstStyle/>
        <a:p>
          <a:endParaRPr lang="en-US"/>
        </a:p>
      </dgm:t>
    </dgm:pt>
    <dgm:pt modelId="{D40CF7D9-D0C3-4084-8D2D-359654C28D0F}" type="sibTrans" cxnId="{C8FCCD3C-805E-4A27-964D-25DE1206ADCA}">
      <dgm:prSet/>
      <dgm:spPr/>
      <dgm:t>
        <a:bodyPr/>
        <a:lstStyle/>
        <a:p>
          <a:endParaRPr lang="en-US"/>
        </a:p>
      </dgm:t>
    </dgm:pt>
    <dgm:pt modelId="{D8973F44-FCAF-442F-8783-A2866965AAB6}">
      <dgm:prSet phldrT="[Text]" custT="1"/>
      <dgm:spPr>
        <a:solidFill>
          <a:schemeClr val="bg2">
            <a:lumMod val="40000"/>
            <a:lumOff val="60000"/>
          </a:schemeClr>
        </a:solidFill>
        <a:ln>
          <a:noFill/>
        </a:ln>
      </dgm:spPr>
      <dgm:t>
        <a:bodyPr tIns="108000" anchor="t" anchorCtr="0"/>
        <a:lstStyle/>
        <a:p>
          <a:pPr marL="180000" indent="-180000">
            <a:lnSpc>
              <a:spcPct val="110000"/>
            </a:lnSpc>
            <a:buClr>
              <a:schemeClr val="accent1"/>
            </a:buClr>
            <a:buFont typeface="Wingdings" panose="05000000000000000000" pitchFamily="2" charset="2"/>
            <a:buChar char="§"/>
          </a:pPr>
          <a:r>
            <a:rPr lang="en-US" sz="1400" kern="1200" dirty="0">
              <a:solidFill>
                <a:schemeClr val="tx1"/>
              </a:solidFill>
            </a:rPr>
            <a:t>Lorem ipsum dolor sit</a:t>
          </a:r>
          <a:endParaRPr lang="en-US" sz="1400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</dgm:t>
    </dgm:pt>
    <dgm:pt modelId="{9EAF4DA5-D298-43E0-A006-BCCDFAE7E227}" type="parTrans" cxnId="{415456D2-5524-4ED8-BB57-0C45DD400A8A}">
      <dgm:prSet/>
      <dgm:spPr/>
      <dgm:t>
        <a:bodyPr/>
        <a:lstStyle/>
        <a:p>
          <a:endParaRPr lang="en-US"/>
        </a:p>
      </dgm:t>
    </dgm:pt>
    <dgm:pt modelId="{CB1C23B7-F69D-48F6-BA22-0FD16D3A82BE}" type="sibTrans" cxnId="{415456D2-5524-4ED8-BB57-0C45DD400A8A}">
      <dgm:prSet/>
      <dgm:spPr/>
      <dgm:t>
        <a:bodyPr/>
        <a:lstStyle/>
        <a:p>
          <a:endParaRPr lang="en-US"/>
        </a:p>
      </dgm:t>
    </dgm:pt>
    <dgm:pt modelId="{BB36F745-62BA-4892-99D7-E4239B0F3843}">
      <dgm:prSet phldrT="[Text]" custT="1"/>
      <dgm:spPr>
        <a:solidFill>
          <a:schemeClr val="accent4"/>
        </a:solidFill>
        <a:effectLst/>
      </dgm:spPr>
      <dgm:t>
        <a:bodyPr/>
        <a:lstStyle/>
        <a:p>
          <a:r>
            <a:rPr lang="de-DE" sz="2400" dirty="0" err="1">
              <a:latin typeface="+mn-lt"/>
            </a:rPr>
            <a:t>Lorem</a:t>
          </a:r>
          <a:r>
            <a:rPr lang="de-DE" sz="2400" dirty="0"/>
            <a:t> Ipsum</a:t>
          </a:r>
        </a:p>
      </dgm:t>
    </dgm:pt>
    <dgm:pt modelId="{CE269D49-A2E4-44F1-A948-9BE1FE5D6140}" type="parTrans" cxnId="{C96A1F07-338B-48CD-B344-80BE34A6C9DF}">
      <dgm:prSet/>
      <dgm:spPr/>
      <dgm:t>
        <a:bodyPr/>
        <a:lstStyle/>
        <a:p>
          <a:endParaRPr lang="en-US"/>
        </a:p>
      </dgm:t>
    </dgm:pt>
    <dgm:pt modelId="{5CE5B550-A310-4948-9BA1-267AF81C5FA4}" type="sibTrans" cxnId="{C96A1F07-338B-48CD-B344-80BE34A6C9DF}">
      <dgm:prSet/>
      <dgm:spPr/>
      <dgm:t>
        <a:bodyPr/>
        <a:lstStyle/>
        <a:p>
          <a:endParaRPr lang="en-US"/>
        </a:p>
      </dgm:t>
    </dgm:pt>
    <dgm:pt modelId="{B0A5C91A-6241-4BED-82F0-B735EBACD6B9}">
      <dgm:prSet phldrT="[Text]" custT="1"/>
      <dgm:spPr>
        <a:solidFill>
          <a:schemeClr val="bg2">
            <a:lumMod val="40000"/>
            <a:lumOff val="60000"/>
          </a:schemeClr>
        </a:solidFill>
        <a:ln>
          <a:noFill/>
        </a:ln>
      </dgm:spPr>
      <dgm:t>
        <a:bodyPr lIns="180000" tIns="108000" anchor="t" anchorCtr="0"/>
        <a:lstStyle/>
        <a:p>
          <a:pPr marL="180000" indent="-180000">
            <a:lnSpc>
              <a:spcPct val="110000"/>
            </a:lnSpc>
            <a:buClr>
              <a:schemeClr val="accent1"/>
            </a:buClr>
            <a:buFont typeface="Wingdings" panose="05000000000000000000" pitchFamily="2" charset="2"/>
            <a:buChar char="§"/>
          </a:pPr>
          <a:r>
            <a:rPr lang="en-US" sz="1400" kern="1200" dirty="0">
              <a:solidFill>
                <a:schemeClr val="tx1"/>
              </a:solidFill>
            </a:rPr>
            <a:t>Lorem ipsum dolor sit</a:t>
          </a:r>
          <a:endParaRPr lang="en-US" sz="1400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</dgm:t>
    </dgm:pt>
    <dgm:pt modelId="{11A957F9-0D29-4041-BB96-258FC96AFB4D}" type="parTrans" cxnId="{E39A793C-A4E9-4DE4-882C-FEA2BEB8896B}">
      <dgm:prSet/>
      <dgm:spPr/>
      <dgm:t>
        <a:bodyPr/>
        <a:lstStyle/>
        <a:p>
          <a:endParaRPr lang="en-US"/>
        </a:p>
      </dgm:t>
    </dgm:pt>
    <dgm:pt modelId="{80537C20-BA35-41C8-987F-0C39B9782FD4}" type="sibTrans" cxnId="{E39A793C-A4E9-4DE4-882C-FEA2BEB8896B}">
      <dgm:prSet/>
      <dgm:spPr/>
      <dgm:t>
        <a:bodyPr/>
        <a:lstStyle/>
        <a:p>
          <a:endParaRPr lang="en-US"/>
        </a:p>
      </dgm:t>
    </dgm:pt>
    <dgm:pt modelId="{51EDCD0C-9AEA-4632-8DED-3DB7985AC917}">
      <dgm:prSet custT="1"/>
      <dgm:spPr>
        <a:solidFill>
          <a:schemeClr val="bg2">
            <a:lumMod val="40000"/>
            <a:lumOff val="60000"/>
          </a:schemeClr>
        </a:solidFill>
        <a:ln>
          <a:noFill/>
        </a:ln>
      </dgm:spPr>
      <dgm:t>
        <a:bodyPr tIns="108000"/>
        <a:lstStyle/>
        <a:p>
          <a:pPr marL="180000" indent="-180000">
            <a:lnSpc>
              <a:spcPct val="110000"/>
            </a:lnSpc>
            <a:buClr>
              <a:schemeClr val="accent1"/>
            </a:buClr>
            <a:buFont typeface="Wingdings" panose="05000000000000000000" pitchFamily="2" charset="2"/>
            <a:buNone/>
          </a:pPr>
          <a:endParaRPr lang="en-US" sz="1400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</dgm:t>
    </dgm:pt>
    <dgm:pt modelId="{863C701C-074A-4574-B33B-04925D2BA2DD}" type="parTrans" cxnId="{78DDBE2C-A7DA-4D3F-BF96-A411AF42EF65}">
      <dgm:prSet/>
      <dgm:spPr/>
      <dgm:t>
        <a:bodyPr/>
        <a:lstStyle/>
        <a:p>
          <a:endParaRPr lang="de-DE"/>
        </a:p>
      </dgm:t>
    </dgm:pt>
    <dgm:pt modelId="{AA800176-ABFA-4F19-B258-B652F854D1F2}" type="sibTrans" cxnId="{78DDBE2C-A7DA-4D3F-BF96-A411AF42EF65}">
      <dgm:prSet/>
      <dgm:spPr/>
      <dgm:t>
        <a:bodyPr/>
        <a:lstStyle/>
        <a:p>
          <a:endParaRPr lang="de-DE"/>
        </a:p>
      </dgm:t>
    </dgm:pt>
    <dgm:pt modelId="{70E8175B-67C2-408B-A669-D1E2ADFD31D1}">
      <dgm:prSet custT="1"/>
      <dgm:spPr>
        <a:solidFill>
          <a:schemeClr val="bg2">
            <a:lumMod val="40000"/>
            <a:lumOff val="60000"/>
          </a:schemeClr>
        </a:solidFill>
        <a:ln>
          <a:noFill/>
        </a:ln>
      </dgm:spPr>
      <dgm:t>
        <a:bodyPr lIns="180000" tIns="108000" anchor="t" anchorCtr="0"/>
        <a:lstStyle/>
        <a:p>
          <a:pPr marL="180000" indent="-180000">
            <a:lnSpc>
              <a:spcPct val="110000"/>
            </a:lnSpc>
            <a:buClr>
              <a:schemeClr val="accent1"/>
            </a:buClr>
            <a:buFont typeface="Wingdings" panose="05000000000000000000" pitchFamily="2" charset="2"/>
            <a:buChar char="§"/>
          </a:pPr>
          <a:endParaRPr lang="en-US" sz="1400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</dgm:t>
    </dgm:pt>
    <dgm:pt modelId="{40072845-A510-4FBC-AE43-2AB509EB83FF}" type="parTrans" cxnId="{841C1B02-577B-4170-A74A-45100992C78C}">
      <dgm:prSet/>
      <dgm:spPr/>
      <dgm:t>
        <a:bodyPr/>
        <a:lstStyle/>
        <a:p>
          <a:endParaRPr lang="de-DE"/>
        </a:p>
      </dgm:t>
    </dgm:pt>
    <dgm:pt modelId="{EE6C6439-95B0-450E-A725-D3F2DC07A82D}" type="sibTrans" cxnId="{841C1B02-577B-4170-A74A-45100992C78C}">
      <dgm:prSet/>
      <dgm:spPr/>
      <dgm:t>
        <a:bodyPr/>
        <a:lstStyle/>
        <a:p>
          <a:endParaRPr lang="de-DE"/>
        </a:p>
      </dgm:t>
    </dgm:pt>
    <dgm:pt modelId="{5DD8BFDE-7988-4061-AFCC-D4A60239E279}">
      <dgm:prSet custT="1"/>
      <dgm:spPr>
        <a:solidFill>
          <a:schemeClr val="bg2">
            <a:lumMod val="40000"/>
            <a:lumOff val="60000"/>
          </a:schemeClr>
        </a:solidFill>
        <a:ln>
          <a:noFill/>
        </a:ln>
      </dgm:spPr>
      <dgm:t>
        <a:bodyPr tIns="108000" anchor="t" anchorCtr="0"/>
        <a:lstStyle/>
        <a:p>
          <a:pPr marL="180000" indent="-180000">
            <a:lnSpc>
              <a:spcPct val="110000"/>
            </a:lnSpc>
            <a:buClr>
              <a:schemeClr val="accent1"/>
            </a:buClr>
            <a:buFont typeface="Wingdings" panose="05000000000000000000" pitchFamily="2" charset="2"/>
            <a:buChar char="§"/>
          </a:pPr>
          <a:endParaRPr lang="en-US" sz="1400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</dgm:t>
    </dgm:pt>
    <dgm:pt modelId="{2850CE5E-0907-4417-ACB2-A1220A068E12}" type="parTrans" cxnId="{C142E0E2-E3C4-4480-928B-2F9303DC52CA}">
      <dgm:prSet/>
      <dgm:spPr/>
      <dgm:t>
        <a:bodyPr/>
        <a:lstStyle/>
        <a:p>
          <a:endParaRPr lang="de-DE"/>
        </a:p>
      </dgm:t>
    </dgm:pt>
    <dgm:pt modelId="{82ACBFB7-16DD-4F27-8E4D-25BD8990C763}" type="sibTrans" cxnId="{C142E0E2-E3C4-4480-928B-2F9303DC52CA}">
      <dgm:prSet/>
      <dgm:spPr/>
      <dgm:t>
        <a:bodyPr/>
        <a:lstStyle/>
        <a:p>
          <a:endParaRPr lang="de-DE"/>
        </a:p>
      </dgm:t>
    </dgm:pt>
    <dgm:pt modelId="{A689C341-E407-4D74-B59E-8B4833BA5E7B}">
      <dgm:prSet phldrT="[Text]" custT="1"/>
      <dgm:spPr>
        <a:solidFill>
          <a:schemeClr val="bg2">
            <a:lumMod val="40000"/>
            <a:lumOff val="60000"/>
          </a:schemeClr>
        </a:solidFill>
        <a:ln>
          <a:noFill/>
        </a:ln>
      </dgm:spPr>
      <dgm:t>
        <a:bodyPr/>
        <a:lstStyle/>
        <a:p>
          <a:pPr marL="180000" indent="-180000">
            <a:lnSpc>
              <a:spcPct val="110000"/>
            </a:lnSpc>
            <a:buClr>
              <a:schemeClr val="accent1"/>
            </a:buClr>
            <a:buFont typeface="Wingdings" panose="05000000000000000000" pitchFamily="2" charset="2"/>
            <a:buChar char="§"/>
          </a:pPr>
          <a:r>
            <a:rPr lang="en-US" sz="1400" kern="1200" dirty="0">
              <a:solidFill>
                <a:schemeClr val="tx1"/>
              </a:solidFill>
            </a:rPr>
            <a:t>Lorem ipsum dolor sit</a:t>
          </a:r>
          <a:endParaRPr lang="en-US" sz="1400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</dgm:t>
    </dgm:pt>
    <dgm:pt modelId="{BE15936F-7FED-4DB8-9F33-642CC9EE5F24}" type="parTrans" cxnId="{10B3E1CF-92C7-453F-B200-866D5A0B283F}">
      <dgm:prSet/>
      <dgm:spPr/>
    </dgm:pt>
    <dgm:pt modelId="{1731F855-5AA8-4F96-84D5-BF6556F8F4A2}" type="sibTrans" cxnId="{10B3E1CF-92C7-453F-B200-866D5A0B283F}">
      <dgm:prSet/>
      <dgm:spPr/>
    </dgm:pt>
    <dgm:pt modelId="{A7817C0C-00B6-407E-A0C7-F314999FF5A8}">
      <dgm:prSet phldrT="[Text]" custT="1"/>
      <dgm:spPr>
        <a:solidFill>
          <a:schemeClr val="bg2">
            <a:lumMod val="40000"/>
            <a:lumOff val="60000"/>
          </a:schemeClr>
        </a:solidFill>
        <a:ln>
          <a:noFill/>
        </a:ln>
      </dgm:spPr>
      <dgm:t>
        <a:bodyPr/>
        <a:lstStyle/>
        <a:p>
          <a:pPr marL="180000" indent="-180000">
            <a:lnSpc>
              <a:spcPct val="110000"/>
            </a:lnSpc>
            <a:buClr>
              <a:schemeClr val="accent1"/>
            </a:buClr>
            <a:buFont typeface="Wingdings" panose="05000000000000000000" pitchFamily="2" charset="2"/>
            <a:buChar char="§"/>
          </a:pPr>
          <a:r>
            <a:rPr lang="en-US" sz="1400" kern="1200" dirty="0">
              <a:solidFill>
                <a:schemeClr val="tx1"/>
              </a:solidFill>
            </a:rPr>
            <a:t>Lorem ipsum dolor sit</a:t>
          </a:r>
          <a:endParaRPr lang="en-US" sz="1400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</dgm:t>
    </dgm:pt>
    <dgm:pt modelId="{59A48F29-A25B-4BE9-9EA8-C74093C07034}" type="parTrans" cxnId="{90A8C5DD-2A0B-4B8C-B017-2860235BD704}">
      <dgm:prSet/>
      <dgm:spPr/>
    </dgm:pt>
    <dgm:pt modelId="{5C0B4D0C-5FFA-43B1-973D-F17AFA3EB950}" type="sibTrans" cxnId="{90A8C5DD-2A0B-4B8C-B017-2860235BD704}">
      <dgm:prSet/>
      <dgm:spPr/>
    </dgm:pt>
    <dgm:pt modelId="{11C8C521-C039-45B7-ACEE-5231177B5380}">
      <dgm:prSet phldrT="[Text]" custT="1"/>
      <dgm:spPr>
        <a:solidFill>
          <a:schemeClr val="bg2">
            <a:lumMod val="40000"/>
            <a:lumOff val="60000"/>
          </a:schemeClr>
        </a:solidFill>
        <a:ln>
          <a:noFill/>
        </a:ln>
      </dgm:spPr>
      <dgm:t>
        <a:bodyPr/>
        <a:lstStyle/>
        <a:p>
          <a:pPr marL="180000" indent="-180000">
            <a:lnSpc>
              <a:spcPct val="110000"/>
            </a:lnSpc>
            <a:buClr>
              <a:schemeClr val="accent1"/>
            </a:buClr>
            <a:buFont typeface="Wingdings" panose="05000000000000000000" pitchFamily="2" charset="2"/>
            <a:buChar char="§"/>
          </a:pPr>
          <a:r>
            <a:rPr lang="en-US" sz="1400" kern="1200" dirty="0">
              <a:solidFill>
                <a:schemeClr val="tx1"/>
              </a:solidFill>
            </a:rPr>
            <a:t>Lorem ipsum dolor sit</a:t>
          </a:r>
          <a:endParaRPr lang="en-US" sz="1400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</dgm:t>
    </dgm:pt>
    <dgm:pt modelId="{4D34B942-39AD-45D9-975D-5B4FE2789105}" type="parTrans" cxnId="{BA0C91D6-9D76-4019-A09E-5B023CF6ABAC}">
      <dgm:prSet/>
      <dgm:spPr/>
    </dgm:pt>
    <dgm:pt modelId="{A2A6BE89-F7F9-41D8-B2C9-E5B10716AFB7}" type="sibTrans" cxnId="{BA0C91D6-9D76-4019-A09E-5B023CF6ABAC}">
      <dgm:prSet/>
      <dgm:spPr/>
    </dgm:pt>
    <dgm:pt modelId="{705C3EC4-EEE4-43E6-B1E3-88541585BDF1}">
      <dgm:prSet phldrT="[Text]" custT="1"/>
      <dgm:spPr>
        <a:solidFill>
          <a:schemeClr val="bg2">
            <a:lumMod val="40000"/>
            <a:lumOff val="60000"/>
          </a:schemeClr>
        </a:solidFill>
        <a:ln>
          <a:noFill/>
        </a:ln>
      </dgm:spPr>
      <dgm:t>
        <a:bodyPr/>
        <a:lstStyle/>
        <a:p>
          <a:pPr marL="180000" indent="-180000">
            <a:lnSpc>
              <a:spcPct val="110000"/>
            </a:lnSpc>
            <a:buClr>
              <a:schemeClr val="accent1"/>
            </a:buClr>
            <a:buFont typeface="Wingdings" panose="05000000000000000000" pitchFamily="2" charset="2"/>
            <a:buChar char="§"/>
          </a:pPr>
          <a:r>
            <a:rPr lang="en-US" sz="1400" kern="1200" dirty="0">
              <a:solidFill>
                <a:schemeClr val="tx1"/>
              </a:solidFill>
            </a:rPr>
            <a:t>Lorem ipsum dolor sit</a:t>
          </a:r>
          <a:endParaRPr lang="en-US" sz="1400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</dgm:t>
    </dgm:pt>
    <dgm:pt modelId="{5CB90A56-6D4B-42E7-8242-08DE1632ADB5}" type="parTrans" cxnId="{9C68E84C-0129-4568-B3AD-07E6E1626C83}">
      <dgm:prSet/>
      <dgm:spPr/>
    </dgm:pt>
    <dgm:pt modelId="{7A3FE37D-A0F4-4B11-BC02-C66E74184EDC}" type="sibTrans" cxnId="{9C68E84C-0129-4568-B3AD-07E6E1626C83}">
      <dgm:prSet/>
      <dgm:spPr/>
    </dgm:pt>
    <dgm:pt modelId="{50729599-BF04-48D1-A11F-C86CB0246C33}" type="pres">
      <dgm:prSet presAssocID="{B9C32B05-62EA-407A-B21C-2310C7945705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</dgm:pt>
    <dgm:pt modelId="{5DBD6D75-2E6D-4A7D-BC99-67426076D9B8}" type="pres">
      <dgm:prSet presAssocID="{B9C32B05-62EA-407A-B21C-2310C7945705}" presName="children" presStyleCnt="0"/>
      <dgm:spPr/>
    </dgm:pt>
    <dgm:pt modelId="{66BFB290-762A-4FFC-AFBD-8CD4C7AE4082}" type="pres">
      <dgm:prSet presAssocID="{B9C32B05-62EA-407A-B21C-2310C7945705}" presName="child1group" presStyleCnt="0"/>
      <dgm:spPr/>
    </dgm:pt>
    <dgm:pt modelId="{7A98E228-1911-4D71-BB5A-D401B3097A61}" type="pres">
      <dgm:prSet presAssocID="{B9C32B05-62EA-407A-B21C-2310C7945705}" presName="child1" presStyleLbl="bgAcc1" presStyleIdx="0" presStyleCnt="4" custScaleX="159894" custLinFactNeighborX="-36683"/>
      <dgm:spPr>
        <a:prstGeom prst="rect">
          <a:avLst/>
        </a:prstGeom>
      </dgm:spPr>
    </dgm:pt>
    <dgm:pt modelId="{E7F23990-10D2-4696-9893-5EABC6D032E0}" type="pres">
      <dgm:prSet presAssocID="{B9C32B05-62EA-407A-B21C-2310C7945705}" presName="child1Text" presStyleLbl="bgAcc1" presStyleIdx="0" presStyleCnt="4">
        <dgm:presLayoutVars>
          <dgm:bulletEnabled val="1"/>
        </dgm:presLayoutVars>
      </dgm:prSet>
      <dgm:spPr/>
    </dgm:pt>
    <dgm:pt modelId="{8193F3DD-505A-4985-8AC3-56772D4FAB73}" type="pres">
      <dgm:prSet presAssocID="{B9C32B05-62EA-407A-B21C-2310C7945705}" presName="child2group" presStyleCnt="0"/>
      <dgm:spPr/>
    </dgm:pt>
    <dgm:pt modelId="{4E9AEC1E-DD39-48F5-B00C-FA2CB837DB96}" type="pres">
      <dgm:prSet presAssocID="{B9C32B05-62EA-407A-B21C-2310C7945705}" presName="child2" presStyleLbl="bgAcc1" presStyleIdx="1" presStyleCnt="4" custScaleX="159914" custLinFactNeighborX="39488"/>
      <dgm:spPr>
        <a:prstGeom prst="rect">
          <a:avLst/>
        </a:prstGeom>
      </dgm:spPr>
    </dgm:pt>
    <dgm:pt modelId="{4FDCA8AE-2969-45BA-A9E0-020FDC209FFD}" type="pres">
      <dgm:prSet presAssocID="{B9C32B05-62EA-407A-B21C-2310C7945705}" presName="child2Text" presStyleLbl="bgAcc1" presStyleIdx="1" presStyleCnt="4">
        <dgm:presLayoutVars>
          <dgm:bulletEnabled val="1"/>
        </dgm:presLayoutVars>
      </dgm:prSet>
      <dgm:spPr/>
    </dgm:pt>
    <dgm:pt modelId="{B286E0A1-5D01-4095-85FB-D947BDE23EB1}" type="pres">
      <dgm:prSet presAssocID="{B9C32B05-62EA-407A-B21C-2310C7945705}" presName="child3group" presStyleCnt="0"/>
      <dgm:spPr/>
    </dgm:pt>
    <dgm:pt modelId="{C0F82D50-9F47-4232-AA2B-882E1B79F2F1}" type="pres">
      <dgm:prSet presAssocID="{B9C32B05-62EA-407A-B21C-2310C7945705}" presName="child3" presStyleLbl="bgAcc1" presStyleIdx="2" presStyleCnt="4" custScaleX="159894" custLinFactNeighborX="38200"/>
      <dgm:spPr>
        <a:prstGeom prst="rect">
          <a:avLst/>
        </a:prstGeom>
      </dgm:spPr>
    </dgm:pt>
    <dgm:pt modelId="{DE000F3E-F381-4EB1-AF59-7F48D0213D8F}" type="pres">
      <dgm:prSet presAssocID="{B9C32B05-62EA-407A-B21C-2310C7945705}" presName="child3Text" presStyleLbl="bgAcc1" presStyleIdx="2" presStyleCnt="4">
        <dgm:presLayoutVars>
          <dgm:bulletEnabled val="1"/>
        </dgm:presLayoutVars>
      </dgm:prSet>
      <dgm:spPr/>
    </dgm:pt>
    <dgm:pt modelId="{75DF0A48-BCFF-4FC2-A5C1-7A0C0CFF16C6}" type="pres">
      <dgm:prSet presAssocID="{B9C32B05-62EA-407A-B21C-2310C7945705}" presName="child4group" presStyleCnt="0"/>
      <dgm:spPr/>
    </dgm:pt>
    <dgm:pt modelId="{C5635514-A1AA-460A-B6E6-7CBA05937F98}" type="pres">
      <dgm:prSet presAssocID="{B9C32B05-62EA-407A-B21C-2310C7945705}" presName="child4" presStyleLbl="bgAcc1" presStyleIdx="3" presStyleCnt="4" custScaleX="159894" custLinFactNeighborX="-36683"/>
      <dgm:spPr>
        <a:prstGeom prst="rect">
          <a:avLst/>
        </a:prstGeom>
      </dgm:spPr>
    </dgm:pt>
    <dgm:pt modelId="{246A39C1-2947-4B87-B14B-941C077C43E1}" type="pres">
      <dgm:prSet presAssocID="{B9C32B05-62EA-407A-B21C-2310C7945705}" presName="child4Text" presStyleLbl="bgAcc1" presStyleIdx="3" presStyleCnt="4">
        <dgm:presLayoutVars>
          <dgm:bulletEnabled val="1"/>
        </dgm:presLayoutVars>
      </dgm:prSet>
      <dgm:spPr/>
    </dgm:pt>
    <dgm:pt modelId="{6A55A5A1-B526-495E-9782-2F53C3DD3246}" type="pres">
      <dgm:prSet presAssocID="{B9C32B05-62EA-407A-B21C-2310C7945705}" presName="childPlaceholder" presStyleCnt="0"/>
      <dgm:spPr/>
    </dgm:pt>
    <dgm:pt modelId="{50CD3461-DF8E-4CFB-AE1E-DDE4A9F8984C}" type="pres">
      <dgm:prSet presAssocID="{B9C32B05-62EA-407A-B21C-2310C7945705}" presName="circle" presStyleCnt="0"/>
      <dgm:spPr/>
    </dgm:pt>
    <dgm:pt modelId="{3B24D1B4-402E-47F7-8D84-45FD1C1E82E9}" type="pres">
      <dgm:prSet presAssocID="{B9C32B05-62EA-407A-B21C-2310C7945705}" presName="quadrant1" presStyleLbl="node1" presStyleIdx="0" presStyleCnt="4">
        <dgm:presLayoutVars>
          <dgm:chMax val="1"/>
          <dgm:bulletEnabled val="1"/>
        </dgm:presLayoutVars>
      </dgm:prSet>
      <dgm:spPr/>
    </dgm:pt>
    <dgm:pt modelId="{4487BA5C-07BD-4AAF-9345-C4016B41B800}" type="pres">
      <dgm:prSet presAssocID="{B9C32B05-62EA-407A-B21C-2310C7945705}" presName="quadrant2" presStyleLbl="node1" presStyleIdx="1" presStyleCnt="4">
        <dgm:presLayoutVars>
          <dgm:chMax val="1"/>
          <dgm:bulletEnabled val="1"/>
        </dgm:presLayoutVars>
      </dgm:prSet>
      <dgm:spPr/>
    </dgm:pt>
    <dgm:pt modelId="{72FD0D42-ABF8-4D63-9953-C6B84E522EC8}" type="pres">
      <dgm:prSet presAssocID="{B9C32B05-62EA-407A-B21C-2310C7945705}" presName="quadrant3" presStyleLbl="node1" presStyleIdx="2" presStyleCnt="4">
        <dgm:presLayoutVars>
          <dgm:chMax val="1"/>
          <dgm:bulletEnabled val="1"/>
        </dgm:presLayoutVars>
      </dgm:prSet>
      <dgm:spPr/>
    </dgm:pt>
    <dgm:pt modelId="{7DE18523-9D88-4BED-BEBD-DDFC563895B2}" type="pres">
      <dgm:prSet presAssocID="{B9C32B05-62EA-407A-B21C-2310C7945705}" presName="quadrant4" presStyleLbl="node1" presStyleIdx="3" presStyleCnt="4">
        <dgm:presLayoutVars>
          <dgm:chMax val="1"/>
          <dgm:bulletEnabled val="1"/>
        </dgm:presLayoutVars>
      </dgm:prSet>
      <dgm:spPr/>
    </dgm:pt>
    <dgm:pt modelId="{B8CA3143-F56F-4038-93B0-884CA5421F14}" type="pres">
      <dgm:prSet presAssocID="{B9C32B05-62EA-407A-B21C-2310C7945705}" presName="quadrantPlaceholder" presStyleCnt="0"/>
      <dgm:spPr/>
    </dgm:pt>
    <dgm:pt modelId="{E486051A-E5EE-4981-BFD1-11E725C48180}" type="pres">
      <dgm:prSet presAssocID="{B9C32B05-62EA-407A-B21C-2310C7945705}" presName="center1" presStyleLbl="fgShp" presStyleIdx="0" presStyleCnt="2"/>
      <dgm:spPr>
        <a:solidFill>
          <a:schemeClr val="bg1"/>
        </a:solidFill>
      </dgm:spPr>
    </dgm:pt>
    <dgm:pt modelId="{E1E34BBD-190C-4014-A2B1-6C5A100B5FF4}" type="pres">
      <dgm:prSet presAssocID="{B9C32B05-62EA-407A-B21C-2310C7945705}" presName="center2" presStyleLbl="fgShp" presStyleIdx="1" presStyleCnt="2"/>
      <dgm:spPr>
        <a:solidFill>
          <a:schemeClr val="bg1"/>
        </a:solidFill>
      </dgm:spPr>
    </dgm:pt>
  </dgm:ptLst>
  <dgm:cxnLst>
    <dgm:cxn modelId="{841C1B02-577B-4170-A74A-45100992C78C}" srcId="{BB36F745-62BA-4892-99D7-E4239B0F3843}" destId="{70E8175B-67C2-408B-A669-D1E2ADFD31D1}" srcOrd="2" destOrd="0" parTransId="{40072845-A510-4FBC-AE43-2AB509EB83FF}" sibTransId="{EE6C6439-95B0-450E-A725-D3F2DC07A82D}"/>
    <dgm:cxn modelId="{06426E02-E3D9-4686-9CAA-00543CF19AF8}" type="presOf" srcId="{70E8175B-67C2-408B-A669-D1E2ADFD31D1}" destId="{C5635514-A1AA-460A-B6E6-7CBA05937F98}" srcOrd="0" destOrd="2" presId="urn:microsoft.com/office/officeart/2005/8/layout/cycle4"/>
    <dgm:cxn modelId="{C96A1F07-338B-48CD-B344-80BE34A6C9DF}" srcId="{B9C32B05-62EA-407A-B21C-2310C7945705}" destId="{BB36F745-62BA-4892-99D7-E4239B0F3843}" srcOrd="3" destOrd="0" parTransId="{CE269D49-A2E4-44F1-A948-9BE1FE5D6140}" sibTransId="{5CE5B550-A310-4948-9BA1-267AF81C5FA4}"/>
    <dgm:cxn modelId="{9C8D4A22-AE58-422B-92F7-F84C4F6E5BE7}" type="presOf" srcId="{A689C341-E407-4D74-B59E-8B4833BA5E7B}" destId="{7A98E228-1911-4D71-BB5A-D401B3097A61}" srcOrd="0" destOrd="1" presId="urn:microsoft.com/office/officeart/2005/8/layout/cycle4"/>
    <dgm:cxn modelId="{7255FB2B-C8CB-4647-9CC6-4F7F60B8FCF4}" type="presOf" srcId="{BB36F745-62BA-4892-99D7-E4239B0F3843}" destId="{7DE18523-9D88-4BED-BEBD-DDFC563895B2}" srcOrd="0" destOrd="0" presId="urn:microsoft.com/office/officeart/2005/8/layout/cycle4"/>
    <dgm:cxn modelId="{78DDBE2C-A7DA-4D3F-BF96-A411AF42EF65}" srcId="{F3FA86F7-575E-4FDD-B637-1D7276F725A4}" destId="{51EDCD0C-9AEA-4632-8DED-3DB7985AC917}" srcOrd="2" destOrd="0" parTransId="{863C701C-074A-4574-B33B-04925D2BA2DD}" sibTransId="{AA800176-ABFA-4F19-B258-B652F854D1F2}"/>
    <dgm:cxn modelId="{06BD5C2E-CF77-41BC-93D7-011AE12F3A44}" type="presOf" srcId="{5DD8BFDE-7988-4061-AFCC-D4A60239E279}" destId="{DE000F3E-F381-4EB1-AF59-7F48D0213D8F}" srcOrd="1" destOrd="2" presId="urn:microsoft.com/office/officeart/2005/8/layout/cycle4"/>
    <dgm:cxn modelId="{5738D830-5422-4030-B51B-2F1DBE7222EA}" type="presOf" srcId="{D8973F44-FCAF-442F-8783-A2866965AAB6}" destId="{C0F82D50-9F47-4232-AA2B-882E1B79F2F1}" srcOrd="0" destOrd="0" presId="urn:microsoft.com/office/officeart/2005/8/layout/cycle4"/>
    <dgm:cxn modelId="{25D30B32-01D2-46BE-A0A4-97CB831FFD94}" type="presOf" srcId="{8BA28110-3C4D-4B65-A456-1880B9B8C044}" destId="{4E9AEC1E-DD39-48F5-B00C-FA2CB837DB96}" srcOrd="0" destOrd="0" presId="urn:microsoft.com/office/officeart/2005/8/layout/cycle4"/>
    <dgm:cxn modelId="{B38DB338-3B1E-4324-A45E-8025E9D81450}" srcId="{B9C32B05-62EA-407A-B21C-2310C7945705}" destId="{F3FA86F7-575E-4FDD-B637-1D7276F725A4}" srcOrd="1" destOrd="0" parTransId="{192CD16B-FA85-49AB-96EA-80094BA41ED5}" sibTransId="{BEF45895-E33A-456A-85CE-5D5DFC2CF2C9}"/>
    <dgm:cxn modelId="{E39A793C-A4E9-4DE4-882C-FEA2BEB8896B}" srcId="{BB36F745-62BA-4892-99D7-E4239B0F3843}" destId="{B0A5C91A-6241-4BED-82F0-B735EBACD6B9}" srcOrd="0" destOrd="0" parTransId="{11A957F9-0D29-4041-BB96-258FC96AFB4D}" sibTransId="{80537C20-BA35-41C8-987F-0C39B9782FD4}"/>
    <dgm:cxn modelId="{C8FCCD3C-805E-4A27-964D-25DE1206ADCA}" srcId="{B9C32B05-62EA-407A-B21C-2310C7945705}" destId="{8D3744A8-1883-4930-8E0D-B57E26D003C6}" srcOrd="2" destOrd="0" parTransId="{AC9EAF57-EBF1-4FB7-8ED0-6ECFF59ADE74}" sibTransId="{D40CF7D9-D0C3-4084-8D2D-359654C28D0F}"/>
    <dgm:cxn modelId="{9A0E885F-1ED4-41EC-B6A4-30CB029B516A}" type="presOf" srcId="{11C8C521-C039-45B7-ACEE-5231177B5380}" destId="{246A39C1-2947-4B87-B14B-941C077C43E1}" srcOrd="1" destOrd="1" presId="urn:microsoft.com/office/officeart/2005/8/layout/cycle4"/>
    <dgm:cxn modelId="{1D896142-E250-41E4-8577-114DB897E5B3}" srcId="{F3FA86F7-575E-4FDD-B637-1D7276F725A4}" destId="{8BA28110-3C4D-4B65-A456-1880B9B8C044}" srcOrd="0" destOrd="0" parTransId="{92633400-0D09-4796-9848-67220ABE14A1}" sibTransId="{AADC4A7F-BF6D-4764-B281-1669C0CA9F6D}"/>
    <dgm:cxn modelId="{40474A45-E279-4F3D-A436-E338E8ACBC25}" type="presOf" srcId="{B9C32B05-62EA-407A-B21C-2310C7945705}" destId="{50729599-BF04-48D1-A11F-C86CB0246C33}" srcOrd="0" destOrd="0" presId="urn:microsoft.com/office/officeart/2005/8/layout/cycle4"/>
    <dgm:cxn modelId="{9C68E84C-0129-4568-B3AD-07E6E1626C83}" srcId="{8D3744A8-1883-4930-8E0D-B57E26D003C6}" destId="{705C3EC4-EEE4-43E6-B1E3-88541585BDF1}" srcOrd="1" destOrd="0" parTransId="{5CB90A56-6D4B-42E7-8242-08DE1632ADB5}" sibTransId="{7A3FE37D-A0F4-4B11-BC02-C66E74184EDC}"/>
    <dgm:cxn modelId="{0F45CA4C-CEA1-4C24-ACF1-4C8DEEFE1942}" type="presOf" srcId="{8EA7219F-BDB2-48EB-9EEB-3133522D132E}" destId="{3B24D1B4-402E-47F7-8D84-45FD1C1E82E9}" srcOrd="0" destOrd="0" presId="urn:microsoft.com/office/officeart/2005/8/layout/cycle4"/>
    <dgm:cxn modelId="{22D8EE6D-2308-4E93-8D29-90DDE2C936B5}" type="presOf" srcId="{11C8C521-C039-45B7-ACEE-5231177B5380}" destId="{C5635514-A1AA-460A-B6E6-7CBA05937F98}" srcOrd="0" destOrd="1" presId="urn:microsoft.com/office/officeart/2005/8/layout/cycle4"/>
    <dgm:cxn modelId="{4053B34E-C6D3-4835-9EA1-0EE4743518AA}" type="presOf" srcId="{51EDCD0C-9AEA-4632-8DED-3DB7985AC917}" destId="{4FDCA8AE-2969-45BA-A9E0-020FDC209FFD}" srcOrd="1" destOrd="2" presId="urn:microsoft.com/office/officeart/2005/8/layout/cycle4"/>
    <dgm:cxn modelId="{6CA84075-8E7E-48A0-A57E-8A025F91095B}" type="presOf" srcId="{A7817C0C-00B6-407E-A0C7-F314999FF5A8}" destId="{4FDCA8AE-2969-45BA-A9E0-020FDC209FFD}" srcOrd="1" destOrd="1" presId="urn:microsoft.com/office/officeart/2005/8/layout/cycle4"/>
    <dgm:cxn modelId="{B5A9AF75-5EA6-4A2E-961B-CCB226B34B2F}" type="presOf" srcId="{5DD8BFDE-7988-4061-AFCC-D4A60239E279}" destId="{C0F82D50-9F47-4232-AA2B-882E1B79F2F1}" srcOrd="0" destOrd="2" presId="urn:microsoft.com/office/officeart/2005/8/layout/cycle4"/>
    <dgm:cxn modelId="{EC4C2A79-8F93-4433-9995-8C81FD4CA766}" type="presOf" srcId="{B0A5C91A-6241-4BED-82F0-B735EBACD6B9}" destId="{C5635514-A1AA-460A-B6E6-7CBA05937F98}" srcOrd="0" destOrd="0" presId="urn:microsoft.com/office/officeart/2005/8/layout/cycle4"/>
    <dgm:cxn modelId="{A5E0867C-00E1-4063-9268-016F967D938F}" type="presOf" srcId="{705C3EC4-EEE4-43E6-B1E3-88541585BDF1}" destId="{DE000F3E-F381-4EB1-AF59-7F48D0213D8F}" srcOrd="1" destOrd="1" presId="urn:microsoft.com/office/officeart/2005/8/layout/cycle4"/>
    <dgm:cxn modelId="{8C24AC8D-C292-41EB-8502-C21F19F545B3}" type="presOf" srcId="{B0A5C91A-6241-4BED-82F0-B735EBACD6B9}" destId="{246A39C1-2947-4B87-B14B-941C077C43E1}" srcOrd="1" destOrd="0" presId="urn:microsoft.com/office/officeart/2005/8/layout/cycle4"/>
    <dgm:cxn modelId="{E77F40B2-28E5-4397-A620-CC506AF45C08}" type="presOf" srcId="{8D3744A8-1883-4930-8E0D-B57E26D003C6}" destId="{72FD0D42-ABF8-4D63-9953-C6B84E522EC8}" srcOrd="0" destOrd="0" presId="urn:microsoft.com/office/officeart/2005/8/layout/cycle4"/>
    <dgm:cxn modelId="{35C892B5-607A-4F80-8879-0233475D1DC7}" type="presOf" srcId="{A689C341-E407-4D74-B59E-8B4833BA5E7B}" destId="{E7F23990-10D2-4696-9893-5EABC6D032E0}" srcOrd="1" destOrd="1" presId="urn:microsoft.com/office/officeart/2005/8/layout/cycle4"/>
    <dgm:cxn modelId="{2709EABC-E6A1-4AF4-BB66-635BCC932127}" srcId="{8EA7219F-BDB2-48EB-9EEB-3133522D132E}" destId="{DDE0D928-D49D-4A27-8E92-3130B9320568}" srcOrd="0" destOrd="0" parTransId="{BD8A01E6-DCFB-4634-AA12-EAF5B15F9CCB}" sibTransId="{4311EAF2-34EE-4C77-BBCA-D60A3715C931}"/>
    <dgm:cxn modelId="{0CF736BF-B83C-481B-9E3B-3BFF0E406F7C}" type="presOf" srcId="{D8973F44-FCAF-442F-8783-A2866965AAB6}" destId="{DE000F3E-F381-4EB1-AF59-7F48D0213D8F}" srcOrd="1" destOrd="0" presId="urn:microsoft.com/office/officeart/2005/8/layout/cycle4"/>
    <dgm:cxn modelId="{291A8AE1-CFA3-41A6-87F2-7928A6E7BC17}" type="presOf" srcId="{705C3EC4-EEE4-43E6-B1E3-88541585BDF1}" destId="{C0F82D50-9F47-4232-AA2B-882E1B79F2F1}" srcOrd="0" destOrd="1" presId="urn:microsoft.com/office/officeart/2005/8/layout/cycle4"/>
    <dgm:cxn modelId="{C142E0E2-E3C4-4480-928B-2F9303DC52CA}" srcId="{8D3744A8-1883-4930-8E0D-B57E26D003C6}" destId="{5DD8BFDE-7988-4061-AFCC-D4A60239E279}" srcOrd="2" destOrd="0" parTransId="{2850CE5E-0907-4417-ACB2-A1220A068E12}" sibTransId="{82ACBFB7-16DD-4F27-8E4D-25BD8990C763}"/>
    <dgm:cxn modelId="{DAE22EC6-9917-4B64-9D2C-BACC1C5D8607}" type="presOf" srcId="{70E8175B-67C2-408B-A669-D1E2ADFD31D1}" destId="{246A39C1-2947-4B87-B14B-941C077C43E1}" srcOrd="1" destOrd="2" presId="urn:microsoft.com/office/officeart/2005/8/layout/cycle4"/>
    <dgm:cxn modelId="{E284D4C7-4034-4F9E-9A2A-B19AD314DC3C}" type="presOf" srcId="{F3FA86F7-575E-4FDD-B637-1D7276F725A4}" destId="{4487BA5C-07BD-4AAF-9345-C4016B41B800}" srcOrd="0" destOrd="0" presId="urn:microsoft.com/office/officeart/2005/8/layout/cycle4"/>
    <dgm:cxn modelId="{052764EB-F8D2-4A00-AE06-5AD402C9A4ED}" type="presOf" srcId="{51EDCD0C-9AEA-4632-8DED-3DB7985AC917}" destId="{4E9AEC1E-DD39-48F5-B00C-FA2CB837DB96}" srcOrd="0" destOrd="2" presId="urn:microsoft.com/office/officeart/2005/8/layout/cycle4"/>
    <dgm:cxn modelId="{357680CE-E20A-47DD-8257-D23859C7BD0A}" type="presOf" srcId="{A7817C0C-00B6-407E-A0C7-F314999FF5A8}" destId="{4E9AEC1E-DD39-48F5-B00C-FA2CB837DB96}" srcOrd="0" destOrd="1" presId="urn:microsoft.com/office/officeart/2005/8/layout/cycle4"/>
    <dgm:cxn modelId="{58AD7EEF-D408-406B-87EE-4691D4C30668}" srcId="{B9C32B05-62EA-407A-B21C-2310C7945705}" destId="{8EA7219F-BDB2-48EB-9EEB-3133522D132E}" srcOrd="0" destOrd="0" parTransId="{3EE8403A-CB7C-4815-85BD-AEBCAEB71B37}" sibTransId="{C94B7947-85DC-4B21-BB99-DF8438356F98}"/>
    <dgm:cxn modelId="{10B3E1CF-92C7-453F-B200-866D5A0B283F}" srcId="{8EA7219F-BDB2-48EB-9EEB-3133522D132E}" destId="{A689C341-E407-4D74-B59E-8B4833BA5E7B}" srcOrd="1" destOrd="0" parTransId="{BE15936F-7FED-4DB8-9F33-642CC9EE5F24}" sibTransId="{1731F855-5AA8-4F96-84D5-BF6556F8F4A2}"/>
    <dgm:cxn modelId="{F0B411F1-452D-4844-A70A-B056C89CEAB7}" type="presOf" srcId="{DDE0D928-D49D-4A27-8E92-3130B9320568}" destId="{7A98E228-1911-4D71-BB5A-D401B3097A61}" srcOrd="0" destOrd="0" presId="urn:microsoft.com/office/officeart/2005/8/layout/cycle4"/>
    <dgm:cxn modelId="{415456D2-5524-4ED8-BB57-0C45DD400A8A}" srcId="{8D3744A8-1883-4930-8E0D-B57E26D003C6}" destId="{D8973F44-FCAF-442F-8783-A2866965AAB6}" srcOrd="0" destOrd="0" parTransId="{9EAF4DA5-D298-43E0-A006-BCCDFAE7E227}" sibTransId="{CB1C23B7-F69D-48F6-BA22-0FD16D3A82BE}"/>
    <dgm:cxn modelId="{E82658F6-9060-4334-B633-D75EA02A2F85}" type="presOf" srcId="{8BA28110-3C4D-4B65-A456-1880B9B8C044}" destId="{4FDCA8AE-2969-45BA-A9E0-020FDC209FFD}" srcOrd="1" destOrd="0" presId="urn:microsoft.com/office/officeart/2005/8/layout/cycle4"/>
    <dgm:cxn modelId="{BA0C91D6-9D76-4019-A09E-5B023CF6ABAC}" srcId="{BB36F745-62BA-4892-99D7-E4239B0F3843}" destId="{11C8C521-C039-45B7-ACEE-5231177B5380}" srcOrd="1" destOrd="0" parTransId="{4D34B942-39AD-45D9-975D-5B4FE2789105}" sibTransId="{A2A6BE89-F7F9-41D8-B2C9-E5B10716AFB7}"/>
    <dgm:cxn modelId="{6FEFD4DC-EE22-43C1-88E3-A6002C15920C}" type="presOf" srcId="{DDE0D928-D49D-4A27-8E92-3130B9320568}" destId="{E7F23990-10D2-4696-9893-5EABC6D032E0}" srcOrd="1" destOrd="0" presId="urn:microsoft.com/office/officeart/2005/8/layout/cycle4"/>
    <dgm:cxn modelId="{90A8C5DD-2A0B-4B8C-B017-2860235BD704}" srcId="{F3FA86F7-575E-4FDD-B637-1D7276F725A4}" destId="{A7817C0C-00B6-407E-A0C7-F314999FF5A8}" srcOrd="1" destOrd="0" parTransId="{59A48F29-A25B-4BE9-9EA8-C74093C07034}" sibTransId="{5C0B4D0C-5FFA-43B1-973D-F17AFA3EB950}"/>
    <dgm:cxn modelId="{B81360D8-85BD-43CF-90F3-B1B4FB1EA8EF}" type="presParOf" srcId="{50729599-BF04-48D1-A11F-C86CB0246C33}" destId="{5DBD6D75-2E6D-4A7D-BC99-67426076D9B8}" srcOrd="0" destOrd="0" presId="urn:microsoft.com/office/officeart/2005/8/layout/cycle4"/>
    <dgm:cxn modelId="{D72CB430-D905-4F79-9298-01D63841B740}" type="presParOf" srcId="{5DBD6D75-2E6D-4A7D-BC99-67426076D9B8}" destId="{66BFB290-762A-4FFC-AFBD-8CD4C7AE4082}" srcOrd="0" destOrd="0" presId="urn:microsoft.com/office/officeart/2005/8/layout/cycle4"/>
    <dgm:cxn modelId="{E5E5A6F8-1D61-4174-89D1-1586C60CDCAB}" type="presParOf" srcId="{66BFB290-762A-4FFC-AFBD-8CD4C7AE4082}" destId="{7A98E228-1911-4D71-BB5A-D401B3097A61}" srcOrd="0" destOrd="0" presId="urn:microsoft.com/office/officeart/2005/8/layout/cycle4"/>
    <dgm:cxn modelId="{9DC996AB-59BC-407A-97DA-9FD741A1BD81}" type="presParOf" srcId="{66BFB290-762A-4FFC-AFBD-8CD4C7AE4082}" destId="{E7F23990-10D2-4696-9893-5EABC6D032E0}" srcOrd="1" destOrd="0" presId="urn:microsoft.com/office/officeart/2005/8/layout/cycle4"/>
    <dgm:cxn modelId="{5CF06680-2389-41FE-A3A5-B061B8AEAB15}" type="presParOf" srcId="{5DBD6D75-2E6D-4A7D-BC99-67426076D9B8}" destId="{8193F3DD-505A-4985-8AC3-56772D4FAB73}" srcOrd="1" destOrd="0" presId="urn:microsoft.com/office/officeart/2005/8/layout/cycle4"/>
    <dgm:cxn modelId="{DCDA7EB7-CC2A-4EAB-8E37-45C220D069D2}" type="presParOf" srcId="{8193F3DD-505A-4985-8AC3-56772D4FAB73}" destId="{4E9AEC1E-DD39-48F5-B00C-FA2CB837DB96}" srcOrd="0" destOrd="0" presId="urn:microsoft.com/office/officeart/2005/8/layout/cycle4"/>
    <dgm:cxn modelId="{3CD20A94-C421-4556-833F-DFF44FF8CB86}" type="presParOf" srcId="{8193F3DD-505A-4985-8AC3-56772D4FAB73}" destId="{4FDCA8AE-2969-45BA-A9E0-020FDC209FFD}" srcOrd="1" destOrd="0" presId="urn:microsoft.com/office/officeart/2005/8/layout/cycle4"/>
    <dgm:cxn modelId="{45C6D690-D086-496B-A79F-343EB7C47743}" type="presParOf" srcId="{5DBD6D75-2E6D-4A7D-BC99-67426076D9B8}" destId="{B286E0A1-5D01-4095-85FB-D947BDE23EB1}" srcOrd="2" destOrd="0" presId="urn:microsoft.com/office/officeart/2005/8/layout/cycle4"/>
    <dgm:cxn modelId="{D0B4E769-CCED-4E22-B9EB-E60D7183CA5E}" type="presParOf" srcId="{B286E0A1-5D01-4095-85FB-D947BDE23EB1}" destId="{C0F82D50-9F47-4232-AA2B-882E1B79F2F1}" srcOrd="0" destOrd="0" presId="urn:microsoft.com/office/officeart/2005/8/layout/cycle4"/>
    <dgm:cxn modelId="{A05BBF82-9E36-4D95-94B1-44F8409A0D14}" type="presParOf" srcId="{B286E0A1-5D01-4095-85FB-D947BDE23EB1}" destId="{DE000F3E-F381-4EB1-AF59-7F48D0213D8F}" srcOrd="1" destOrd="0" presId="urn:microsoft.com/office/officeart/2005/8/layout/cycle4"/>
    <dgm:cxn modelId="{FDBBF41E-B584-45D5-9103-120F7152094C}" type="presParOf" srcId="{5DBD6D75-2E6D-4A7D-BC99-67426076D9B8}" destId="{75DF0A48-BCFF-4FC2-A5C1-7A0C0CFF16C6}" srcOrd="3" destOrd="0" presId="urn:microsoft.com/office/officeart/2005/8/layout/cycle4"/>
    <dgm:cxn modelId="{05D1B019-AAF9-4229-BCA4-E0FEEEEB64C3}" type="presParOf" srcId="{75DF0A48-BCFF-4FC2-A5C1-7A0C0CFF16C6}" destId="{C5635514-A1AA-460A-B6E6-7CBA05937F98}" srcOrd="0" destOrd="0" presId="urn:microsoft.com/office/officeart/2005/8/layout/cycle4"/>
    <dgm:cxn modelId="{06726975-D8A0-4BC3-BB56-D7277B3D964C}" type="presParOf" srcId="{75DF0A48-BCFF-4FC2-A5C1-7A0C0CFF16C6}" destId="{246A39C1-2947-4B87-B14B-941C077C43E1}" srcOrd="1" destOrd="0" presId="urn:microsoft.com/office/officeart/2005/8/layout/cycle4"/>
    <dgm:cxn modelId="{26E508F3-ADBD-478D-BC8A-58CD410EA264}" type="presParOf" srcId="{5DBD6D75-2E6D-4A7D-BC99-67426076D9B8}" destId="{6A55A5A1-B526-495E-9782-2F53C3DD3246}" srcOrd="4" destOrd="0" presId="urn:microsoft.com/office/officeart/2005/8/layout/cycle4"/>
    <dgm:cxn modelId="{8E0CD660-7AC8-481E-AFB1-297E0AD1BBB8}" type="presParOf" srcId="{50729599-BF04-48D1-A11F-C86CB0246C33}" destId="{50CD3461-DF8E-4CFB-AE1E-DDE4A9F8984C}" srcOrd="1" destOrd="0" presId="urn:microsoft.com/office/officeart/2005/8/layout/cycle4"/>
    <dgm:cxn modelId="{B41D4605-5011-41F0-820C-EF51D2381957}" type="presParOf" srcId="{50CD3461-DF8E-4CFB-AE1E-DDE4A9F8984C}" destId="{3B24D1B4-402E-47F7-8D84-45FD1C1E82E9}" srcOrd="0" destOrd="0" presId="urn:microsoft.com/office/officeart/2005/8/layout/cycle4"/>
    <dgm:cxn modelId="{897F38C3-BD1D-4DEA-97A1-81590C1F959B}" type="presParOf" srcId="{50CD3461-DF8E-4CFB-AE1E-DDE4A9F8984C}" destId="{4487BA5C-07BD-4AAF-9345-C4016B41B800}" srcOrd="1" destOrd="0" presId="urn:microsoft.com/office/officeart/2005/8/layout/cycle4"/>
    <dgm:cxn modelId="{EF5EED14-9E58-4822-80C9-289D5F15F1AA}" type="presParOf" srcId="{50CD3461-DF8E-4CFB-AE1E-DDE4A9F8984C}" destId="{72FD0D42-ABF8-4D63-9953-C6B84E522EC8}" srcOrd="2" destOrd="0" presId="urn:microsoft.com/office/officeart/2005/8/layout/cycle4"/>
    <dgm:cxn modelId="{95AD2803-0610-428B-8EC9-999FE6564EE8}" type="presParOf" srcId="{50CD3461-DF8E-4CFB-AE1E-DDE4A9F8984C}" destId="{7DE18523-9D88-4BED-BEBD-DDFC563895B2}" srcOrd="3" destOrd="0" presId="urn:microsoft.com/office/officeart/2005/8/layout/cycle4"/>
    <dgm:cxn modelId="{A0364B81-93C6-4E4D-86B0-CA54145EF0E6}" type="presParOf" srcId="{50CD3461-DF8E-4CFB-AE1E-DDE4A9F8984C}" destId="{B8CA3143-F56F-4038-93B0-884CA5421F14}" srcOrd="4" destOrd="0" presId="urn:microsoft.com/office/officeart/2005/8/layout/cycle4"/>
    <dgm:cxn modelId="{ED9E24E0-3D74-4095-AABB-EBFC3170DB48}" type="presParOf" srcId="{50729599-BF04-48D1-A11F-C86CB0246C33}" destId="{E486051A-E5EE-4981-BFD1-11E725C48180}" srcOrd="2" destOrd="0" presId="urn:microsoft.com/office/officeart/2005/8/layout/cycle4"/>
    <dgm:cxn modelId="{BFD61615-01CE-44B0-9714-23412197E827}" type="presParOf" srcId="{50729599-BF04-48D1-A11F-C86CB0246C33}" destId="{E1E34BBD-190C-4014-A2B1-6C5A100B5FF4}" srcOrd="3" destOrd="0" presId="urn:microsoft.com/office/officeart/2005/8/layout/cycle4"/>
  </dgm:cxnLst>
  <dgm:bg>
    <a:noFill/>
  </dgm:bg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A43A45E-4261-4F66-AE03-531C2A960097}">
      <dsp:nvSpPr>
        <dsp:cNvPr id="0" name=""/>
        <dsp:cNvSpPr/>
      </dsp:nvSpPr>
      <dsp:spPr>
        <a:xfrm>
          <a:off x="572794" y="-4230"/>
          <a:ext cx="4299320" cy="4299320"/>
        </a:xfrm>
        <a:prstGeom prst="circularArrow">
          <a:avLst>
            <a:gd name="adj1" fmla="val 5544"/>
            <a:gd name="adj2" fmla="val 330680"/>
            <a:gd name="adj3" fmla="val 13840613"/>
            <a:gd name="adj4" fmla="val 17346720"/>
            <a:gd name="adj5" fmla="val 5757"/>
          </a:avLst>
        </a:prstGeom>
        <a:solidFill>
          <a:srgbClr val="E5EEF2">
            <a:alpha val="85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4894C33-7B6D-431B-A0B6-8254AE637D05}">
      <dsp:nvSpPr>
        <dsp:cNvPr id="0" name=""/>
        <dsp:cNvSpPr/>
      </dsp:nvSpPr>
      <dsp:spPr>
        <a:xfrm>
          <a:off x="1744072" y="19654"/>
          <a:ext cx="1956764" cy="978382"/>
        </a:xfrm>
        <a:prstGeom prst="rect">
          <a:avLst/>
        </a:prstGeom>
        <a:solidFill>
          <a:schemeClr val="accent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Lorem</a:t>
          </a:r>
          <a:r>
            <a: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 </a:t>
          </a:r>
          <a:r>
            <a: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ipsum</a:t>
          </a:r>
          <a:r>
            <a: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 1,</a:t>
          </a:r>
          <a:br>
            <a: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</a:br>
          <a:r>
            <a: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16 </a:t>
          </a:r>
          <a:r>
            <a: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pt</a:t>
          </a:r>
          <a:endParaRPr lang="de-DE" sz="1600" kern="1200" dirty="0"/>
        </a:p>
      </dsp:txBody>
      <dsp:txXfrm>
        <a:off x="1744072" y="19654"/>
        <a:ext cx="1956764" cy="978382"/>
      </dsp:txXfrm>
    </dsp:sp>
    <dsp:sp modelId="{24A33AEC-14F2-45C3-A1B7-CF84CB5E53BD}">
      <dsp:nvSpPr>
        <dsp:cNvPr id="0" name=""/>
        <dsp:cNvSpPr/>
      </dsp:nvSpPr>
      <dsp:spPr>
        <a:xfrm>
          <a:off x="3487748" y="1401536"/>
          <a:ext cx="1956764" cy="978382"/>
        </a:xfrm>
        <a:prstGeom prst="rect">
          <a:avLst/>
        </a:prstGeom>
        <a:solidFill>
          <a:schemeClr val="accent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Lorem</a:t>
          </a:r>
          <a:r>
            <a: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 </a:t>
          </a:r>
          <a:r>
            <a: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ipsum</a:t>
          </a:r>
          <a:r>
            <a: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 2,</a:t>
          </a:r>
          <a:br>
            <a: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</a:br>
          <a:r>
            <a: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16 </a:t>
          </a:r>
          <a:r>
            <a: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pt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487748" y="1401536"/>
        <a:ext cx="1956764" cy="978382"/>
      </dsp:txXfrm>
    </dsp:sp>
    <dsp:sp modelId="{90A6A1B2-86A4-40F3-8B76-852BC194F36D}">
      <dsp:nvSpPr>
        <dsp:cNvPr id="0" name=""/>
        <dsp:cNvSpPr/>
      </dsp:nvSpPr>
      <dsp:spPr>
        <a:xfrm>
          <a:off x="3386508" y="3053911"/>
          <a:ext cx="1956764" cy="978382"/>
        </a:xfrm>
        <a:prstGeom prst="rect">
          <a:avLst/>
        </a:prstGeom>
        <a:solidFill>
          <a:schemeClr val="accent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Lorem</a:t>
          </a:r>
          <a:r>
            <a: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 </a:t>
          </a:r>
          <a:r>
            <a: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ipsum</a:t>
          </a:r>
          <a:r>
            <a: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 3,</a:t>
          </a:r>
          <a:br>
            <a: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</a:br>
          <a:r>
            <a: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16 </a:t>
          </a:r>
          <a:r>
            <a: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pt</a:t>
          </a:r>
          <a:endParaRPr lang="de-DE" sz="1600" kern="1200" dirty="0"/>
        </a:p>
      </dsp:txBody>
      <dsp:txXfrm>
        <a:off x="3386508" y="3053911"/>
        <a:ext cx="1956764" cy="978382"/>
      </dsp:txXfrm>
    </dsp:sp>
    <dsp:sp modelId="{FE36895A-0D52-46B7-B8AC-8BE37D1F4A20}">
      <dsp:nvSpPr>
        <dsp:cNvPr id="0" name=""/>
        <dsp:cNvSpPr/>
      </dsp:nvSpPr>
      <dsp:spPr>
        <a:xfrm>
          <a:off x="289911" y="3053912"/>
          <a:ext cx="1956764" cy="978382"/>
        </a:xfrm>
        <a:prstGeom prst="rect">
          <a:avLst/>
        </a:prstGeom>
        <a:solidFill>
          <a:schemeClr val="accent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Lorem</a:t>
          </a:r>
          <a:r>
            <a: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 </a:t>
          </a:r>
          <a:r>
            <a: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ipsum</a:t>
          </a:r>
          <a:r>
            <a: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 4,</a:t>
          </a:r>
          <a:br>
            <a: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</a:br>
          <a:r>
            <a: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16 </a:t>
          </a:r>
          <a:r>
            <a: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pt</a:t>
          </a:r>
          <a:endParaRPr lang="de-DE" sz="1600" kern="1200" dirty="0"/>
        </a:p>
      </dsp:txBody>
      <dsp:txXfrm>
        <a:off x="289911" y="3053912"/>
        <a:ext cx="1956764" cy="978382"/>
      </dsp:txXfrm>
    </dsp:sp>
    <dsp:sp modelId="{EBFB8B6A-D41E-4633-8545-AEE09C2A1F89}">
      <dsp:nvSpPr>
        <dsp:cNvPr id="0" name=""/>
        <dsp:cNvSpPr/>
      </dsp:nvSpPr>
      <dsp:spPr>
        <a:xfrm>
          <a:off x="397" y="1401536"/>
          <a:ext cx="1956764" cy="978382"/>
        </a:xfrm>
        <a:prstGeom prst="rect">
          <a:avLst/>
        </a:prstGeom>
        <a:solidFill>
          <a:schemeClr val="accent5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Lorem</a:t>
          </a:r>
          <a:r>
            <a: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 </a:t>
          </a:r>
          <a:r>
            <a: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ipsum</a:t>
          </a:r>
          <a:r>
            <a: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 5,</a:t>
          </a:r>
          <a:br>
            <a: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</a:br>
          <a:r>
            <a: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16 </a:t>
          </a:r>
          <a:r>
            <a: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utiger LT Com 65 Bold" panose="020B0803030504020204" pitchFamily="34" charset="0"/>
              <a:ea typeface="+mn-ea"/>
              <a:cs typeface="+mn-cs"/>
            </a:rPr>
            <a:t>pt</a:t>
          </a:r>
          <a:endParaRPr lang="de-DE" sz="1600" kern="1200" dirty="0">
            <a:solidFill>
              <a:schemeClr val="bg1"/>
            </a:solidFill>
          </a:endParaRPr>
        </a:p>
      </dsp:txBody>
      <dsp:txXfrm>
        <a:off x="397" y="1401536"/>
        <a:ext cx="1956764" cy="97838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7EA7125-AC84-4988-BFD8-652979089411}">
      <dsp:nvSpPr>
        <dsp:cNvPr id="0" name=""/>
        <dsp:cNvSpPr/>
      </dsp:nvSpPr>
      <dsp:spPr>
        <a:xfrm>
          <a:off x="6937128" y="1624342"/>
          <a:ext cx="169113" cy="211956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19561"/>
              </a:lnTo>
              <a:lnTo>
                <a:pt x="169113" y="2119561"/>
              </a:lnTo>
            </a:path>
          </a:pathLst>
        </a:custGeom>
        <a:noFill/>
        <a:ln w="12700" cap="flat" cmpd="sng" algn="ctr">
          <a:solidFill>
            <a:srgbClr val="00000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C38C921-903D-41CC-BA05-27E8EB57B822}">
      <dsp:nvSpPr>
        <dsp:cNvPr id="0" name=""/>
        <dsp:cNvSpPr/>
      </dsp:nvSpPr>
      <dsp:spPr>
        <a:xfrm>
          <a:off x="6937128" y="1624342"/>
          <a:ext cx="169113" cy="131908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19088"/>
              </a:lnTo>
              <a:lnTo>
                <a:pt x="169113" y="1319088"/>
              </a:lnTo>
            </a:path>
          </a:pathLst>
        </a:custGeom>
        <a:noFill/>
        <a:ln w="12700" cap="flat" cmpd="sng" algn="ctr">
          <a:solidFill>
            <a:srgbClr val="00000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4EB6106-AA2F-4D90-9234-9ED0F55F1EE2}">
      <dsp:nvSpPr>
        <dsp:cNvPr id="0" name=""/>
        <dsp:cNvSpPr/>
      </dsp:nvSpPr>
      <dsp:spPr>
        <a:xfrm>
          <a:off x="6937128" y="1624342"/>
          <a:ext cx="169113" cy="51861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18616"/>
              </a:lnTo>
              <a:lnTo>
                <a:pt x="169113" y="518616"/>
              </a:lnTo>
            </a:path>
          </a:pathLst>
        </a:custGeom>
        <a:noFill/>
        <a:ln w="12700" cap="flat" cmpd="sng" algn="ctr">
          <a:solidFill>
            <a:srgbClr val="00000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83E6E55-631F-4A62-97E6-29DAC118DDE0}">
      <dsp:nvSpPr>
        <dsp:cNvPr id="0" name=""/>
        <dsp:cNvSpPr/>
      </dsp:nvSpPr>
      <dsp:spPr>
        <a:xfrm>
          <a:off x="4318680" y="823869"/>
          <a:ext cx="3069418" cy="23675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8379"/>
              </a:lnTo>
              <a:lnTo>
                <a:pt x="3069418" y="118379"/>
              </a:lnTo>
              <a:lnTo>
                <a:pt x="3069418" y="236759"/>
              </a:lnTo>
            </a:path>
          </a:pathLst>
        </a:custGeom>
        <a:noFill/>
        <a:ln w="12700" cap="flat" cmpd="sng" algn="ctr">
          <a:solidFill>
            <a:srgbClr val="00000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2970902-D589-48A7-9250-9AA7724F2F2E}">
      <dsp:nvSpPr>
        <dsp:cNvPr id="0" name=""/>
        <dsp:cNvSpPr/>
      </dsp:nvSpPr>
      <dsp:spPr>
        <a:xfrm>
          <a:off x="5572942" y="2424815"/>
          <a:ext cx="169113" cy="51861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18616"/>
              </a:lnTo>
              <a:lnTo>
                <a:pt x="169113" y="518616"/>
              </a:lnTo>
            </a:path>
          </a:pathLst>
        </a:custGeom>
        <a:noFill/>
        <a:ln w="12700" cap="flat" cmpd="sng" algn="ctr">
          <a:solidFill>
            <a:srgbClr val="00000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8C4DF44-9C8C-4D89-A37C-BD3659C51111}">
      <dsp:nvSpPr>
        <dsp:cNvPr id="0" name=""/>
        <dsp:cNvSpPr/>
      </dsp:nvSpPr>
      <dsp:spPr>
        <a:xfrm>
          <a:off x="5341820" y="1624342"/>
          <a:ext cx="682092" cy="23675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8379"/>
              </a:lnTo>
              <a:lnTo>
                <a:pt x="682092" y="118379"/>
              </a:lnTo>
              <a:lnTo>
                <a:pt x="682092" y="236759"/>
              </a:lnTo>
            </a:path>
          </a:pathLst>
        </a:custGeom>
        <a:noFill/>
        <a:ln w="12700" cap="flat" cmpd="sng" algn="ctr">
          <a:solidFill>
            <a:srgbClr val="00000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0876D94-AF5C-4108-AB73-963BD23E39C5}">
      <dsp:nvSpPr>
        <dsp:cNvPr id="0" name=""/>
        <dsp:cNvSpPr/>
      </dsp:nvSpPr>
      <dsp:spPr>
        <a:xfrm>
          <a:off x="4659727" y="1624342"/>
          <a:ext cx="682092" cy="236759"/>
        </a:xfrm>
        <a:custGeom>
          <a:avLst/>
          <a:gdLst/>
          <a:ahLst/>
          <a:cxnLst/>
          <a:rect l="0" t="0" r="0" b="0"/>
          <a:pathLst>
            <a:path>
              <a:moveTo>
                <a:pt x="682092" y="0"/>
              </a:moveTo>
              <a:lnTo>
                <a:pt x="682092" y="118379"/>
              </a:lnTo>
              <a:lnTo>
                <a:pt x="0" y="118379"/>
              </a:lnTo>
              <a:lnTo>
                <a:pt x="0" y="236759"/>
              </a:lnTo>
            </a:path>
          </a:pathLst>
        </a:custGeom>
        <a:noFill/>
        <a:ln w="12700" cap="flat" cmpd="sng" algn="ctr">
          <a:solidFill>
            <a:srgbClr val="00000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A81D178-C6EF-4F3F-AF7B-7DDF385F5947}">
      <dsp:nvSpPr>
        <dsp:cNvPr id="0" name=""/>
        <dsp:cNvSpPr/>
      </dsp:nvSpPr>
      <dsp:spPr>
        <a:xfrm>
          <a:off x="4318680" y="823869"/>
          <a:ext cx="1023139" cy="23675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8379"/>
              </a:lnTo>
              <a:lnTo>
                <a:pt x="1023139" y="118379"/>
              </a:lnTo>
              <a:lnTo>
                <a:pt x="1023139" y="236759"/>
              </a:lnTo>
            </a:path>
          </a:pathLst>
        </a:custGeom>
        <a:noFill/>
        <a:ln w="12700" cap="flat" cmpd="sng" algn="ctr">
          <a:solidFill>
            <a:srgbClr val="00000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DC63686-6794-44A2-AD6D-AD55AAF1F685}">
      <dsp:nvSpPr>
        <dsp:cNvPr id="0" name=""/>
        <dsp:cNvSpPr/>
      </dsp:nvSpPr>
      <dsp:spPr>
        <a:xfrm>
          <a:off x="2562714" y="1624342"/>
          <a:ext cx="169113" cy="131908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19088"/>
              </a:lnTo>
              <a:lnTo>
                <a:pt x="169113" y="1319088"/>
              </a:lnTo>
            </a:path>
          </a:pathLst>
        </a:custGeom>
        <a:noFill/>
        <a:ln w="12700" cap="flat" cmpd="sng" algn="ctr">
          <a:solidFill>
            <a:srgbClr val="00000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0A39DE9-3C78-44D7-946D-B937B29423E4}">
      <dsp:nvSpPr>
        <dsp:cNvPr id="0" name=""/>
        <dsp:cNvSpPr/>
      </dsp:nvSpPr>
      <dsp:spPr>
        <a:xfrm>
          <a:off x="2562714" y="1624342"/>
          <a:ext cx="169113" cy="51861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18616"/>
              </a:lnTo>
              <a:lnTo>
                <a:pt x="169113" y="518616"/>
              </a:lnTo>
            </a:path>
          </a:pathLst>
        </a:custGeom>
        <a:noFill/>
        <a:ln w="12700" cap="flat" cmpd="sng" algn="ctr">
          <a:solidFill>
            <a:srgbClr val="00000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F9D82A4-6332-4F9C-967C-3B7D03B1ACF6}">
      <dsp:nvSpPr>
        <dsp:cNvPr id="0" name=""/>
        <dsp:cNvSpPr/>
      </dsp:nvSpPr>
      <dsp:spPr>
        <a:xfrm>
          <a:off x="3013684" y="823869"/>
          <a:ext cx="1304995" cy="236759"/>
        </a:xfrm>
        <a:custGeom>
          <a:avLst/>
          <a:gdLst/>
          <a:ahLst/>
          <a:cxnLst/>
          <a:rect l="0" t="0" r="0" b="0"/>
          <a:pathLst>
            <a:path>
              <a:moveTo>
                <a:pt x="1304995" y="0"/>
              </a:moveTo>
              <a:lnTo>
                <a:pt x="1304995" y="118379"/>
              </a:lnTo>
              <a:lnTo>
                <a:pt x="0" y="118379"/>
              </a:lnTo>
              <a:lnTo>
                <a:pt x="0" y="236759"/>
              </a:lnTo>
            </a:path>
          </a:pathLst>
        </a:custGeom>
        <a:noFill/>
        <a:ln w="12700" cap="flat" cmpd="sng" algn="ctr">
          <a:solidFill>
            <a:srgbClr val="00000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4D8CB61-8A95-4EA8-9EFE-6148B8B7E9A0}">
      <dsp:nvSpPr>
        <dsp:cNvPr id="0" name=""/>
        <dsp:cNvSpPr/>
      </dsp:nvSpPr>
      <dsp:spPr>
        <a:xfrm>
          <a:off x="1249262" y="1624342"/>
          <a:ext cx="682092" cy="23675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8379"/>
              </a:lnTo>
              <a:lnTo>
                <a:pt x="682092" y="118379"/>
              </a:lnTo>
              <a:lnTo>
                <a:pt x="682092" y="236759"/>
              </a:lnTo>
            </a:path>
          </a:pathLst>
        </a:custGeom>
        <a:noFill/>
        <a:ln w="12700" cap="flat" cmpd="sng" algn="ctr">
          <a:solidFill>
            <a:srgbClr val="00000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BA94EFB-4222-4F10-9CBF-F95505700E87}">
      <dsp:nvSpPr>
        <dsp:cNvPr id="0" name=""/>
        <dsp:cNvSpPr/>
      </dsp:nvSpPr>
      <dsp:spPr>
        <a:xfrm>
          <a:off x="116199" y="2424815"/>
          <a:ext cx="169113" cy="131908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19088"/>
              </a:lnTo>
              <a:lnTo>
                <a:pt x="169113" y="1319088"/>
              </a:lnTo>
            </a:path>
          </a:pathLst>
        </a:custGeom>
        <a:noFill/>
        <a:ln w="12700" cap="flat" cmpd="sng" algn="ctr">
          <a:solidFill>
            <a:srgbClr val="00000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B84F04D-6CE1-4B5C-A440-97843617301E}">
      <dsp:nvSpPr>
        <dsp:cNvPr id="0" name=""/>
        <dsp:cNvSpPr/>
      </dsp:nvSpPr>
      <dsp:spPr>
        <a:xfrm>
          <a:off x="116199" y="2424815"/>
          <a:ext cx="169113" cy="51861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18616"/>
              </a:lnTo>
              <a:lnTo>
                <a:pt x="169113" y="518616"/>
              </a:lnTo>
            </a:path>
          </a:pathLst>
        </a:custGeom>
        <a:noFill/>
        <a:ln w="12700" cap="flat" cmpd="sng" algn="ctr">
          <a:solidFill>
            <a:srgbClr val="00000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0419D01-2FBD-47DC-8A9E-DA80F0C4C7F4}">
      <dsp:nvSpPr>
        <dsp:cNvPr id="0" name=""/>
        <dsp:cNvSpPr/>
      </dsp:nvSpPr>
      <dsp:spPr>
        <a:xfrm>
          <a:off x="567169" y="1624342"/>
          <a:ext cx="682092" cy="236759"/>
        </a:xfrm>
        <a:custGeom>
          <a:avLst/>
          <a:gdLst/>
          <a:ahLst/>
          <a:cxnLst/>
          <a:rect l="0" t="0" r="0" b="0"/>
          <a:pathLst>
            <a:path>
              <a:moveTo>
                <a:pt x="682092" y="0"/>
              </a:moveTo>
              <a:lnTo>
                <a:pt x="682092" y="118379"/>
              </a:lnTo>
              <a:lnTo>
                <a:pt x="0" y="118379"/>
              </a:lnTo>
              <a:lnTo>
                <a:pt x="0" y="236759"/>
              </a:lnTo>
            </a:path>
          </a:pathLst>
        </a:custGeom>
        <a:noFill/>
        <a:ln w="12700" cap="flat" cmpd="sng" algn="ctr">
          <a:solidFill>
            <a:srgbClr val="00000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69F9EDC-31CB-48F8-9E99-60A66A0FC3AF}">
      <dsp:nvSpPr>
        <dsp:cNvPr id="0" name=""/>
        <dsp:cNvSpPr/>
      </dsp:nvSpPr>
      <dsp:spPr>
        <a:xfrm>
          <a:off x="1249262" y="823869"/>
          <a:ext cx="3069418" cy="236759"/>
        </a:xfrm>
        <a:custGeom>
          <a:avLst/>
          <a:gdLst/>
          <a:ahLst/>
          <a:cxnLst/>
          <a:rect l="0" t="0" r="0" b="0"/>
          <a:pathLst>
            <a:path>
              <a:moveTo>
                <a:pt x="3069418" y="0"/>
              </a:moveTo>
              <a:lnTo>
                <a:pt x="3069418" y="118379"/>
              </a:lnTo>
              <a:lnTo>
                <a:pt x="0" y="118379"/>
              </a:lnTo>
              <a:lnTo>
                <a:pt x="0" y="236759"/>
              </a:lnTo>
            </a:path>
          </a:pathLst>
        </a:custGeom>
        <a:noFill/>
        <a:ln w="12700" cap="flat" cmpd="sng" algn="ctr">
          <a:solidFill>
            <a:srgbClr val="00000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7B3718D-D095-4E7C-B2C8-70FADAE068BC}">
      <dsp:nvSpPr>
        <dsp:cNvPr id="0" name=""/>
        <dsp:cNvSpPr/>
      </dsp:nvSpPr>
      <dsp:spPr>
        <a:xfrm>
          <a:off x="3086414" y="260156"/>
          <a:ext cx="2464531" cy="563713"/>
        </a:xfrm>
        <a:prstGeom prst="rect">
          <a:avLst/>
        </a:prstGeom>
        <a:solidFill>
          <a:schemeClr val="accent1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DE" sz="1400" b="1" i="0" kern="120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kern="120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kern="1200" dirty="0">
              <a:ln w="0"/>
              <a:solidFill>
                <a:schemeClr val="bg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b="0" i="0" kern="1200" dirty="0">
            <a:effectLst/>
            <a:latin typeface="Frutiger LT Com 45 Light" panose="020B0303030504020204" pitchFamily="34" charset="77"/>
          </a:endParaRPr>
        </a:p>
      </dsp:txBody>
      <dsp:txXfrm>
        <a:off x="3086414" y="260156"/>
        <a:ext cx="2464531" cy="563713"/>
      </dsp:txXfrm>
    </dsp:sp>
    <dsp:sp modelId="{A8401B32-71D4-404D-AC33-5BC33C651FC9}">
      <dsp:nvSpPr>
        <dsp:cNvPr id="0" name=""/>
        <dsp:cNvSpPr/>
      </dsp:nvSpPr>
      <dsp:spPr>
        <a:xfrm>
          <a:off x="685549" y="1060629"/>
          <a:ext cx="1127426" cy="563713"/>
        </a:xfrm>
        <a:prstGeom prst="rect">
          <a:avLst/>
        </a:prstGeom>
        <a:solidFill>
          <a:schemeClr val="accent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i="0" kern="120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kern="120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kern="1200" dirty="0">
              <a:ln w="0"/>
              <a:solidFill>
                <a:schemeClr val="bg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b="1" kern="1200" cap="all" baseline="0" dirty="0">
            <a:effectLst/>
          </a:endParaRPr>
        </a:p>
      </dsp:txBody>
      <dsp:txXfrm>
        <a:off x="685549" y="1060629"/>
        <a:ext cx="1127426" cy="563713"/>
      </dsp:txXfrm>
    </dsp:sp>
    <dsp:sp modelId="{4D8B2193-3E3B-4BE6-B5D7-FDB1E2E87687}">
      <dsp:nvSpPr>
        <dsp:cNvPr id="0" name=""/>
        <dsp:cNvSpPr/>
      </dsp:nvSpPr>
      <dsp:spPr>
        <a:xfrm>
          <a:off x="3456" y="1861101"/>
          <a:ext cx="1127426" cy="563713"/>
        </a:xfrm>
        <a:prstGeom prst="rect">
          <a:avLst/>
        </a:prstGeom>
        <a:solidFill>
          <a:schemeClr val="accent3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i="0" kern="120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kern="120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kern="1200" dirty="0">
              <a:ln w="0"/>
              <a:solidFill>
                <a:schemeClr val="bg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kern="1200" dirty="0">
            <a:effectLst/>
          </a:endParaRPr>
        </a:p>
      </dsp:txBody>
      <dsp:txXfrm>
        <a:off x="3456" y="1861101"/>
        <a:ext cx="1127426" cy="563713"/>
      </dsp:txXfrm>
    </dsp:sp>
    <dsp:sp modelId="{46F89631-4D52-45EB-BAB7-354E6BE91ACF}">
      <dsp:nvSpPr>
        <dsp:cNvPr id="0" name=""/>
        <dsp:cNvSpPr/>
      </dsp:nvSpPr>
      <dsp:spPr>
        <a:xfrm>
          <a:off x="285313" y="2661574"/>
          <a:ext cx="1127426" cy="563713"/>
        </a:xfrm>
        <a:prstGeom prst="rect">
          <a:avLst/>
        </a:prstGeom>
        <a:solidFill>
          <a:schemeClr val="bg1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i="0" kern="1200" dirty="0">
              <a:ln w="0"/>
              <a:solidFill>
                <a:schemeClr val="tx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kern="1200" dirty="0">
              <a:ln w="0"/>
              <a:solidFill>
                <a:schemeClr val="tx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kern="1200" dirty="0">
              <a:ln w="0"/>
              <a:solidFill>
                <a:schemeClr val="tx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kern="1200" dirty="0">
            <a:solidFill>
              <a:schemeClr val="tx1"/>
            </a:solidFill>
            <a:effectLst/>
          </a:endParaRPr>
        </a:p>
      </dsp:txBody>
      <dsp:txXfrm>
        <a:off x="285313" y="2661574"/>
        <a:ext cx="1127426" cy="563713"/>
      </dsp:txXfrm>
    </dsp:sp>
    <dsp:sp modelId="{FE119EF5-0B4C-4ED4-9DDC-4021FD3F884A}">
      <dsp:nvSpPr>
        <dsp:cNvPr id="0" name=""/>
        <dsp:cNvSpPr/>
      </dsp:nvSpPr>
      <dsp:spPr>
        <a:xfrm>
          <a:off x="285313" y="3462047"/>
          <a:ext cx="1127426" cy="563713"/>
        </a:xfrm>
        <a:prstGeom prst="rect">
          <a:avLst/>
        </a:prstGeom>
        <a:solidFill>
          <a:schemeClr val="bg1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i="0" kern="1200" dirty="0">
              <a:ln w="0"/>
              <a:solidFill>
                <a:schemeClr val="tx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kern="1200" dirty="0">
              <a:ln w="0"/>
              <a:solidFill>
                <a:schemeClr val="tx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kern="1200" dirty="0">
              <a:ln w="0"/>
              <a:solidFill>
                <a:schemeClr val="tx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kern="1200" dirty="0">
            <a:solidFill>
              <a:schemeClr val="tx1"/>
            </a:solidFill>
            <a:effectLst/>
          </a:endParaRPr>
        </a:p>
      </dsp:txBody>
      <dsp:txXfrm>
        <a:off x="285313" y="3462047"/>
        <a:ext cx="1127426" cy="563713"/>
      </dsp:txXfrm>
    </dsp:sp>
    <dsp:sp modelId="{B1AE9F0B-765F-4B49-A6EE-649675500B3C}">
      <dsp:nvSpPr>
        <dsp:cNvPr id="0" name=""/>
        <dsp:cNvSpPr/>
      </dsp:nvSpPr>
      <dsp:spPr>
        <a:xfrm>
          <a:off x="1367642" y="1861101"/>
          <a:ext cx="1127426" cy="563713"/>
        </a:xfrm>
        <a:prstGeom prst="rect">
          <a:avLst/>
        </a:prstGeom>
        <a:solidFill>
          <a:schemeClr val="accent3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i="0" kern="120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kern="120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kern="1200" dirty="0">
              <a:ln w="0"/>
              <a:solidFill>
                <a:schemeClr val="bg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kern="1200" dirty="0">
            <a:effectLst/>
          </a:endParaRPr>
        </a:p>
      </dsp:txBody>
      <dsp:txXfrm>
        <a:off x="1367642" y="1861101"/>
        <a:ext cx="1127426" cy="563713"/>
      </dsp:txXfrm>
    </dsp:sp>
    <dsp:sp modelId="{0C278C1E-E6D3-4403-9D34-12858B00EF12}">
      <dsp:nvSpPr>
        <dsp:cNvPr id="0" name=""/>
        <dsp:cNvSpPr/>
      </dsp:nvSpPr>
      <dsp:spPr>
        <a:xfrm>
          <a:off x="2449971" y="1060629"/>
          <a:ext cx="1127426" cy="563713"/>
        </a:xfrm>
        <a:prstGeom prst="rect">
          <a:avLst/>
        </a:prstGeom>
        <a:solidFill>
          <a:schemeClr val="accent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i="0" kern="120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kern="120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kern="1200" dirty="0">
              <a:ln w="0"/>
              <a:solidFill>
                <a:schemeClr val="bg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b="1" kern="1200" dirty="0"/>
        </a:p>
      </dsp:txBody>
      <dsp:txXfrm>
        <a:off x="2449971" y="1060629"/>
        <a:ext cx="1127426" cy="563713"/>
      </dsp:txXfrm>
    </dsp:sp>
    <dsp:sp modelId="{7665C758-3D6C-4896-8FDC-91454A6F2294}">
      <dsp:nvSpPr>
        <dsp:cNvPr id="0" name=""/>
        <dsp:cNvSpPr/>
      </dsp:nvSpPr>
      <dsp:spPr>
        <a:xfrm>
          <a:off x="2731828" y="1861101"/>
          <a:ext cx="1127426" cy="563713"/>
        </a:xfrm>
        <a:prstGeom prst="rect">
          <a:avLst/>
        </a:prstGeom>
        <a:solidFill>
          <a:schemeClr val="accent3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i="0" kern="120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kern="120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kern="1200" dirty="0">
              <a:ln w="0"/>
              <a:solidFill>
                <a:schemeClr val="bg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kern="1200" dirty="0">
            <a:effectLst/>
          </a:endParaRPr>
        </a:p>
      </dsp:txBody>
      <dsp:txXfrm>
        <a:off x="2731828" y="1861101"/>
        <a:ext cx="1127426" cy="563713"/>
      </dsp:txXfrm>
    </dsp:sp>
    <dsp:sp modelId="{615B0518-1486-4414-BFEC-42C0228DC46A}">
      <dsp:nvSpPr>
        <dsp:cNvPr id="0" name=""/>
        <dsp:cNvSpPr/>
      </dsp:nvSpPr>
      <dsp:spPr>
        <a:xfrm>
          <a:off x="2731828" y="2661574"/>
          <a:ext cx="1127426" cy="563713"/>
        </a:xfrm>
        <a:prstGeom prst="rect">
          <a:avLst/>
        </a:prstGeom>
        <a:solidFill>
          <a:schemeClr val="accent3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i="0" kern="120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kern="120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kern="1200" dirty="0">
              <a:ln w="0"/>
              <a:solidFill>
                <a:schemeClr val="bg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kern="1200" dirty="0">
            <a:effectLst/>
          </a:endParaRPr>
        </a:p>
      </dsp:txBody>
      <dsp:txXfrm>
        <a:off x="2731828" y="2661574"/>
        <a:ext cx="1127426" cy="563713"/>
      </dsp:txXfrm>
    </dsp:sp>
    <dsp:sp modelId="{631EFF45-A493-48D4-BE0B-7D591AB48D4E}">
      <dsp:nvSpPr>
        <dsp:cNvPr id="0" name=""/>
        <dsp:cNvSpPr/>
      </dsp:nvSpPr>
      <dsp:spPr>
        <a:xfrm>
          <a:off x="4778106" y="1060629"/>
          <a:ext cx="1127426" cy="563713"/>
        </a:xfrm>
        <a:prstGeom prst="rect">
          <a:avLst/>
        </a:prstGeom>
        <a:solidFill>
          <a:schemeClr val="accent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i="0" kern="120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kern="120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kern="1200" dirty="0">
              <a:ln w="0"/>
              <a:solidFill>
                <a:schemeClr val="bg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b="1" kern="1200" cap="all" baseline="0" dirty="0"/>
        </a:p>
      </dsp:txBody>
      <dsp:txXfrm>
        <a:off x="4778106" y="1060629"/>
        <a:ext cx="1127426" cy="563713"/>
      </dsp:txXfrm>
    </dsp:sp>
    <dsp:sp modelId="{4B3C9A44-DAFA-4DB6-A663-0F10D810BCA6}">
      <dsp:nvSpPr>
        <dsp:cNvPr id="0" name=""/>
        <dsp:cNvSpPr/>
      </dsp:nvSpPr>
      <dsp:spPr>
        <a:xfrm>
          <a:off x="4096013" y="1861101"/>
          <a:ext cx="1127426" cy="563713"/>
        </a:xfrm>
        <a:prstGeom prst="rect">
          <a:avLst/>
        </a:prstGeom>
        <a:solidFill>
          <a:schemeClr val="accent3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i="0" kern="120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kern="120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kern="1200" dirty="0">
              <a:ln w="0"/>
              <a:solidFill>
                <a:schemeClr val="bg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kern="1200" dirty="0">
            <a:effectLst/>
          </a:endParaRPr>
        </a:p>
      </dsp:txBody>
      <dsp:txXfrm>
        <a:off x="4096013" y="1861101"/>
        <a:ext cx="1127426" cy="563713"/>
      </dsp:txXfrm>
    </dsp:sp>
    <dsp:sp modelId="{7CD91223-4941-44B9-BF38-DEF7DA4AA325}">
      <dsp:nvSpPr>
        <dsp:cNvPr id="0" name=""/>
        <dsp:cNvSpPr/>
      </dsp:nvSpPr>
      <dsp:spPr>
        <a:xfrm>
          <a:off x="5460199" y="1861101"/>
          <a:ext cx="1127426" cy="563713"/>
        </a:xfrm>
        <a:prstGeom prst="rect">
          <a:avLst/>
        </a:prstGeom>
        <a:solidFill>
          <a:schemeClr val="accent3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i="0" kern="120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kern="120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kern="1200" dirty="0">
              <a:ln w="0"/>
              <a:solidFill>
                <a:schemeClr val="bg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kern="1200" dirty="0">
            <a:effectLst/>
          </a:endParaRPr>
        </a:p>
      </dsp:txBody>
      <dsp:txXfrm>
        <a:off x="5460199" y="1861101"/>
        <a:ext cx="1127426" cy="563713"/>
      </dsp:txXfrm>
    </dsp:sp>
    <dsp:sp modelId="{98F98B7D-FCD3-4DA2-A2BC-59B151E6C6FA}">
      <dsp:nvSpPr>
        <dsp:cNvPr id="0" name=""/>
        <dsp:cNvSpPr/>
      </dsp:nvSpPr>
      <dsp:spPr>
        <a:xfrm>
          <a:off x="5742056" y="2661574"/>
          <a:ext cx="1127426" cy="563713"/>
        </a:xfrm>
        <a:prstGeom prst="rect">
          <a:avLst/>
        </a:prstGeom>
        <a:solidFill>
          <a:schemeClr val="bg1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i="0" kern="1200" dirty="0">
              <a:ln w="0"/>
              <a:solidFill>
                <a:schemeClr val="tx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kern="1200" dirty="0">
              <a:ln w="0"/>
              <a:solidFill>
                <a:schemeClr val="tx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kern="1200" dirty="0">
              <a:ln w="0"/>
              <a:solidFill>
                <a:schemeClr val="tx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kern="1200" dirty="0">
            <a:solidFill>
              <a:schemeClr val="tx1"/>
            </a:solidFill>
            <a:effectLst/>
          </a:endParaRPr>
        </a:p>
      </dsp:txBody>
      <dsp:txXfrm>
        <a:off x="5742056" y="2661574"/>
        <a:ext cx="1127426" cy="563713"/>
      </dsp:txXfrm>
    </dsp:sp>
    <dsp:sp modelId="{61A8E91F-01FA-4EC2-83A7-E3CC9F429B67}">
      <dsp:nvSpPr>
        <dsp:cNvPr id="0" name=""/>
        <dsp:cNvSpPr/>
      </dsp:nvSpPr>
      <dsp:spPr>
        <a:xfrm>
          <a:off x="6824385" y="1060629"/>
          <a:ext cx="1127426" cy="563713"/>
        </a:xfrm>
        <a:prstGeom prst="rect">
          <a:avLst/>
        </a:prstGeom>
        <a:solidFill>
          <a:schemeClr val="accent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i="0" kern="120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kern="120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kern="1200" dirty="0">
              <a:ln w="0"/>
              <a:solidFill>
                <a:schemeClr val="bg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b="1" kern="1200" cap="all" baseline="0" dirty="0">
            <a:effectLst/>
          </a:endParaRPr>
        </a:p>
      </dsp:txBody>
      <dsp:txXfrm>
        <a:off x="6824385" y="1060629"/>
        <a:ext cx="1127426" cy="563713"/>
      </dsp:txXfrm>
    </dsp:sp>
    <dsp:sp modelId="{98B82480-E653-42CA-AFC5-E457AA2E5164}">
      <dsp:nvSpPr>
        <dsp:cNvPr id="0" name=""/>
        <dsp:cNvSpPr/>
      </dsp:nvSpPr>
      <dsp:spPr>
        <a:xfrm>
          <a:off x="7106242" y="1861101"/>
          <a:ext cx="1127426" cy="563713"/>
        </a:xfrm>
        <a:prstGeom prst="rect">
          <a:avLst/>
        </a:prstGeom>
        <a:solidFill>
          <a:schemeClr val="accent3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i="0" kern="120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kern="120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kern="1200" dirty="0">
              <a:ln w="0"/>
              <a:solidFill>
                <a:schemeClr val="bg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kern="1200" dirty="0">
            <a:effectLst/>
          </a:endParaRPr>
        </a:p>
      </dsp:txBody>
      <dsp:txXfrm>
        <a:off x="7106242" y="1861101"/>
        <a:ext cx="1127426" cy="563713"/>
      </dsp:txXfrm>
    </dsp:sp>
    <dsp:sp modelId="{10CDABED-BD00-44C7-BBD9-C798846AAA29}">
      <dsp:nvSpPr>
        <dsp:cNvPr id="0" name=""/>
        <dsp:cNvSpPr/>
      </dsp:nvSpPr>
      <dsp:spPr>
        <a:xfrm>
          <a:off x="7106242" y="2661574"/>
          <a:ext cx="1127426" cy="563713"/>
        </a:xfrm>
        <a:prstGeom prst="rect">
          <a:avLst/>
        </a:prstGeom>
        <a:solidFill>
          <a:schemeClr val="accent3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i="0" kern="120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kern="120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kern="1200" dirty="0">
              <a:ln w="0"/>
              <a:solidFill>
                <a:schemeClr val="bg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kern="1200" dirty="0">
            <a:effectLst/>
          </a:endParaRPr>
        </a:p>
      </dsp:txBody>
      <dsp:txXfrm>
        <a:off x="7106242" y="2661574"/>
        <a:ext cx="1127426" cy="563713"/>
      </dsp:txXfrm>
    </dsp:sp>
    <dsp:sp modelId="{9B8410F3-C261-4466-BF12-B871CE7C6EB2}">
      <dsp:nvSpPr>
        <dsp:cNvPr id="0" name=""/>
        <dsp:cNvSpPr/>
      </dsp:nvSpPr>
      <dsp:spPr>
        <a:xfrm>
          <a:off x="7106242" y="3462047"/>
          <a:ext cx="1127426" cy="563713"/>
        </a:xfrm>
        <a:prstGeom prst="rect">
          <a:avLst/>
        </a:prstGeom>
        <a:solidFill>
          <a:schemeClr val="accent3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i="0" kern="120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  <a:t>Name</a:t>
          </a:r>
          <a:br>
            <a:rPr lang="de-DE" sz="1400" b="1" i="0" kern="1200" dirty="0">
              <a:ln w="0"/>
              <a:solidFill>
                <a:schemeClr val="bg1"/>
              </a:solidFill>
              <a:effectLst/>
              <a:latin typeface="Frutiger LT Com 65" panose="020B0503030504020204" pitchFamily="34" charset="77"/>
            </a:rPr>
          </a:br>
          <a:r>
            <a:rPr lang="de-DE" sz="1400" b="0" i="0" kern="1200" dirty="0">
              <a:ln w="0"/>
              <a:solidFill>
                <a:schemeClr val="bg1"/>
              </a:solidFill>
              <a:effectLst/>
              <a:latin typeface="Frutiger LT Com 45 Light" panose="020B0303030504020204" pitchFamily="34" charset="77"/>
            </a:rPr>
            <a:t>Position</a:t>
          </a:r>
          <a:endParaRPr lang="de-DE" sz="1400" kern="1200" dirty="0">
            <a:effectLst/>
          </a:endParaRPr>
        </a:p>
      </dsp:txBody>
      <dsp:txXfrm>
        <a:off x="7106242" y="3462047"/>
        <a:ext cx="1127426" cy="56371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FCA43AF-C9E8-4302-8DEA-1A5E6217A596}">
      <dsp:nvSpPr>
        <dsp:cNvPr id="0" name=""/>
        <dsp:cNvSpPr/>
      </dsp:nvSpPr>
      <dsp:spPr>
        <a:xfrm>
          <a:off x="5829355" y="3654671"/>
          <a:ext cx="293718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293718" y="45720"/>
              </a:lnTo>
            </a:path>
          </a:pathLst>
        </a:custGeom>
        <a:noFill/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3AF67E2-C695-44C2-A2AB-39884C62A9B6}">
      <dsp:nvSpPr>
        <dsp:cNvPr id="0" name=""/>
        <dsp:cNvSpPr/>
      </dsp:nvSpPr>
      <dsp:spPr>
        <a:xfrm>
          <a:off x="4067045" y="3384644"/>
          <a:ext cx="293718" cy="31574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46859" y="0"/>
              </a:lnTo>
              <a:lnTo>
                <a:pt x="146859" y="315747"/>
              </a:lnTo>
              <a:lnTo>
                <a:pt x="293718" y="315747"/>
              </a:lnTo>
            </a:path>
          </a:pathLst>
        </a:custGeom>
        <a:noFill/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D72A47F-E7E7-4E44-AB11-0322D7804B7F}">
      <dsp:nvSpPr>
        <dsp:cNvPr id="0" name=""/>
        <dsp:cNvSpPr/>
      </dsp:nvSpPr>
      <dsp:spPr>
        <a:xfrm>
          <a:off x="4067045" y="3068897"/>
          <a:ext cx="293718" cy="315747"/>
        </a:xfrm>
        <a:custGeom>
          <a:avLst/>
          <a:gdLst/>
          <a:ahLst/>
          <a:cxnLst/>
          <a:rect l="0" t="0" r="0" b="0"/>
          <a:pathLst>
            <a:path>
              <a:moveTo>
                <a:pt x="0" y="315747"/>
              </a:moveTo>
              <a:lnTo>
                <a:pt x="146859" y="315747"/>
              </a:lnTo>
              <a:lnTo>
                <a:pt x="146859" y="0"/>
              </a:lnTo>
              <a:lnTo>
                <a:pt x="293718" y="0"/>
              </a:lnTo>
            </a:path>
          </a:pathLst>
        </a:custGeom>
        <a:noFill/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B6B24BB-3756-435A-809A-71B8FD40B32A}">
      <dsp:nvSpPr>
        <dsp:cNvPr id="0" name=""/>
        <dsp:cNvSpPr/>
      </dsp:nvSpPr>
      <dsp:spPr>
        <a:xfrm>
          <a:off x="2304736" y="2110199"/>
          <a:ext cx="293718" cy="127444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46859" y="0"/>
              </a:lnTo>
              <a:lnTo>
                <a:pt x="146859" y="1315003"/>
              </a:lnTo>
              <a:lnTo>
                <a:pt x="293718" y="1315003"/>
              </a:lnTo>
            </a:path>
          </a:pathLst>
        </a:custGeom>
        <a:noFill/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tx1">
            <a:hueOff val="0"/>
            <a:satOff val="0"/>
            <a:lumOff val="0"/>
            <a:alphaOff val="0"/>
          </a:schemeClr>
        </a:fontRef>
      </dsp:style>
    </dsp:sp>
    <dsp:sp modelId="{55361A42-7D73-4821-907B-199997EDD9B0}">
      <dsp:nvSpPr>
        <dsp:cNvPr id="0" name=""/>
        <dsp:cNvSpPr/>
      </dsp:nvSpPr>
      <dsp:spPr>
        <a:xfrm>
          <a:off x="4067045" y="2121656"/>
          <a:ext cx="293718" cy="31574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46859" y="0"/>
              </a:lnTo>
              <a:lnTo>
                <a:pt x="146859" y="315747"/>
              </a:lnTo>
              <a:lnTo>
                <a:pt x="293718" y="315747"/>
              </a:lnTo>
            </a:path>
          </a:pathLst>
        </a:custGeom>
        <a:noFill/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06CFC8A-BDB8-4110-A73E-B0B9410A45FE}">
      <dsp:nvSpPr>
        <dsp:cNvPr id="0" name=""/>
        <dsp:cNvSpPr/>
      </dsp:nvSpPr>
      <dsp:spPr>
        <a:xfrm>
          <a:off x="4067045" y="1805908"/>
          <a:ext cx="293718" cy="315747"/>
        </a:xfrm>
        <a:custGeom>
          <a:avLst/>
          <a:gdLst/>
          <a:ahLst/>
          <a:cxnLst/>
          <a:rect l="0" t="0" r="0" b="0"/>
          <a:pathLst>
            <a:path>
              <a:moveTo>
                <a:pt x="0" y="315747"/>
              </a:moveTo>
              <a:lnTo>
                <a:pt x="146859" y="315747"/>
              </a:lnTo>
              <a:lnTo>
                <a:pt x="146859" y="0"/>
              </a:lnTo>
              <a:lnTo>
                <a:pt x="293718" y="0"/>
              </a:lnTo>
            </a:path>
          </a:pathLst>
        </a:custGeom>
        <a:noFill/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2E456C1-0206-455A-856D-3986AECA52E7}">
      <dsp:nvSpPr>
        <dsp:cNvPr id="0" name=""/>
        <dsp:cNvSpPr/>
      </dsp:nvSpPr>
      <dsp:spPr>
        <a:xfrm>
          <a:off x="2304736" y="2064479"/>
          <a:ext cx="293718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146859" y="45720"/>
              </a:lnTo>
              <a:lnTo>
                <a:pt x="146859" y="97734"/>
              </a:lnTo>
              <a:lnTo>
                <a:pt x="293718" y="97734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tx1">
            <a:hueOff val="0"/>
            <a:satOff val="0"/>
            <a:lumOff val="0"/>
            <a:alphaOff val="0"/>
          </a:schemeClr>
        </a:fontRef>
      </dsp:style>
    </dsp:sp>
    <dsp:sp modelId="{13699695-6C82-4DD1-9BA8-5A7D0DB66CC1}">
      <dsp:nvSpPr>
        <dsp:cNvPr id="0" name=""/>
        <dsp:cNvSpPr/>
      </dsp:nvSpPr>
      <dsp:spPr>
        <a:xfrm>
          <a:off x="4067045" y="858667"/>
          <a:ext cx="293718" cy="31574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46859" y="0"/>
              </a:lnTo>
              <a:lnTo>
                <a:pt x="146859" y="315747"/>
              </a:lnTo>
              <a:lnTo>
                <a:pt x="293718" y="315747"/>
              </a:lnTo>
            </a:path>
          </a:pathLst>
        </a:custGeom>
        <a:noFill/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9FB51C1-03D6-437B-84F3-8B5A0D6A487D}">
      <dsp:nvSpPr>
        <dsp:cNvPr id="0" name=""/>
        <dsp:cNvSpPr/>
      </dsp:nvSpPr>
      <dsp:spPr>
        <a:xfrm>
          <a:off x="5829355" y="542920"/>
          <a:ext cx="293718" cy="31574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46859" y="0"/>
              </a:lnTo>
              <a:lnTo>
                <a:pt x="146859" y="315747"/>
              </a:lnTo>
              <a:lnTo>
                <a:pt x="293718" y="315747"/>
              </a:lnTo>
            </a:path>
          </a:pathLst>
        </a:custGeom>
        <a:noFill/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8C92320-1FEA-4785-B85C-9DEBC6B4E0BD}">
      <dsp:nvSpPr>
        <dsp:cNvPr id="0" name=""/>
        <dsp:cNvSpPr/>
      </dsp:nvSpPr>
      <dsp:spPr>
        <a:xfrm>
          <a:off x="5829355" y="227173"/>
          <a:ext cx="293718" cy="315747"/>
        </a:xfrm>
        <a:custGeom>
          <a:avLst/>
          <a:gdLst/>
          <a:ahLst/>
          <a:cxnLst/>
          <a:rect l="0" t="0" r="0" b="0"/>
          <a:pathLst>
            <a:path>
              <a:moveTo>
                <a:pt x="0" y="315747"/>
              </a:moveTo>
              <a:lnTo>
                <a:pt x="146859" y="315747"/>
              </a:lnTo>
              <a:lnTo>
                <a:pt x="146859" y="0"/>
              </a:lnTo>
              <a:lnTo>
                <a:pt x="293718" y="0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tx1">
            <a:hueOff val="0"/>
            <a:satOff val="0"/>
            <a:lumOff val="0"/>
            <a:alphaOff val="0"/>
          </a:schemeClr>
        </a:fontRef>
      </dsp:style>
    </dsp:sp>
    <dsp:sp modelId="{03597080-A7BE-417D-960C-3E85F84BB14F}">
      <dsp:nvSpPr>
        <dsp:cNvPr id="0" name=""/>
        <dsp:cNvSpPr/>
      </dsp:nvSpPr>
      <dsp:spPr>
        <a:xfrm>
          <a:off x="4067045" y="542920"/>
          <a:ext cx="293718" cy="315747"/>
        </a:xfrm>
        <a:custGeom>
          <a:avLst/>
          <a:gdLst/>
          <a:ahLst/>
          <a:cxnLst/>
          <a:rect l="0" t="0" r="0" b="0"/>
          <a:pathLst>
            <a:path>
              <a:moveTo>
                <a:pt x="0" y="315747"/>
              </a:moveTo>
              <a:lnTo>
                <a:pt x="146859" y="315747"/>
              </a:lnTo>
              <a:lnTo>
                <a:pt x="146859" y="0"/>
              </a:lnTo>
              <a:lnTo>
                <a:pt x="293718" y="0"/>
              </a:lnTo>
            </a:path>
          </a:pathLst>
        </a:custGeom>
        <a:noFill/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tx1">
            <a:hueOff val="0"/>
            <a:satOff val="0"/>
            <a:lumOff val="0"/>
            <a:alphaOff val="0"/>
          </a:schemeClr>
        </a:fontRef>
      </dsp:style>
    </dsp:sp>
    <dsp:sp modelId="{F8C3FE30-A7A8-477D-80E9-BEC0650BBCDC}">
      <dsp:nvSpPr>
        <dsp:cNvPr id="0" name=""/>
        <dsp:cNvSpPr/>
      </dsp:nvSpPr>
      <dsp:spPr>
        <a:xfrm>
          <a:off x="2304736" y="858667"/>
          <a:ext cx="293718" cy="1251531"/>
        </a:xfrm>
        <a:custGeom>
          <a:avLst/>
          <a:gdLst/>
          <a:ahLst/>
          <a:cxnLst/>
          <a:rect l="0" t="0" r="0" b="0"/>
          <a:pathLst>
            <a:path>
              <a:moveTo>
                <a:pt x="0" y="1210973"/>
              </a:moveTo>
              <a:lnTo>
                <a:pt x="146859" y="1210973"/>
              </a:lnTo>
              <a:lnTo>
                <a:pt x="146859" y="0"/>
              </a:lnTo>
              <a:lnTo>
                <a:pt x="293718" y="0"/>
              </a:lnTo>
            </a:path>
          </a:pathLst>
        </a:custGeom>
        <a:noFill/>
        <a:ln w="12700" cap="flat" cmpd="sng" algn="ctr">
          <a:solidFill>
            <a:srgbClr val="00000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tx1">
            <a:hueOff val="0"/>
            <a:satOff val="0"/>
            <a:lumOff val="0"/>
            <a:alphaOff val="0"/>
          </a:schemeClr>
        </a:fontRef>
      </dsp:style>
    </dsp:sp>
    <dsp:sp modelId="{8E6BAC62-88FB-4D7A-9AC4-44D4711F9415}">
      <dsp:nvSpPr>
        <dsp:cNvPr id="0" name=""/>
        <dsp:cNvSpPr/>
      </dsp:nvSpPr>
      <dsp:spPr>
        <a:xfrm>
          <a:off x="836145" y="1886239"/>
          <a:ext cx="1468591" cy="447920"/>
        </a:xfrm>
        <a:prstGeom prst="rect">
          <a:avLst/>
        </a:prstGeom>
        <a:solidFill>
          <a:schemeClr val="accent1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kern="1200" dirty="0"/>
            <a:t>Position 1</a:t>
          </a:r>
        </a:p>
      </dsp:txBody>
      <dsp:txXfrm>
        <a:off x="836145" y="1886239"/>
        <a:ext cx="1468591" cy="447920"/>
      </dsp:txXfrm>
    </dsp:sp>
    <dsp:sp modelId="{FD9C3F94-D84E-4E02-AEAC-45A19EEA5888}">
      <dsp:nvSpPr>
        <dsp:cNvPr id="0" name=""/>
        <dsp:cNvSpPr/>
      </dsp:nvSpPr>
      <dsp:spPr>
        <a:xfrm>
          <a:off x="2598454" y="521540"/>
          <a:ext cx="1468591" cy="674254"/>
        </a:xfrm>
        <a:prstGeom prst="rect">
          <a:avLst/>
        </a:prstGeom>
        <a:solidFill>
          <a:schemeClr val="accent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kern="1200" cap="none" baseline="0" dirty="0"/>
            <a:t>Position 2</a:t>
          </a:r>
          <a:br>
            <a:rPr lang="de-DE" sz="1400" b="1" kern="1200" cap="none" baseline="0" dirty="0"/>
          </a:br>
          <a:r>
            <a:rPr lang="de-DE" sz="1400" b="0" kern="1200" cap="none" baseline="0" dirty="0" err="1">
              <a:latin typeface="+mn-lt"/>
            </a:rPr>
            <a:t>Lorem</a:t>
          </a:r>
          <a:r>
            <a:rPr lang="de-DE" sz="1400" b="0" kern="1200" cap="none" baseline="0" dirty="0">
              <a:latin typeface="+mn-lt"/>
            </a:rPr>
            <a:t> Ipsum</a:t>
          </a:r>
        </a:p>
      </dsp:txBody>
      <dsp:txXfrm>
        <a:off x="2598454" y="521540"/>
        <a:ext cx="1468591" cy="674254"/>
      </dsp:txXfrm>
    </dsp:sp>
    <dsp:sp modelId="{804BC146-4867-40F8-B529-584822B70E8B}">
      <dsp:nvSpPr>
        <dsp:cNvPr id="0" name=""/>
        <dsp:cNvSpPr/>
      </dsp:nvSpPr>
      <dsp:spPr>
        <a:xfrm>
          <a:off x="4360764" y="318960"/>
          <a:ext cx="1468591" cy="447920"/>
        </a:xfrm>
        <a:prstGeom prst="rect">
          <a:avLst/>
        </a:prstGeom>
        <a:solidFill>
          <a:schemeClr val="accent3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/>
            <a:t>Position 3</a:t>
          </a:r>
        </a:p>
      </dsp:txBody>
      <dsp:txXfrm>
        <a:off x="4360764" y="318960"/>
        <a:ext cx="1468591" cy="447920"/>
      </dsp:txXfrm>
    </dsp:sp>
    <dsp:sp modelId="{533FAE7A-99FC-4BD7-B353-F483C36BEBAF}">
      <dsp:nvSpPr>
        <dsp:cNvPr id="0" name=""/>
        <dsp:cNvSpPr/>
      </dsp:nvSpPr>
      <dsp:spPr>
        <a:xfrm>
          <a:off x="6123073" y="3213"/>
          <a:ext cx="1468591" cy="447920"/>
        </a:xfrm>
        <a:prstGeom prst="rect">
          <a:avLst/>
        </a:prstGeom>
        <a:solidFill>
          <a:schemeClr val="bg1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>
              <a:solidFill>
                <a:schemeClr val="tx1"/>
              </a:solidFill>
            </a:rPr>
            <a:t>Position 4</a:t>
          </a:r>
        </a:p>
      </dsp:txBody>
      <dsp:txXfrm>
        <a:off x="6123073" y="3213"/>
        <a:ext cx="1468591" cy="447920"/>
      </dsp:txXfrm>
    </dsp:sp>
    <dsp:sp modelId="{540C0FD4-101D-461C-BD03-EC00DAD4042A}">
      <dsp:nvSpPr>
        <dsp:cNvPr id="0" name=""/>
        <dsp:cNvSpPr/>
      </dsp:nvSpPr>
      <dsp:spPr>
        <a:xfrm>
          <a:off x="6123073" y="634707"/>
          <a:ext cx="1468591" cy="447920"/>
        </a:xfrm>
        <a:prstGeom prst="rect">
          <a:avLst/>
        </a:prstGeom>
        <a:solidFill>
          <a:schemeClr val="bg1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>
              <a:solidFill>
                <a:schemeClr val="tx1"/>
              </a:solidFill>
            </a:rPr>
            <a:t>Position 4</a:t>
          </a:r>
        </a:p>
      </dsp:txBody>
      <dsp:txXfrm>
        <a:off x="6123073" y="634707"/>
        <a:ext cx="1468591" cy="447920"/>
      </dsp:txXfrm>
    </dsp:sp>
    <dsp:sp modelId="{5732FEF8-F5FD-425D-9045-594279BA2A60}">
      <dsp:nvSpPr>
        <dsp:cNvPr id="0" name=""/>
        <dsp:cNvSpPr/>
      </dsp:nvSpPr>
      <dsp:spPr>
        <a:xfrm>
          <a:off x="4360764" y="950454"/>
          <a:ext cx="1468591" cy="447920"/>
        </a:xfrm>
        <a:prstGeom prst="rect">
          <a:avLst/>
        </a:prstGeom>
        <a:solidFill>
          <a:schemeClr val="accent3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/>
            <a:t>Position 3</a:t>
          </a:r>
        </a:p>
      </dsp:txBody>
      <dsp:txXfrm>
        <a:off x="4360764" y="950454"/>
        <a:ext cx="1468591" cy="447920"/>
      </dsp:txXfrm>
    </dsp:sp>
    <dsp:sp modelId="{ED652421-9518-4860-A958-9A296F3A3A20}">
      <dsp:nvSpPr>
        <dsp:cNvPr id="0" name=""/>
        <dsp:cNvSpPr/>
      </dsp:nvSpPr>
      <dsp:spPr>
        <a:xfrm>
          <a:off x="2598454" y="1801699"/>
          <a:ext cx="1468591" cy="639912"/>
        </a:xfrm>
        <a:prstGeom prst="rect">
          <a:avLst/>
        </a:prstGeom>
        <a:solidFill>
          <a:schemeClr val="accent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kern="1200" cap="none" baseline="0" dirty="0"/>
            <a:t>Position 2</a:t>
          </a:r>
          <a:br>
            <a:rPr lang="de-DE" sz="1400" b="1" kern="1200" cap="none" baseline="0" dirty="0"/>
          </a:br>
          <a:r>
            <a:rPr lang="de-DE" sz="1400" b="0" kern="1200" cap="none" baseline="0" dirty="0" err="1">
              <a:latin typeface="+mn-lt"/>
            </a:rPr>
            <a:t>Lorem</a:t>
          </a:r>
          <a:r>
            <a:rPr lang="de-DE" sz="1400" b="0" kern="1200" cap="none" baseline="0" dirty="0">
              <a:latin typeface="+mn-lt"/>
            </a:rPr>
            <a:t> Ipsum</a:t>
          </a:r>
          <a:endParaRPr lang="de-DE" sz="1400" b="1" kern="1200" dirty="0"/>
        </a:p>
      </dsp:txBody>
      <dsp:txXfrm>
        <a:off x="2598454" y="1801699"/>
        <a:ext cx="1468591" cy="639912"/>
      </dsp:txXfrm>
    </dsp:sp>
    <dsp:sp modelId="{E2C67FFA-74CF-40A2-BA9E-C83D2F42549D}">
      <dsp:nvSpPr>
        <dsp:cNvPr id="0" name=""/>
        <dsp:cNvSpPr/>
      </dsp:nvSpPr>
      <dsp:spPr>
        <a:xfrm>
          <a:off x="4360764" y="1581948"/>
          <a:ext cx="1468591" cy="447920"/>
        </a:xfrm>
        <a:prstGeom prst="rect">
          <a:avLst/>
        </a:prstGeom>
        <a:solidFill>
          <a:schemeClr val="accent3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/>
            <a:t>Position 3</a:t>
          </a:r>
        </a:p>
      </dsp:txBody>
      <dsp:txXfrm>
        <a:off x="4360764" y="1581948"/>
        <a:ext cx="1468591" cy="447920"/>
      </dsp:txXfrm>
    </dsp:sp>
    <dsp:sp modelId="{72900B95-1529-4FEA-877B-F5DBCCBBE9E3}">
      <dsp:nvSpPr>
        <dsp:cNvPr id="0" name=""/>
        <dsp:cNvSpPr/>
      </dsp:nvSpPr>
      <dsp:spPr>
        <a:xfrm>
          <a:off x="4360764" y="2213442"/>
          <a:ext cx="1468591" cy="447920"/>
        </a:xfrm>
        <a:prstGeom prst="rect">
          <a:avLst/>
        </a:prstGeom>
        <a:solidFill>
          <a:schemeClr val="accent3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/>
            <a:t>Position 3</a:t>
          </a:r>
        </a:p>
      </dsp:txBody>
      <dsp:txXfrm>
        <a:off x="4360764" y="2213442"/>
        <a:ext cx="1468591" cy="447920"/>
      </dsp:txXfrm>
    </dsp:sp>
    <dsp:sp modelId="{4925577A-3DBC-46CC-A305-52259EC03F45}">
      <dsp:nvSpPr>
        <dsp:cNvPr id="0" name=""/>
        <dsp:cNvSpPr/>
      </dsp:nvSpPr>
      <dsp:spPr>
        <a:xfrm>
          <a:off x="2598454" y="3070430"/>
          <a:ext cx="1468591" cy="628427"/>
        </a:xfrm>
        <a:prstGeom prst="rect">
          <a:avLst/>
        </a:prstGeom>
        <a:solidFill>
          <a:schemeClr val="accent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kern="1200" cap="none" baseline="0" dirty="0"/>
            <a:t>Position 2</a:t>
          </a:r>
          <a:br>
            <a:rPr lang="de-DE" sz="1400" b="1" kern="1200" cap="none" baseline="0" dirty="0"/>
          </a:br>
          <a:r>
            <a:rPr lang="de-DE" sz="1400" b="0" kern="1200" cap="none" baseline="0" dirty="0" err="1">
              <a:latin typeface="+mn-lt"/>
            </a:rPr>
            <a:t>Lorem</a:t>
          </a:r>
          <a:r>
            <a:rPr lang="de-DE" sz="1400" b="0" kern="1200" cap="none" baseline="0" dirty="0">
              <a:latin typeface="+mn-lt"/>
            </a:rPr>
            <a:t> Ipsum</a:t>
          </a:r>
          <a:endParaRPr lang="de-DE" sz="1400" b="1" kern="1200" cap="none" baseline="0" dirty="0"/>
        </a:p>
      </dsp:txBody>
      <dsp:txXfrm>
        <a:off x="2598454" y="3070430"/>
        <a:ext cx="1468591" cy="628427"/>
      </dsp:txXfrm>
    </dsp:sp>
    <dsp:sp modelId="{3B3F8463-D305-4CD2-9914-30577F921FB3}">
      <dsp:nvSpPr>
        <dsp:cNvPr id="0" name=""/>
        <dsp:cNvSpPr/>
      </dsp:nvSpPr>
      <dsp:spPr>
        <a:xfrm>
          <a:off x="4360764" y="2844937"/>
          <a:ext cx="1468591" cy="447920"/>
        </a:xfrm>
        <a:prstGeom prst="rect">
          <a:avLst/>
        </a:prstGeom>
        <a:solidFill>
          <a:schemeClr val="accent3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/>
            <a:t>Position 3</a:t>
          </a:r>
        </a:p>
      </dsp:txBody>
      <dsp:txXfrm>
        <a:off x="4360764" y="2844937"/>
        <a:ext cx="1468591" cy="447920"/>
      </dsp:txXfrm>
    </dsp:sp>
    <dsp:sp modelId="{D0C11F2E-B245-4875-BC28-1BAF0ACF29CC}">
      <dsp:nvSpPr>
        <dsp:cNvPr id="0" name=""/>
        <dsp:cNvSpPr/>
      </dsp:nvSpPr>
      <dsp:spPr>
        <a:xfrm>
          <a:off x="4360764" y="3476431"/>
          <a:ext cx="1468591" cy="447920"/>
        </a:xfrm>
        <a:prstGeom prst="rect">
          <a:avLst/>
        </a:prstGeom>
        <a:solidFill>
          <a:schemeClr val="accent3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/>
            <a:t>Position 3</a:t>
          </a:r>
        </a:p>
      </dsp:txBody>
      <dsp:txXfrm>
        <a:off x="4360764" y="3476431"/>
        <a:ext cx="1468591" cy="447920"/>
      </dsp:txXfrm>
    </dsp:sp>
    <dsp:sp modelId="{2C995335-FA50-4971-B4A5-A75D1CE9534B}">
      <dsp:nvSpPr>
        <dsp:cNvPr id="0" name=""/>
        <dsp:cNvSpPr/>
      </dsp:nvSpPr>
      <dsp:spPr>
        <a:xfrm>
          <a:off x="6123073" y="3476431"/>
          <a:ext cx="1468591" cy="447920"/>
        </a:xfrm>
        <a:prstGeom prst="rect">
          <a:avLst/>
        </a:prstGeom>
        <a:solidFill>
          <a:schemeClr val="bg1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>
              <a:solidFill>
                <a:schemeClr val="tx1"/>
              </a:solidFill>
            </a:rPr>
            <a:t>Position 4</a:t>
          </a:r>
        </a:p>
      </dsp:txBody>
      <dsp:txXfrm>
        <a:off x="6123073" y="3476431"/>
        <a:ext cx="1468591" cy="44792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826503-FF9C-6249-9C5E-E871F59DF66E}">
      <dsp:nvSpPr>
        <dsp:cNvPr id="0" name=""/>
        <dsp:cNvSpPr/>
      </dsp:nvSpPr>
      <dsp:spPr>
        <a:xfrm>
          <a:off x="1375" y="1028723"/>
          <a:ext cx="2681464" cy="2145171"/>
        </a:xfrm>
        <a:prstGeom prst="homePlate">
          <a:avLst>
            <a:gd name="adj" fmla="val 25000"/>
          </a:avLst>
        </a:prstGeom>
        <a:solidFill>
          <a:schemeClr val="accent1"/>
        </a:solidFill>
        <a:ln w="50800">
          <a:solidFill>
            <a:schemeClr val="bg1"/>
          </a:solidFill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16000" tIns="180000" rIns="378384" bIns="35560" numCol="1" spcCol="1270" anchor="t" anchorCtr="0">
          <a:noAutofit/>
        </a:bodyPr>
        <a:lstStyle/>
        <a:p>
          <a:pPr marL="0" lvl="0" indent="0" algn="l" defTabSz="622300">
            <a:lnSpc>
              <a:spcPct val="11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latin typeface="Frutiger LT Com 65 Bold" panose="020B0803030504020204" pitchFamily="34" charset="0"/>
            </a:rPr>
            <a:t>Lorem Ipsum</a:t>
          </a:r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kern="1200" dirty="0">
              <a:solidFill>
                <a:schemeClr val="bg1"/>
              </a:solidFill>
            </a:rPr>
            <a:t>Lorem ipsum dolor sit</a:t>
          </a:r>
        </a:p>
        <a:p>
          <a:pPr marL="180975" lvl="1" indent="-180975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kern="1200" dirty="0">
              <a:solidFill>
                <a:schemeClr val="bg1"/>
              </a:solidFill>
            </a:rPr>
            <a:t>Lorem ipsum dolor sit</a:t>
          </a:r>
        </a:p>
      </dsp:txBody>
      <dsp:txXfrm>
        <a:off x="1375" y="1028723"/>
        <a:ext cx="2413318" cy="2145171"/>
      </dsp:txXfrm>
    </dsp:sp>
    <dsp:sp modelId="{CE4FB90A-23D3-624D-9472-058615351CBF}">
      <dsp:nvSpPr>
        <dsp:cNvPr id="0" name=""/>
        <dsp:cNvSpPr/>
      </dsp:nvSpPr>
      <dsp:spPr>
        <a:xfrm>
          <a:off x="2147822" y="1028723"/>
          <a:ext cx="2681464" cy="2145171"/>
        </a:xfrm>
        <a:prstGeom prst="chevron">
          <a:avLst>
            <a:gd name="adj" fmla="val 25000"/>
          </a:avLst>
        </a:prstGeom>
        <a:solidFill>
          <a:schemeClr val="accent2"/>
        </a:solidFill>
        <a:ln w="50800">
          <a:solidFill>
            <a:schemeClr val="bg1"/>
          </a:solidFill>
        </a:ln>
        <a:effectLst/>
      </dsp:spPr>
      <dsp:style>
        <a:lnRef idx="0">
          <a:schemeClr val="lt1">
            <a:hueOff val="0"/>
            <a:satOff val="0"/>
            <a:lumOff val="0"/>
            <a:alphaOff val="0"/>
          </a:schemeClr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4596" tIns="180000" rIns="94596" bIns="35560" numCol="1" spcCol="1270" anchor="t" anchorCtr="0">
          <a:noAutofit/>
        </a:bodyPr>
        <a:lstStyle/>
        <a:p>
          <a:pPr marL="0" lvl="0" indent="0" algn="l" defTabSz="622300">
            <a:lnSpc>
              <a:spcPct val="11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latin typeface="Frutiger LT Com 65 Bold" panose="020B0803030504020204" pitchFamily="34" charset="0"/>
            </a:rPr>
            <a:t>Lorem Ipsum</a:t>
          </a:r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kern="1200" dirty="0">
              <a:solidFill>
                <a:schemeClr val="bg1"/>
              </a:solidFill>
            </a:rPr>
            <a:t>Lorem ipsum dolor sit</a:t>
          </a:r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kern="1200" dirty="0">
              <a:solidFill>
                <a:schemeClr val="bg1"/>
              </a:solidFill>
            </a:rPr>
            <a:t>Lorem ipsum dolor sit</a:t>
          </a:r>
        </a:p>
      </dsp:txBody>
      <dsp:txXfrm>
        <a:off x="2684115" y="1028723"/>
        <a:ext cx="1608878" cy="2145171"/>
      </dsp:txXfrm>
    </dsp:sp>
    <dsp:sp modelId="{C15471C6-BFF9-794C-A967-24D4510CC0B1}">
      <dsp:nvSpPr>
        <dsp:cNvPr id="0" name=""/>
        <dsp:cNvSpPr/>
      </dsp:nvSpPr>
      <dsp:spPr>
        <a:xfrm>
          <a:off x="4294281" y="1028723"/>
          <a:ext cx="2681464" cy="2145171"/>
        </a:xfrm>
        <a:prstGeom prst="chevron">
          <a:avLst>
            <a:gd name="adj" fmla="val 25000"/>
          </a:avLst>
        </a:prstGeom>
        <a:solidFill>
          <a:schemeClr val="accent3"/>
        </a:solidFill>
        <a:ln w="50800">
          <a:solidFill>
            <a:schemeClr val="bg1"/>
          </a:solidFill>
        </a:ln>
        <a:effectLst/>
      </dsp:spPr>
      <dsp:style>
        <a:lnRef idx="0">
          <a:schemeClr val="lt1">
            <a:hueOff val="0"/>
            <a:satOff val="0"/>
            <a:lumOff val="0"/>
            <a:alphaOff val="0"/>
          </a:schemeClr>
        </a:lnRef>
        <a:fillRef idx="3">
          <a:schemeClr val="accent4">
            <a:hueOff val="0"/>
            <a:satOff val="0"/>
            <a:lumOff val="0"/>
            <a:alphaOff val="0"/>
          </a:schemeClr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4596" tIns="180000" rIns="94596" bIns="35560" numCol="1" spcCol="1270" anchor="t" anchorCtr="0">
          <a:noAutofit/>
        </a:bodyPr>
        <a:lstStyle/>
        <a:p>
          <a:pPr marL="0" lvl="0" indent="0" algn="l" defTabSz="622300">
            <a:lnSpc>
              <a:spcPct val="11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>
              <a:latin typeface="Frutiger LT Com 65 Bold" panose="020B0803030504020204" pitchFamily="34" charset="0"/>
            </a:rPr>
            <a:t>Lorem Ipsum</a:t>
          </a:r>
          <a:endParaRPr lang="en-US" sz="1400" kern="1200" dirty="0"/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kern="1200" dirty="0">
              <a:solidFill>
                <a:schemeClr val="bg1"/>
              </a:solidFill>
            </a:rPr>
            <a:t>Lorem ipsum dolor sit</a:t>
          </a:r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kern="1200" dirty="0">
              <a:solidFill>
                <a:schemeClr val="bg1"/>
              </a:solidFill>
            </a:rPr>
            <a:t>Lorem ipsum dolor sit</a:t>
          </a:r>
        </a:p>
      </dsp:txBody>
      <dsp:txXfrm>
        <a:off x="4830574" y="1028723"/>
        <a:ext cx="1608878" cy="2145171"/>
      </dsp:txXfrm>
    </dsp:sp>
    <dsp:sp modelId="{06E132D3-40E2-204E-AF8C-A0D9B0AEDE48}">
      <dsp:nvSpPr>
        <dsp:cNvPr id="0" name=""/>
        <dsp:cNvSpPr/>
      </dsp:nvSpPr>
      <dsp:spPr>
        <a:xfrm>
          <a:off x="6441222" y="1028723"/>
          <a:ext cx="2681464" cy="2145171"/>
        </a:xfrm>
        <a:prstGeom prst="chevron">
          <a:avLst>
            <a:gd name="adj" fmla="val 25000"/>
          </a:avLst>
        </a:prstGeom>
        <a:solidFill>
          <a:schemeClr val="accent4"/>
        </a:solidFill>
        <a:ln w="50800">
          <a:solidFill>
            <a:schemeClr val="bg1"/>
          </a:solidFill>
        </a:ln>
        <a:effectLst/>
      </dsp:spPr>
      <dsp:style>
        <a:lnRef idx="0">
          <a:schemeClr val="lt1">
            <a:hueOff val="0"/>
            <a:satOff val="0"/>
            <a:lumOff val="0"/>
            <a:alphaOff val="0"/>
          </a:schemeClr>
        </a:lnRef>
        <a:fillRef idx="3">
          <a:schemeClr val="accent5">
            <a:hueOff val="0"/>
            <a:satOff val="0"/>
            <a:lumOff val="0"/>
            <a:alphaOff val="0"/>
          </a:schemeClr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4596" tIns="180000" rIns="94596" bIns="35560" numCol="1" spcCol="1270" anchor="t" anchorCtr="0">
          <a:noAutofit/>
        </a:bodyPr>
        <a:lstStyle/>
        <a:p>
          <a:pPr marL="0" lvl="0" indent="0" algn="l" defTabSz="622300">
            <a:lnSpc>
              <a:spcPct val="11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latin typeface="Frutiger LT Com 65 Bold" panose="020B0803030504020204" pitchFamily="34" charset="0"/>
            </a:rPr>
            <a:t>Lorem Ipsum</a:t>
          </a:r>
          <a:endParaRPr lang="en-US" sz="1400" kern="1200" dirty="0"/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kern="1200" dirty="0">
              <a:solidFill>
                <a:schemeClr val="bg1"/>
              </a:solidFill>
            </a:rPr>
            <a:t>Lorem ipsum dolor sit</a:t>
          </a:r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kern="1200" dirty="0">
              <a:solidFill>
                <a:schemeClr val="bg1"/>
              </a:solidFill>
            </a:rPr>
            <a:t>Lorem ipsum dolor sit</a:t>
          </a:r>
        </a:p>
      </dsp:txBody>
      <dsp:txXfrm>
        <a:off x="6977515" y="1028723"/>
        <a:ext cx="1608878" cy="2145171"/>
      </dsp:txXfrm>
    </dsp:sp>
    <dsp:sp modelId="{182A42C9-E9CF-A141-834A-3F05F838D1A7}">
      <dsp:nvSpPr>
        <dsp:cNvPr id="0" name=""/>
        <dsp:cNvSpPr/>
      </dsp:nvSpPr>
      <dsp:spPr>
        <a:xfrm>
          <a:off x="8583435" y="1028723"/>
          <a:ext cx="2681464" cy="2145171"/>
        </a:xfrm>
        <a:prstGeom prst="chevron">
          <a:avLst>
            <a:gd name="adj" fmla="val 25000"/>
          </a:avLst>
        </a:prstGeom>
        <a:solidFill>
          <a:schemeClr val="accent5"/>
        </a:solidFill>
        <a:ln w="50800">
          <a:solidFill>
            <a:schemeClr val="bg1"/>
          </a:solidFill>
        </a:ln>
        <a:effectLst/>
      </dsp:spPr>
      <dsp:style>
        <a:lnRef idx="0">
          <a:schemeClr val="lt1">
            <a:hueOff val="0"/>
            <a:satOff val="0"/>
            <a:lumOff val="0"/>
            <a:alphaOff val="0"/>
          </a:schemeClr>
        </a:lnRef>
        <a:fillRef idx="3">
          <a:schemeClr val="accent3">
            <a:hueOff val="0"/>
            <a:satOff val="0"/>
            <a:lumOff val="0"/>
            <a:alphaOff val="0"/>
          </a:schemeClr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4596" tIns="180000" rIns="94596" bIns="35560" numCol="1" spcCol="1270" anchor="t" anchorCtr="0">
          <a:noAutofit/>
        </a:bodyPr>
        <a:lstStyle/>
        <a:p>
          <a:pPr marL="0" lvl="0" indent="0" algn="l" defTabSz="622300">
            <a:lnSpc>
              <a:spcPct val="11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latin typeface="Frutiger LT Com 65 Bold" panose="020B0803030504020204" pitchFamily="34" charset="0"/>
            </a:rPr>
            <a:t>Lorem Ipsum</a:t>
          </a:r>
          <a:endParaRPr lang="en-US" sz="1400" kern="1200" dirty="0"/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kern="1200" dirty="0">
              <a:solidFill>
                <a:schemeClr val="bg1"/>
              </a:solidFill>
            </a:rPr>
            <a:t>Lorem ipsum dolor sit</a:t>
          </a:r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kern="1200" dirty="0">
              <a:solidFill>
                <a:schemeClr val="bg1"/>
              </a:solidFill>
            </a:rPr>
            <a:t>Lorem ipsum dolor sit</a:t>
          </a:r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endParaRPr lang="en-US" sz="1400" kern="1200" dirty="0">
            <a:solidFill>
              <a:schemeClr val="bg1"/>
            </a:solidFill>
          </a:endParaRPr>
        </a:p>
      </dsp:txBody>
      <dsp:txXfrm>
        <a:off x="9119728" y="1028723"/>
        <a:ext cx="1608878" cy="2145171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0F82D50-9F47-4232-AA2B-882E1B79F2F1}">
      <dsp:nvSpPr>
        <dsp:cNvPr id="0" name=""/>
        <dsp:cNvSpPr/>
      </dsp:nvSpPr>
      <dsp:spPr>
        <a:xfrm>
          <a:off x="6449537" y="2900873"/>
          <a:ext cx="3369604" cy="1365116"/>
        </a:xfrm>
        <a:prstGeom prst="rect">
          <a:avLst/>
        </a:prstGeom>
        <a:solidFill>
          <a:schemeClr val="bg2">
            <a:lumMod val="40000"/>
            <a:lumOff val="6000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108000" rIns="53340" bIns="53340" numCol="1" spcCol="1270" anchor="t" anchorCtr="0">
          <a:noAutofit/>
        </a:bodyPr>
        <a:lstStyle/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accent1"/>
            </a:buClr>
            <a:buFont typeface="Wingdings" panose="05000000000000000000" pitchFamily="2" charset="2"/>
            <a:buChar char="§"/>
          </a:pPr>
          <a:r>
            <a:rPr lang="en-US" sz="1400" kern="1200" dirty="0">
              <a:solidFill>
                <a:schemeClr val="tx1"/>
              </a:solidFill>
            </a:rPr>
            <a:t>Lorem ipsum dolor sit</a:t>
          </a:r>
          <a:endParaRPr lang="en-US" sz="1400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accent1"/>
            </a:buClr>
            <a:buFont typeface="Wingdings" panose="05000000000000000000" pitchFamily="2" charset="2"/>
            <a:buChar char="§"/>
          </a:pPr>
          <a:r>
            <a:rPr lang="en-US" sz="1400" kern="1200" dirty="0">
              <a:solidFill>
                <a:schemeClr val="tx1"/>
              </a:solidFill>
            </a:rPr>
            <a:t>Lorem ipsum dolor sit</a:t>
          </a:r>
          <a:endParaRPr lang="en-US" sz="1400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accent1"/>
            </a:buClr>
            <a:buFont typeface="Wingdings" panose="05000000000000000000" pitchFamily="2" charset="2"/>
            <a:buChar char="§"/>
          </a:pPr>
          <a:endParaRPr lang="en-US" sz="1400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</dsp:txBody>
      <dsp:txXfrm>
        <a:off x="7490406" y="3272139"/>
        <a:ext cx="2298749" cy="963863"/>
      </dsp:txXfrm>
    </dsp:sp>
    <dsp:sp modelId="{C5635514-A1AA-460A-B6E6-7CBA05937F98}">
      <dsp:nvSpPr>
        <dsp:cNvPr id="0" name=""/>
        <dsp:cNvSpPr/>
      </dsp:nvSpPr>
      <dsp:spPr>
        <a:xfrm>
          <a:off x="1433066" y="2900873"/>
          <a:ext cx="3369604" cy="1365116"/>
        </a:xfrm>
        <a:prstGeom prst="rect">
          <a:avLst/>
        </a:prstGeom>
        <a:solidFill>
          <a:schemeClr val="bg2">
            <a:lumMod val="40000"/>
            <a:lumOff val="6000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0000" tIns="108000" rIns="53340" bIns="53340" numCol="1" spcCol="1270" anchor="t" anchorCtr="0">
          <a:noAutofit/>
        </a:bodyPr>
        <a:lstStyle/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accent1"/>
            </a:buClr>
            <a:buFont typeface="Wingdings" panose="05000000000000000000" pitchFamily="2" charset="2"/>
            <a:buChar char="§"/>
          </a:pPr>
          <a:r>
            <a:rPr lang="en-US" sz="1400" kern="1200" dirty="0">
              <a:solidFill>
                <a:schemeClr val="tx1"/>
              </a:solidFill>
            </a:rPr>
            <a:t>Lorem ipsum dolor sit</a:t>
          </a:r>
          <a:endParaRPr lang="en-US" sz="1400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accent1"/>
            </a:buClr>
            <a:buFont typeface="Wingdings" panose="05000000000000000000" pitchFamily="2" charset="2"/>
            <a:buChar char="§"/>
          </a:pPr>
          <a:r>
            <a:rPr lang="en-US" sz="1400" kern="1200" dirty="0">
              <a:solidFill>
                <a:schemeClr val="tx1"/>
              </a:solidFill>
            </a:rPr>
            <a:t>Lorem ipsum dolor sit</a:t>
          </a:r>
          <a:endParaRPr lang="en-US" sz="1400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accent1"/>
            </a:buClr>
            <a:buFont typeface="Wingdings" panose="05000000000000000000" pitchFamily="2" charset="2"/>
            <a:buChar char="§"/>
          </a:pPr>
          <a:endParaRPr lang="en-US" sz="1400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</dsp:txBody>
      <dsp:txXfrm>
        <a:off x="1463053" y="3272139"/>
        <a:ext cx="2298749" cy="963863"/>
      </dsp:txXfrm>
    </dsp:sp>
    <dsp:sp modelId="{4E9AEC1E-DD39-48F5-B00C-FA2CB837DB96}">
      <dsp:nvSpPr>
        <dsp:cNvPr id="0" name=""/>
        <dsp:cNvSpPr/>
      </dsp:nvSpPr>
      <dsp:spPr>
        <a:xfrm>
          <a:off x="6476470" y="0"/>
          <a:ext cx="3370026" cy="1365116"/>
        </a:xfrm>
        <a:prstGeom prst="rect">
          <a:avLst/>
        </a:prstGeom>
        <a:solidFill>
          <a:schemeClr val="bg2">
            <a:lumMod val="40000"/>
            <a:lumOff val="6000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108000" rIns="53340" bIns="53340" numCol="1" spcCol="1270" anchor="t" anchorCtr="0">
          <a:noAutofit/>
        </a:bodyPr>
        <a:lstStyle/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accent1"/>
            </a:buClr>
            <a:buFont typeface="Wingdings" panose="05000000000000000000" pitchFamily="2" charset="2"/>
            <a:buChar char="§"/>
          </a:pPr>
          <a:r>
            <a:rPr lang="en-US" sz="1400" kern="1200" dirty="0">
              <a:solidFill>
                <a:schemeClr val="tx1"/>
              </a:solidFill>
            </a:rPr>
            <a:t>Lorem ipsum dolor sit</a:t>
          </a:r>
          <a:endParaRPr lang="en-US" sz="1400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accent1"/>
            </a:buClr>
            <a:buFont typeface="Wingdings" panose="05000000000000000000" pitchFamily="2" charset="2"/>
            <a:buChar char="§"/>
          </a:pPr>
          <a:r>
            <a:rPr lang="en-US" sz="1400" kern="1200" dirty="0">
              <a:solidFill>
                <a:schemeClr val="tx1"/>
              </a:solidFill>
            </a:rPr>
            <a:t>Lorem ipsum dolor sit</a:t>
          </a:r>
          <a:endParaRPr lang="en-US" sz="1400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accent1"/>
            </a:buClr>
            <a:buFont typeface="Wingdings" panose="05000000000000000000" pitchFamily="2" charset="2"/>
            <a:buNone/>
          </a:pPr>
          <a:endParaRPr lang="en-US" sz="1400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</dsp:txBody>
      <dsp:txXfrm>
        <a:off x="7517465" y="29987"/>
        <a:ext cx="2299044" cy="963863"/>
      </dsp:txXfrm>
    </dsp:sp>
    <dsp:sp modelId="{7A98E228-1911-4D71-BB5A-D401B3097A61}">
      <dsp:nvSpPr>
        <dsp:cNvPr id="0" name=""/>
        <dsp:cNvSpPr/>
      </dsp:nvSpPr>
      <dsp:spPr>
        <a:xfrm>
          <a:off x="1433066" y="0"/>
          <a:ext cx="3369604" cy="1365116"/>
        </a:xfrm>
        <a:prstGeom prst="rect">
          <a:avLst/>
        </a:prstGeom>
        <a:solidFill>
          <a:schemeClr val="bg2">
            <a:lumMod val="40000"/>
            <a:lumOff val="6000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0000" tIns="108000" rIns="53340" bIns="53340" numCol="1" spcCol="1270" anchor="t" anchorCtr="0">
          <a:noAutofit/>
        </a:bodyPr>
        <a:lstStyle/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accent1"/>
            </a:buClr>
            <a:buFont typeface="Wingdings" panose="05000000000000000000" pitchFamily="2" charset="2"/>
            <a:buChar char="§"/>
          </a:pPr>
          <a:r>
            <a:rPr lang="en-US" sz="1400" kern="1200" dirty="0">
              <a:solidFill>
                <a:schemeClr val="tx1"/>
              </a:solidFill>
            </a:rPr>
            <a:t>Lorem ipsum dolor sit</a:t>
          </a:r>
          <a:endParaRPr lang="en-US" sz="1400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accent1"/>
            </a:buClr>
            <a:buFont typeface="Wingdings" panose="05000000000000000000" pitchFamily="2" charset="2"/>
            <a:buChar char="§"/>
          </a:pPr>
          <a:r>
            <a:rPr lang="en-US" sz="1400" kern="1200" dirty="0">
              <a:solidFill>
                <a:schemeClr val="tx1"/>
              </a:solidFill>
            </a:rPr>
            <a:t>Lorem ipsum dolor sit</a:t>
          </a:r>
          <a:endParaRPr lang="en-US" sz="1400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</dsp:txBody>
      <dsp:txXfrm>
        <a:off x="1463053" y="29987"/>
        <a:ext cx="2298749" cy="963863"/>
      </dsp:txXfrm>
    </dsp:sp>
    <dsp:sp modelId="{3B24D1B4-402E-47F7-8D84-45FD1C1E82E9}">
      <dsp:nvSpPr>
        <dsp:cNvPr id="0" name=""/>
        <dsp:cNvSpPr/>
      </dsp:nvSpPr>
      <dsp:spPr>
        <a:xfrm>
          <a:off x="3720391" y="243161"/>
          <a:ext cx="1847173" cy="1847173"/>
        </a:xfrm>
        <a:prstGeom prst="pieWedge">
          <a:avLst/>
        </a:prstGeom>
        <a:solidFill>
          <a:schemeClr val="accent1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 err="1"/>
            <a:t>Lorem</a:t>
          </a:r>
          <a:r>
            <a:rPr lang="de-DE" sz="2400" kern="1200" dirty="0"/>
            <a:t> Ipsum</a:t>
          </a:r>
        </a:p>
      </dsp:txBody>
      <dsp:txXfrm>
        <a:off x="4261415" y="784185"/>
        <a:ext cx="1306149" cy="1306149"/>
      </dsp:txXfrm>
    </dsp:sp>
    <dsp:sp modelId="{4487BA5C-07BD-4AAF-9345-C4016B41B800}">
      <dsp:nvSpPr>
        <dsp:cNvPr id="0" name=""/>
        <dsp:cNvSpPr/>
      </dsp:nvSpPr>
      <dsp:spPr>
        <a:xfrm rot="5400000">
          <a:off x="5652884" y="243161"/>
          <a:ext cx="1847173" cy="1847173"/>
        </a:xfrm>
        <a:prstGeom prst="pieWedge">
          <a:avLst/>
        </a:prstGeom>
        <a:solidFill>
          <a:schemeClr val="accent2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 err="1"/>
            <a:t>Lorem</a:t>
          </a:r>
          <a:r>
            <a:rPr lang="de-DE" sz="2400" kern="1200" dirty="0"/>
            <a:t> Ipsum</a:t>
          </a:r>
        </a:p>
      </dsp:txBody>
      <dsp:txXfrm rot="-5400000">
        <a:off x="5652884" y="784185"/>
        <a:ext cx="1306149" cy="1306149"/>
      </dsp:txXfrm>
    </dsp:sp>
    <dsp:sp modelId="{72FD0D42-ABF8-4D63-9953-C6B84E522EC8}">
      <dsp:nvSpPr>
        <dsp:cNvPr id="0" name=""/>
        <dsp:cNvSpPr/>
      </dsp:nvSpPr>
      <dsp:spPr>
        <a:xfrm rot="10800000">
          <a:off x="5652884" y="2175654"/>
          <a:ext cx="1847173" cy="1847173"/>
        </a:xfrm>
        <a:prstGeom prst="pieWedge">
          <a:avLst/>
        </a:prstGeom>
        <a:solidFill>
          <a:schemeClr val="accent3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 err="1"/>
            <a:t>Lorem</a:t>
          </a:r>
          <a:r>
            <a:rPr lang="de-DE" sz="2400" kern="1200" dirty="0"/>
            <a:t> Ipsum</a:t>
          </a:r>
        </a:p>
      </dsp:txBody>
      <dsp:txXfrm rot="10800000">
        <a:off x="5652884" y="2175654"/>
        <a:ext cx="1306149" cy="1306149"/>
      </dsp:txXfrm>
    </dsp:sp>
    <dsp:sp modelId="{7DE18523-9D88-4BED-BEBD-DDFC563895B2}">
      <dsp:nvSpPr>
        <dsp:cNvPr id="0" name=""/>
        <dsp:cNvSpPr/>
      </dsp:nvSpPr>
      <dsp:spPr>
        <a:xfrm rot="16200000">
          <a:off x="3720391" y="2175654"/>
          <a:ext cx="1847173" cy="1847173"/>
        </a:xfrm>
        <a:prstGeom prst="pieWedge">
          <a:avLst/>
        </a:prstGeom>
        <a:solidFill>
          <a:schemeClr val="accent4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 err="1">
              <a:latin typeface="+mn-lt"/>
            </a:rPr>
            <a:t>Lorem</a:t>
          </a:r>
          <a:r>
            <a:rPr lang="de-DE" sz="2400" kern="1200" dirty="0"/>
            <a:t> Ipsum</a:t>
          </a:r>
        </a:p>
      </dsp:txBody>
      <dsp:txXfrm rot="5400000">
        <a:off x="4261415" y="2175654"/>
        <a:ext cx="1306149" cy="1306149"/>
      </dsp:txXfrm>
    </dsp:sp>
    <dsp:sp modelId="{E486051A-E5EE-4981-BFD1-11E725C48180}">
      <dsp:nvSpPr>
        <dsp:cNvPr id="0" name=""/>
        <dsp:cNvSpPr/>
      </dsp:nvSpPr>
      <dsp:spPr>
        <a:xfrm>
          <a:off x="5291342" y="1749055"/>
          <a:ext cx="637765" cy="554578"/>
        </a:xfrm>
        <a:prstGeom prst="circularArrow">
          <a:avLst/>
        </a:prstGeom>
        <a:solidFill>
          <a:schemeClr val="bg1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</dsp:sp>
    <dsp:sp modelId="{E1E34BBD-190C-4014-A2B1-6C5A100B5FF4}">
      <dsp:nvSpPr>
        <dsp:cNvPr id="0" name=""/>
        <dsp:cNvSpPr/>
      </dsp:nvSpPr>
      <dsp:spPr>
        <a:xfrm rot="10800000">
          <a:off x="5291342" y="1962355"/>
          <a:ext cx="637765" cy="554578"/>
        </a:xfrm>
        <a:prstGeom prst="circularArrow">
          <a:avLst/>
        </a:prstGeom>
        <a:solidFill>
          <a:schemeClr val="bg1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9/3/layout/HorizontalOrganizationChart">
  <dgm:title val=""/>
  <dgm:desc val=""/>
  <dgm:catLst>
    <dgm:cat type="hierarchy" pri="43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305"/>
      <dgm:constr type="w" for="des" forName="rootComposite" refType="w" fact="10"/>
      <dgm:constr type="h" for="des" forName="rootComposite" refType="w" refFor="des" refForName="rootComposite1" fact="0.305"/>
      <dgm:constr type="w" for="des" forName="rootComposite3" refType="w" fact="10"/>
      <dgm:constr type="h" for="des" forName="rootComposite3" refType="w" refFor="des" refForName="rootComposite1" fact="0.305"/>
      <dgm:constr type="primFontSz" for="des" ptType="node" op="equ"/>
      <dgm:constr type="sp" for="des" op="equ"/>
      <dgm:constr type="sp" for="des" forName="hierRoot1" refType="w" refFor="des" refForName="rootComposite1" fact="0.2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125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125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func="var" arg="dir" op="equ" val="norm">
                  <dgm:alg type="hierRoot">
                    <dgm:param type="hierAlign" val="lT"/>
                  </dgm:alg>
                  <dgm:constrLst>
                    <dgm:constr type="alignOff" val="0.75"/>
                  </dgm:constrLst>
                </dgm:if>
                <dgm:else name="Name9">
                  <dgm:alg type="hierRoot">
                    <dgm:param type="hierAlign" val="rT"/>
                  </dgm:alg>
                  <dgm:constrLst>
                    <dgm:constr type="alignOff" val="0.75"/>
                  </dgm:constrLst>
                </dgm:else>
              </dgm:choose>
            </dgm:if>
            <dgm:if name="Name10" func="var" arg="hierBranch" op="equ" val="r">
              <dgm:choose name="Name11">
                <dgm:if name="Name12" func="var" arg="dir" op="equ" val="norm">
                  <dgm:alg type="hierRoot">
                    <dgm:param type="hierAlign" val="lB"/>
                  </dgm:alg>
                  <dgm:constrLst>
                    <dgm:constr type="alignOff" val="0.75"/>
                  </dgm:constrLst>
                </dgm:if>
                <dgm:else name="Name13">
                  <dgm:alg type="hierRoot">
                    <dgm:param type="hierAlign" val="rB"/>
                  </dgm:alg>
                  <dgm:constrLst>
                    <dgm:constr type="alignOff" val="0.75"/>
                  </dgm:constrLst>
                </dgm:else>
              </dgm:choose>
            </dgm:if>
            <dgm:if name="Name14" func="var" arg="hierBranch" op="equ" val="hang">
              <dgm:choose name="Name15">
                <dgm:if name="Name16" func="var" arg="dir" op="equ" val="norm">
                  <dgm:alg type="hierRoot">
                    <dgm:param type="hierAlign" val="lCtrCh"/>
                  </dgm:alg>
                  <dgm:constrLst>
                    <dgm:constr type="alignOff" val="0.65"/>
                  </dgm:constrLst>
                </dgm:if>
                <dgm:else name="Name17">
                  <dgm:alg type="hierRoot">
                    <dgm:param type="hierAlign" val="rCtrCh"/>
                  </dgm:alg>
                  <dgm:constrLst>
                    <dgm:constr type="alignOff" val="0.65"/>
                  </dgm:constrLst>
                </dgm:else>
              </dgm:choose>
            </dgm:if>
            <dgm:else name="Name18">
              <dgm:choose name="Name19">
                <dgm:if name="Name20" func="var" arg="dir" op="equ" val="norm">
                  <dgm:alg type="hierRoot">
                    <dgm:param type="hierAlign" val="l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if>
                <dgm:else name="Name21">
                  <dgm:alg type="hierRoot">
                    <dgm:param type="hierAlign" val="r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else>
              </dgm:choose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22">
              <dgm:if name="Name23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4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5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6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7">
              <dgm:if name="Name28" func="var" arg="hierBranch" op="equ" val="l">
                <dgm:choose name="Name29">
                  <dgm:if name="Name30" func="var" arg="dir" op="equ" val="norm">
                    <dgm:alg type="hierChild">
                      <dgm:param type="chAlign" val="t"/>
                      <dgm:param type="linDir" val="fromL"/>
                    </dgm:alg>
                  </dgm:if>
                  <dgm:else name="Name31">
                    <dgm:alg type="hierChild">
                      <dgm:param type="chAlign" val="t"/>
                      <dgm:param type="linDir" val="fromR"/>
                    </dgm:alg>
                  </dgm:else>
                </dgm:choose>
              </dgm:if>
              <dgm:if name="Name32" func="var" arg="hierBranch" op="equ" val="r">
                <dgm:choose name="Name33">
                  <dgm:if name="Name34" func="var" arg="dir" op="equ" val="norm">
                    <dgm:alg type="hierChild">
                      <dgm:param type="chAlign" val="b"/>
                      <dgm:param type="linDir" val="fromL"/>
                    </dgm:alg>
                  </dgm:if>
                  <dgm:else name="Name35">
                    <dgm:alg type="hierChild">
                      <dgm:param type="chAlign" val="b"/>
                      <dgm:param type="linDir" val="fromR"/>
                    </dgm:alg>
                  </dgm:else>
                </dgm:choose>
              </dgm:if>
              <dgm:if name="Name36" func="var" arg="hierBranch" op="equ" val="hang">
                <dgm:choose name="Name37">
                  <dgm:if name="Name38" func="var" arg="dir" op="equ" val="norm">
                    <dgm:alg type="hierChild">
                      <dgm:param type="chAlign" val="l"/>
                      <dgm:param type="linDir" val="fromT"/>
                      <dgm:param type="secChAlign" val="t"/>
                      <dgm:param type="secLinDir" val="fromL"/>
                    </dgm:alg>
                  </dgm:if>
                  <dgm:else name="Name39">
                    <dgm:alg type="hierChild">
                      <dgm:param type="chAlign" val="r"/>
                      <dgm:param type="linDir" val="fromT"/>
                      <dgm:param type="secChAlign" val="t"/>
                      <dgm:param type="secLinDir" val="fromR"/>
                    </dgm:alg>
                  </dgm:else>
                </dgm:choose>
              </dgm:if>
              <dgm:else name="Name40">
                <dgm:choose name="Name41">
                  <dgm:if name="Name42" func="var" arg="dir" op="equ" val="norm">
                    <dgm:alg type="hierChild">
                      <dgm:param type="linDir" val="fromT"/>
                      <dgm:param type="chAlign" val="l"/>
                    </dgm:alg>
                  </dgm:if>
                  <dgm:else name="Name43">
                    <dgm:alg type="hierChild">
                      <dgm:param type="linDir" val="fromT"/>
                      <dgm:param type="chAlign" val="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44" axis="precedSib" ptType="parTrans" st="-1" cnt="1">
                <dgm:choose name="Name45">
                  <dgm:if name="Name46" func="var" arg="hierBranch" op="equ" val="hang">
                    <dgm:layoutNode name="Name47">
                      <dgm:choose name="Name48">
                        <dgm:if name="Name4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 tCtr"/>
                          </dgm:alg>
                        </dgm:if>
                        <dgm:else name="Name5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 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1" func="var" arg="hierBranch" op="equ" val="l">
                    <dgm:layoutNode name="Name52">
                      <dgm:choose name="Name53">
                        <dgm:if name="Name54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tCtr"/>
                          </dgm:alg>
                        </dgm:if>
                        <dgm:else name="Name55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6" func="var" arg="hierBranch" op="equ" val="r">
                    <dgm:layoutNode name="Name57">
                      <dgm:choose name="Name58">
                        <dgm:if name="Name5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"/>
                          </dgm:alg>
                        </dgm:if>
                        <dgm:else name="Name6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61">
                    <dgm:choose name="Name62">
                      <dgm:if name="Name63" func="var" arg="dir" op="equ" val="norm">
                        <dgm:layoutNode name="Name6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midL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if>
                      <dgm:else name="Name65">
                        <dgm:layoutNode name="Name66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midR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else>
                    </dgm:choos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7">
                  <dgm:if name="Name68" func="var" arg="hierBranch" op="equ" val="l">
                    <dgm:choose name="Name69">
                      <dgm:if name="Name70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71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2" func="var" arg="hierBranch" op="equ" val="r">
                    <dgm:choose name="Name73">
                      <dgm:if name="Name74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75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6" func="var" arg="hierBranch" op="equ" val="hang">
                    <dgm:choose name="Name77">
                      <dgm:if name="Name78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79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80">
                    <dgm:choose name="Name81">
                      <dgm:if name="Name82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83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84">
                    <dgm:if name="Name85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6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7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8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9">
                    <dgm:if name="Name90" func="var" arg="hierBranch" op="equ" val="l">
                      <dgm:choose name="Name91">
                        <dgm:if name="Name92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93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r">
                      <dgm:choose name="Name95">
                        <dgm:if name="Name96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97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98" func="var" arg="hierBranch" op="equ" val="hang">
                      <dgm:choose name="Name99">
                        <dgm:if name="Name100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01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05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a"/>
                </dgm:layoutNode>
                <dgm:layoutNode name="hierChild5">
                  <dgm:choose name="Name107">
                    <dgm:if name="Name108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09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10" ref="rep2b"/>
                </dgm:layoutNode>
              </dgm:layoutNode>
            </dgm:forEach>
          </dgm:layoutNode>
          <dgm:layoutNode name="hierChild3">
            <dgm:choose name="Name111">
              <dgm:if name="Name112" func="var" arg="dir" op="equ" val="norm">
                <dgm:alg type="hierChild">
                  <dgm:param type="chAlign" val="l"/>
                  <dgm:param type="linDir" val="fromT"/>
                  <dgm:param type="secChAlign" val="t"/>
                  <dgm:param type="secLinDir" val="fromL"/>
                </dgm:alg>
              </dgm:if>
              <dgm:else name="Name113">
                <dgm:alg type="hierChild">
                  <dgm:param type="chAlign" val="r"/>
                  <dgm:param type="linDir" val="fromT"/>
                  <dgm:param type="secChAlign" val="t"/>
                  <dgm:param type="sec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4" axis="precedSib" ptType="parTrans" st="-1" cnt="1">
                <dgm:layoutNode name="Name115">
                  <dgm:choose name="Name116">
                    <dgm:if name="Name117" func="var" arg="dir" op="equ" val="norm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R"/>
                        <dgm:param type="endPts" val="bCtr tCtr"/>
                      </dgm:alg>
                    </dgm:if>
                    <dgm:else name="Name11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L"/>
                        <dgm:param type="endPts" val="bCtr tCtr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9">
                  <dgm:if name="Name120" func="var" arg="hierBranch" op="equ" val="l">
                    <dgm:choose name="Name121">
                      <dgm:if name="Name122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123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4" func="var" arg="hierBranch" op="equ" val="r">
                    <dgm:choose name="Name125">
                      <dgm:if name="Name126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127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8" func="var" arg="hierBranch" op="equ" val="hang">
                    <dgm:choose name="Name129">
                      <dgm:if name="Name130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131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132">
                    <dgm:choose name="Name133">
                      <dgm:if name="Name134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135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36">
                    <dgm:if name="Name137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8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9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40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41">
                    <dgm:if name="Name142" func="var" arg="hierBranch" op="equ" val="l">
                      <dgm:choose name="Name143">
                        <dgm:if name="Name144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145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146" func="var" arg="hierBranch" op="equ" val="r">
                      <dgm:choose name="Name147">
                        <dgm:if name="Name148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149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150" func="var" arg="hierBranch" op="equ" val="hang">
                      <dgm:choose name="Name151">
                        <dgm:if name="Name152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53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54">
                      <dgm:choose name="Name155">
                        <dgm:if name="Name156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57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58" ref="rep2a"/>
                </dgm:layoutNode>
                <dgm:layoutNode name="hierChild7">
                  <dgm:choose name="Name159">
                    <dgm:if name="Name160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61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62" ref="rep2b"/>
                </dgm:layoutNode>
              </dgm:layoutNode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B028EFDA-A75E-49AB-9C1C-E96D5D82019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9DB3184-593B-4E78-B58C-DA62E4A2A4A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51B798-6D2C-417B-AF46-ECB70983C150}" type="datetimeFigureOut">
              <a:rPr lang="en-US" smtClean="0"/>
              <a:t>8/27/2024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15F87B-7E94-4DDB-9703-3B62B77C5F8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7C9CA73-2501-4D43-9D8D-E09D9E3F3DF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651251-5CB6-4896-AAF1-C5E7C80339F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48449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00A665-AB63-487C-A689-A96D5AA0C864}" type="datetimeFigureOut">
              <a:rPr lang="en-US" smtClean="0"/>
              <a:t>8/27/2024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455821" y="1143000"/>
            <a:ext cx="3946358" cy="221982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629F0A-9DE2-44AB-9A84-CC28BAF7B39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6656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kern="1200">
        <a:solidFill>
          <a:schemeClr val="accent1"/>
        </a:solidFill>
        <a:latin typeface="+mj-lt"/>
        <a:ea typeface="+mn-ea"/>
        <a:cs typeface="+mn-cs"/>
      </a:defRPr>
    </a:lvl1pPr>
    <a:lvl2pPr marL="180975" indent="-180975" algn="l" defTabSz="914400" rtl="0" eaLnBrk="1" latinLnBrk="0" hangingPunct="1">
      <a:buClr>
        <a:schemeClr val="accent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-179388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70636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59013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5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76443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808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2836283"/>
            <a:ext cx="5916612" cy="3148592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80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Referent/Datum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sp>
        <p:nvSpPr>
          <p:cNvPr id="5" name="Logoarea">
            <a:extLst>
              <a:ext uri="{FF2B5EF4-FFF2-40B4-BE49-F238E27FC236}">
                <a16:creationId xmlns:a16="http://schemas.microsoft.com/office/drawing/2014/main" id="{5A451A76-3C1C-4CD3-A3ED-7BB838F02109}"/>
              </a:ext>
            </a:extLst>
          </p:cNvPr>
          <p:cNvSpPr/>
          <p:nvPr userDrawn="1"/>
        </p:nvSpPr>
        <p:spPr bwMode="gray">
          <a:xfrm>
            <a:off x="485774" y="485775"/>
            <a:ext cx="2520000" cy="900000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r>
              <a:rPr lang="de-DE"/>
              <a:t>Logobereic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248715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2/3 randabfa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5861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700213"/>
            <a:ext cx="6781800" cy="4452937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6723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Headline, Frutiger LT </a:t>
            </a: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Com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 Bd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, 16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pt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432A0-F513-4930-BCD5-B4BD00DAAEF3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72E56ECB-E18A-4295-8A65-A81E5BAB02C9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728DD29-2A8B-4A4D-A7BC-8DCCFF50436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B0E97B0-79E4-4EE2-931A-53B30FA4703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53413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eschreibung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5486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9424" y="1700213"/>
            <a:ext cx="6315075" cy="4284662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1757057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2000" b="1">
                <a:solidFill>
                  <a:schemeClr val="bg1"/>
                </a:solidFill>
              </a:defRPr>
            </a:lvl1pPr>
            <a:lvl2pPr>
              <a:lnSpc>
                <a:spcPts val="2420"/>
              </a:lnSpc>
              <a:spcAft>
                <a:spcPts val="1000"/>
              </a:spcAft>
              <a:defRPr sz="28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 b="0"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Headline, </a:t>
            </a:r>
            <a:r>
              <a:rPr lang="de-DE"/>
              <a:t>Frutiger Bd </a:t>
            </a:r>
            <a:r>
              <a:rPr lang="de-DE" dirty="0"/>
              <a:t>20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Frutiger LT </a:t>
            </a:r>
            <a:r>
              <a:rPr lang="de-DE" err="1"/>
              <a:t>Com</a:t>
            </a:r>
            <a:r>
              <a:rPr lang="de-DE"/>
              <a:t> Lt </a:t>
            </a:r>
            <a:r>
              <a:rPr lang="de-DE" dirty="0"/>
              <a:t>16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600B162-5CE1-4081-9F76-7824B5C171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9C7DF2-26E3-41FC-BBA4-D04F3C8A789B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127E1E6-6775-4D84-B174-A068A9570644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82DDE9E-9713-44C6-8C76-61BAF975C2F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A6C6CE5-B69A-4AFB-BE84-FD1E0C29228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64091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8827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7355B916-F5BD-44FA-A46A-0DDC6C436E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0278"/>
          <a:stretch/>
        </p:blipFill>
        <p:spPr>
          <a:xfrm>
            <a:off x="1" y="1"/>
            <a:ext cx="12192000" cy="615315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3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95B9307-B714-4F6E-A2FC-68DD27444FCD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52723F3-3A50-413F-ABC0-6D479FFB7724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B0E546C-CA1A-4085-B98B-53E34E1FDA0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E55CE55-FB14-4252-8735-FF4916096C8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799690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6167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rafik 13">
            <a:extLst>
              <a:ext uri="{FF2B5EF4-FFF2-40B4-BE49-F238E27FC236}">
                <a16:creationId xmlns:a16="http://schemas.microsoft.com/office/drawing/2014/main" id="{6B89D7C3-6348-44ED-84FD-9C88687DD0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b="10278"/>
          <a:stretch/>
        </p:blipFill>
        <p:spPr>
          <a:xfrm>
            <a:off x="0" y="1"/>
            <a:ext cx="12192000" cy="615315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5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D065BA7-85F8-4EE9-B742-24693D51D89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C3E5F42-72D2-4DCC-B4BF-EC13FE433C74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3A42444-18F6-4DEB-8F09-69EB8CDC5A9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FF9E246-7B08-4017-9C02-690D3087617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36600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8186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02B98C0-CD3B-4858-9EBF-1ABA8A5F485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C90DD62-783B-422F-AFCA-65F7F1DFCA38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A9339C1-56D0-4552-B568-77AAE6F881E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5C5B5A5E-5260-4ADB-9A78-B7522733BFD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5429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5208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20075" y="1703388"/>
            <a:ext cx="3492500" cy="274002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2C97856-E56E-4A7B-9E6B-645BE57712D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AB8A9086-BED5-45A2-871D-4D8576A8EFFA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167E4E3-ED26-4131-9FAE-8897857FA6C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9BAB7EBF-0F2E-4271-97C4-6F0AE76E65E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2182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2123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95663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5388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91625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7CDA72C-07CE-4657-8099-B172E870DCFC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565EEF09-7992-4DA1-94AE-75F25D3593E8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ED38EC9-DDD7-4F50-82AB-C2270DB3077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5164EA96-4C0A-4998-B81C-3BACDCEA4AA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47060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 userDrawn="1">
          <p15:clr>
            <a:srgbClr val="FBAE40"/>
          </p15:clr>
        </p15:guide>
        <p15:guide id="4" pos="1890" userDrawn="1">
          <p15:clr>
            <a:srgbClr val="FBAE40"/>
          </p15:clr>
        </p15:guide>
        <p15:guide id="5" pos="5541" userDrawn="1">
          <p15:clr>
            <a:srgbClr val="FBAE40"/>
          </p15:clr>
        </p15:guide>
        <p15:guide id="6" pos="579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3CE2A8B-DF0C-4ED8-B188-C82210FB66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2053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CFAEF65E-2013-4B54-9E56-910C87DFAA2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6275388" y="1"/>
            <a:ext cx="5916612" cy="6153149"/>
          </a:xfrm>
          <a:custGeom>
            <a:avLst/>
            <a:gdLst>
              <a:gd name="connsiteX0" fmla="*/ 0 w 5916612"/>
              <a:gd name="connsiteY0" fmla="*/ 0 h 6156325"/>
              <a:gd name="connsiteX1" fmla="*/ 5916612 w 5916612"/>
              <a:gd name="connsiteY1" fmla="*/ 0 h 6156325"/>
              <a:gd name="connsiteX2" fmla="*/ 5916612 w 5916612"/>
              <a:gd name="connsiteY2" fmla="*/ 6156325 h 6156325"/>
              <a:gd name="connsiteX3" fmla="*/ 0 w 5916612"/>
              <a:gd name="connsiteY3" fmla="*/ 6156325 h 615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16612" h="6156325">
                <a:moveTo>
                  <a:pt x="0" y="0"/>
                </a:moveTo>
                <a:lnTo>
                  <a:pt x="5916612" y="0"/>
                </a:lnTo>
                <a:lnTo>
                  <a:pt x="5916612" y="6156325"/>
                </a:lnTo>
                <a:lnTo>
                  <a:pt x="0" y="6156325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6DB4C6-EB43-4DAF-85FB-3D5502FB73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95588"/>
            <a:ext cx="5437188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238F142-8C02-4935-B629-B6251A26C1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5437188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4FD108-BE77-4119-8953-7B3B60E98A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B02C48D-A93F-4C6A-B03C-EBD08B60F12B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05098E4F-56FE-49D8-BCB1-76710D760DF1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BDEA1B9-B24B-4D57-B058-B115ADC06D9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D781B2-9C61-4882-AD01-A0C987D5BED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88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D3ED57BE-37A9-4D96-8E88-2396C1186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930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74C1AFAD-5D62-4BBC-A0F2-D7498EBFA13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8220075" y="1"/>
            <a:ext cx="3971925" cy="6153149"/>
          </a:xfrm>
          <a:custGeom>
            <a:avLst/>
            <a:gdLst>
              <a:gd name="connsiteX0" fmla="*/ 0 w 3971925"/>
              <a:gd name="connsiteY0" fmla="*/ 0 h 6156325"/>
              <a:gd name="connsiteX1" fmla="*/ 3971925 w 3971925"/>
              <a:gd name="connsiteY1" fmla="*/ 0 h 6156325"/>
              <a:gd name="connsiteX2" fmla="*/ 3971925 w 3971925"/>
              <a:gd name="connsiteY2" fmla="*/ 6156325 h 6156325"/>
              <a:gd name="connsiteX3" fmla="*/ 0 w 3971925"/>
              <a:gd name="connsiteY3" fmla="*/ 6156325 h 615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71925" h="6156325">
                <a:moveTo>
                  <a:pt x="0" y="0"/>
                </a:moveTo>
                <a:lnTo>
                  <a:pt x="3971925" y="0"/>
                </a:lnTo>
                <a:lnTo>
                  <a:pt x="3971925" y="6156325"/>
                </a:lnTo>
                <a:lnTo>
                  <a:pt x="0" y="6156325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CF28B4-14C0-46CF-91E6-E56862CBC6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95588"/>
            <a:ext cx="7345363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EE1F331-B496-4BC0-8505-F35F3C57A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7345363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813626-B371-440A-B685-32C7597133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2D2D81B-2964-4DEB-9973-66C95A1B000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32288" y="1703388"/>
            <a:ext cx="3492500" cy="261937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AA1C435-BE97-4ADF-8F14-C82E03EE0355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151806CE-A781-49F1-8A35-40F12C4442C0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2A69639-E1C4-4FDB-A492-46962B10A51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95B9FAE-D08C-4661-B176-A0EAA142837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45848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1440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4580799-6CA8-4E79-B6A8-7CEC7DE6B37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9AAEED5-3078-42E6-BE6C-74C7B797B36F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FFD07C3-3AC8-443B-9A9C-69C14429382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C6B76B4-FD05-4521-A9B8-94DCF2391F9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838140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0905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02996"/>
            <a:ext cx="5916612" cy="2981879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Referent/Datum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sp>
        <p:nvSpPr>
          <p:cNvPr id="5" name="Logoarea">
            <a:extLst>
              <a:ext uri="{FF2B5EF4-FFF2-40B4-BE49-F238E27FC236}">
                <a16:creationId xmlns:a16="http://schemas.microsoft.com/office/drawing/2014/main" id="{8E656F79-A9B4-4D96-ACA0-8C6E714FF0E0}"/>
              </a:ext>
            </a:extLst>
          </p:cNvPr>
          <p:cNvSpPr/>
          <p:nvPr userDrawn="1"/>
        </p:nvSpPr>
        <p:spPr bwMode="gray">
          <a:xfrm>
            <a:off x="9192575" y="476250"/>
            <a:ext cx="2520000" cy="900000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r>
              <a:rPr lang="de-DE"/>
              <a:t>Logobereic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745236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8483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11233150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AD40944-3B70-422E-9A83-B06079C22C6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FE09B6A-CD70-43D0-AF66-BC13CBDEB880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E9EBAA3-4CD5-4D80-A5ED-62A7BAE0A98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91632C5-2A5E-486C-A005-3993C40F70E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160136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292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BDB3F52-3132-4FCE-9245-400432785EC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6EEE08A0-A87F-4384-A5D6-A473EE1F3E5D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F7D269B-861C-4C29-9AA1-AC9F6193EF3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9AD6CBFC-7EA8-4A59-ADD7-332586C3641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7508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292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7C554D4-061E-46C5-92EC-EDBF599AFDD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187EA36B-DE16-402A-A7C2-BF6E941F0275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5750D2F-7AC5-4879-8C19-DDC98EDCDE2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D97D65A9-86C3-4B8F-8904-153D2F8CAFF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0970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Info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8934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0213"/>
            <a:ext cx="5916613" cy="4284662"/>
          </a:xfrm>
          <a:gradFill flip="none" rotWithShape="1">
            <a:gsLst>
              <a:gs pos="33744">
                <a:srgbClr val="00779A">
                  <a:lumMod val="100000"/>
                </a:srgbClr>
              </a:gs>
              <a:gs pos="0">
                <a:srgbClr val="014A6B"/>
              </a:gs>
              <a:gs pos="75000">
                <a:srgbClr val="4DC7D2">
                  <a:lumMod val="90000"/>
                  <a:lumOff val="10000"/>
                </a:srgbClr>
              </a:gs>
              <a:gs pos="100000">
                <a:srgbClr val="04B1AA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288000" rIns="288000" bIns="288000" numCol="1" spcCol="360000"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—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1700213"/>
            <a:ext cx="5437187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0EAC44-6B23-48D7-9382-254ECE95C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695CE19-2635-48CD-86C5-A6711E8F2407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55BAD1AD-D5AC-4AF9-85C8-E4723E3695AD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8987410-0067-43D6-9FB8-E4A3CFE6622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7B4A690-2DD5-436A-A09D-218E639343B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286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1824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>
            <a:extLst>
              <a:ext uri="{FF2B5EF4-FFF2-40B4-BE49-F238E27FC236}">
                <a16:creationId xmlns:a16="http://schemas.microsoft.com/office/drawing/2014/main" id="{30FDEE22-4D74-4924-86C5-CF41B7A9F583}"/>
              </a:ext>
            </a:extLst>
          </p:cNvPr>
          <p:cNvSpPr/>
          <p:nvPr userDrawn="1"/>
        </p:nvSpPr>
        <p:spPr bwMode="gray">
          <a:xfrm>
            <a:off x="479425" y="1206230"/>
            <a:ext cx="473886" cy="8754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accent2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accent2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 b="0">
                <a:solidFill>
                  <a:schemeClr val="accent2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accent2"/>
                </a:solidFill>
              </a:defRPr>
            </a:lvl4pPr>
          </a:lstStyle>
          <a:p>
            <a:pPr lvl="0"/>
            <a:r>
              <a:rPr lang="de-DE"/>
              <a:t>Zitat</a:t>
            </a:r>
            <a:endParaRPr lang="de-DE" dirty="0"/>
          </a:p>
          <a:p>
            <a:pPr lvl="1"/>
            <a:r>
              <a:rPr lang="de-DE"/>
              <a:t>Name des Autors</a:t>
            </a:r>
            <a:endParaRPr lang="de-DE" dirty="0"/>
          </a:p>
          <a:p>
            <a:pPr lvl="2"/>
            <a:r>
              <a:rPr lang="de-DE"/>
              <a:t>Position</a:t>
            </a:r>
            <a:endParaRPr lang="de-DE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B30F5BB5-7863-4504-94A4-F39A72E20BF2}"/>
              </a:ext>
            </a:extLst>
          </p:cNvPr>
          <p:cNvGrpSpPr/>
          <p:nvPr userDrawn="1"/>
        </p:nvGrpSpPr>
        <p:grpSpPr>
          <a:xfrm>
            <a:off x="479425" y="476249"/>
            <a:ext cx="1266824" cy="1028701"/>
            <a:chOff x="621507" y="476249"/>
            <a:chExt cx="1266824" cy="1028701"/>
          </a:xfrm>
        </p:grpSpPr>
        <p:sp>
          <p:nvSpPr>
            <p:cNvPr id="3" name="Pfeil: Chevron 2">
              <a:extLst>
                <a:ext uri="{FF2B5EF4-FFF2-40B4-BE49-F238E27FC236}">
                  <a16:creationId xmlns:a16="http://schemas.microsoft.com/office/drawing/2014/main" id="{80955E3B-8357-4836-8592-3039D01F1391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" name="Pfeil: Chevron 18">
              <a:extLst>
                <a:ext uri="{FF2B5EF4-FFF2-40B4-BE49-F238E27FC236}">
                  <a16:creationId xmlns:a16="http://schemas.microsoft.com/office/drawing/2014/main" id="{8245CA0A-C731-43B3-A4D1-99935FA2DE2F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719F7FF-9FD8-4FC6-AE77-A349B0ACD5C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504724F-90F4-4B1C-B4FE-B08739AAAA16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3B70818-BA9A-4A9E-BB42-894CD16E6FD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C8D05E3-CD28-43C1-A7F2-3AD6FBD49D7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9372218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88262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fik 12">
            <a:extLst>
              <a:ext uri="{FF2B5EF4-FFF2-40B4-BE49-F238E27FC236}">
                <a16:creationId xmlns:a16="http://schemas.microsoft.com/office/drawing/2014/main" id="{F8D4B216-A5F7-4214-889D-75DD098CB8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0209"/>
          <a:stretch/>
        </p:blipFill>
        <p:spPr>
          <a:xfrm>
            <a:off x="1" y="-4763"/>
            <a:ext cx="12192000" cy="6157913"/>
          </a:xfrm>
          <a:prstGeom prst="rect">
            <a:avLst/>
          </a:prstGeom>
        </p:spPr>
      </p:pic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bg1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/>
              <a:t>Zitat</a:t>
            </a:r>
            <a:endParaRPr lang="de-DE" dirty="0"/>
          </a:p>
          <a:p>
            <a:pPr lvl="1"/>
            <a:r>
              <a:rPr lang="de-DE"/>
              <a:t>Name des Autors</a:t>
            </a:r>
            <a:endParaRPr lang="de-DE" dirty="0"/>
          </a:p>
          <a:p>
            <a:pPr lvl="2"/>
            <a:r>
              <a:rPr lang="de-DE"/>
              <a:t>Position</a:t>
            </a:r>
            <a:endParaRPr lang="de-DE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942B2AF3-B72B-4E51-98E8-276E33E081FB}"/>
              </a:ext>
            </a:extLst>
          </p:cNvPr>
          <p:cNvGrpSpPr/>
          <p:nvPr userDrawn="1"/>
        </p:nvGrpSpPr>
        <p:grpSpPr>
          <a:xfrm>
            <a:off x="479425" y="476249"/>
            <a:ext cx="1266824" cy="1028701"/>
            <a:chOff x="621507" y="476249"/>
            <a:chExt cx="1266824" cy="1028701"/>
          </a:xfrm>
          <a:solidFill>
            <a:schemeClr val="bg1"/>
          </a:solidFill>
        </p:grpSpPr>
        <p:sp>
          <p:nvSpPr>
            <p:cNvPr id="21" name="Pfeil: Chevron 20">
              <a:extLst>
                <a:ext uri="{FF2B5EF4-FFF2-40B4-BE49-F238E27FC236}">
                  <a16:creationId xmlns:a16="http://schemas.microsoft.com/office/drawing/2014/main" id="{A9E48764-AC81-446C-B62C-88A8F03B3803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" name="Pfeil: Chevron 21">
              <a:extLst>
                <a:ext uri="{FF2B5EF4-FFF2-40B4-BE49-F238E27FC236}">
                  <a16:creationId xmlns:a16="http://schemas.microsoft.com/office/drawing/2014/main" id="{14C3BCAC-351B-4AFA-8D18-F61D609E40E4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647DF70-C076-4A26-9F94-6FA1181DF1F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F2ED16A-E6B5-41DE-AD96-201753B53F2C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1784F8B-F977-42FC-A651-A02A01C602E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160083F-34CE-4BF0-AB01-7CCA0176F2D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8616245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8667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Kontak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Titel Vorname Name</a:t>
            </a:r>
            <a:endParaRPr lang="de-DE" dirty="0"/>
          </a:p>
          <a:p>
            <a:pPr lvl="2"/>
            <a:r>
              <a:rPr lang="de-DE"/>
              <a:t>Geschäftsbereich XXX</a:t>
            </a:r>
            <a:endParaRPr lang="de-DE" dirty="0"/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  <p:sp>
        <p:nvSpPr>
          <p:cNvPr id="5" name="Logoarea">
            <a:extLst>
              <a:ext uri="{FF2B5EF4-FFF2-40B4-BE49-F238E27FC236}">
                <a16:creationId xmlns:a16="http://schemas.microsoft.com/office/drawing/2014/main" id="{D1BB837B-B71F-47F6-87C9-207FCA853416}"/>
              </a:ext>
            </a:extLst>
          </p:cNvPr>
          <p:cNvSpPr/>
          <p:nvPr userDrawn="1"/>
        </p:nvSpPr>
        <p:spPr bwMode="gray">
          <a:xfrm>
            <a:off x="9192575" y="476250"/>
            <a:ext cx="2520000" cy="900000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r>
              <a:rPr lang="de-DE"/>
              <a:t>Logobereic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109023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ha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430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Kontak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Titel Vorname Name</a:t>
            </a:r>
            <a:endParaRPr lang="de-DE" dirty="0"/>
          </a:p>
          <a:p>
            <a:pPr lvl="2"/>
            <a:r>
              <a:rPr lang="de-DE"/>
              <a:t>Geschäftsbereich XXX</a:t>
            </a:r>
            <a:endParaRPr lang="de-DE" dirty="0"/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  <p:sp>
        <p:nvSpPr>
          <p:cNvPr id="5" name="Logoarea">
            <a:extLst>
              <a:ext uri="{FF2B5EF4-FFF2-40B4-BE49-F238E27FC236}">
                <a16:creationId xmlns:a16="http://schemas.microsoft.com/office/drawing/2014/main" id="{D1596852-B796-498E-91A7-4F5612C5B39E}"/>
              </a:ext>
            </a:extLst>
          </p:cNvPr>
          <p:cNvSpPr/>
          <p:nvPr userDrawn="1"/>
        </p:nvSpPr>
        <p:spPr bwMode="gray">
          <a:xfrm>
            <a:off x="9192575" y="476250"/>
            <a:ext cx="2520000" cy="900000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r>
              <a:rPr lang="de-DE"/>
              <a:t>Logobereic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7530131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602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9233E68D-B08D-4763-8344-8324924426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700213"/>
            <a:ext cx="5916612" cy="3848489"/>
          </a:xfrm>
          <a:noFill/>
        </p:spPr>
        <p:txBody>
          <a:bodyPr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Kontak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Titel Vorname Name</a:t>
            </a:r>
            <a:endParaRPr lang="de-DE" dirty="0"/>
          </a:p>
          <a:p>
            <a:pPr lvl="2"/>
            <a:r>
              <a:rPr lang="de-DE"/>
              <a:t>Geschäftsbereich XXX</a:t>
            </a:r>
            <a:endParaRPr lang="de-DE" dirty="0"/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  <a:p>
            <a:pPr lvl="3"/>
            <a:endParaRPr lang="pt-BR" dirty="0"/>
          </a:p>
          <a:p>
            <a:pPr lvl="3"/>
            <a:r>
              <a:rPr lang="pt-BR" dirty="0"/>
              <a:t>Fraunhofer XYZ</a:t>
            </a:r>
          </a:p>
          <a:p>
            <a:pPr lvl="3"/>
            <a:r>
              <a:rPr lang="pt-BR"/>
              <a:t>Straße XY</a:t>
            </a:r>
            <a:endParaRPr lang="pt-BR" dirty="0"/>
          </a:p>
          <a:p>
            <a:pPr lvl="3"/>
            <a:r>
              <a:rPr lang="pt-BR"/>
              <a:t>12345 Stadt</a:t>
            </a:r>
            <a:endParaRPr lang="pt-BR" dirty="0"/>
          </a:p>
          <a:p>
            <a:pPr lvl="3"/>
            <a:r>
              <a:rPr lang="pt-BR" dirty="0"/>
              <a:t>www.fraunhofer.de</a:t>
            </a:r>
          </a:p>
        </p:txBody>
      </p:sp>
      <p:sp>
        <p:nvSpPr>
          <p:cNvPr id="5" name="Logoarea">
            <a:extLst>
              <a:ext uri="{FF2B5EF4-FFF2-40B4-BE49-F238E27FC236}">
                <a16:creationId xmlns:a16="http://schemas.microsoft.com/office/drawing/2014/main" id="{BCD6A5C4-6609-4746-A313-6C7DD4ED244F}"/>
              </a:ext>
            </a:extLst>
          </p:cNvPr>
          <p:cNvSpPr/>
          <p:nvPr userDrawn="1"/>
        </p:nvSpPr>
        <p:spPr bwMode="gray">
          <a:xfrm>
            <a:off x="9192575" y="476250"/>
            <a:ext cx="2520000" cy="900000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r>
              <a:rPr lang="de-DE"/>
              <a:t>Logobereic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6534311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8471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9F17E90D-0C11-4C1A-9AB0-99DFB3D05F3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2255355"/>
            <a:ext cx="11233149" cy="2998000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6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7200"/>
              </a:lnSpc>
              <a:spcAft>
                <a:spcPts val="1600"/>
              </a:spcAft>
              <a:defRPr sz="85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ts val="208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Vielen Dank für Ihre Aufmerksamkeit</a:t>
            </a:r>
            <a:endParaRPr lang="de-DE" dirty="0"/>
          </a:p>
          <a:p>
            <a:pPr lvl="1"/>
            <a:r>
              <a:rPr lang="de-DE" dirty="0"/>
              <a:t>—</a:t>
            </a:r>
          </a:p>
        </p:txBody>
      </p:sp>
      <p:sp>
        <p:nvSpPr>
          <p:cNvPr id="6" name="Logoarea">
            <a:extLst>
              <a:ext uri="{FF2B5EF4-FFF2-40B4-BE49-F238E27FC236}">
                <a16:creationId xmlns:a16="http://schemas.microsoft.com/office/drawing/2014/main" id="{E2DA2CA2-7B87-4D24-956A-98E0939AC7E9}"/>
              </a:ext>
            </a:extLst>
          </p:cNvPr>
          <p:cNvSpPr/>
          <p:nvPr userDrawn="1"/>
        </p:nvSpPr>
        <p:spPr bwMode="gray">
          <a:xfrm>
            <a:off x="9192575" y="476250"/>
            <a:ext cx="2520000" cy="900000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r>
              <a:rPr lang="de-DE"/>
              <a:t>Logobereic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097418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4391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3340524"/>
            <a:ext cx="5916612" cy="2644351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2640"/>
              </a:lnSpc>
              <a:spcAft>
                <a:spcPts val="1200"/>
              </a:spcAft>
              <a:defRPr sz="312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184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max. 3 Zeilen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Referent/Datum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sp>
        <p:nvSpPr>
          <p:cNvPr id="5" name="Logoarea">
            <a:extLst>
              <a:ext uri="{FF2B5EF4-FFF2-40B4-BE49-F238E27FC236}">
                <a16:creationId xmlns:a16="http://schemas.microsoft.com/office/drawing/2014/main" id="{BCE1D594-EAC5-49D9-876B-C17354602F95}"/>
              </a:ext>
            </a:extLst>
          </p:cNvPr>
          <p:cNvSpPr/>
          <p:nvPr userDrawn="1"/>
        </p:nvSpPr>
        <p:spPr bwMode="gray">
          <a:xfrm>
            <a:off x="485774" y="485775"/>
            <a:ext cx="2520000" cy="900000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r>
              <a:rPr lang="de-DE"/>
              <a:t>Logobereic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819981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1537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38390"/>
            <a:ext cx="5916612" cy="2946485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2800"/>
              </a:lnSpc>
              <a:spcAft>
                <a:spcPts val="480"/>
              </a:spcAft>
              <a:defRPr sz="312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lang="de-DE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Referent/Datum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rem</a:t>
            </a:r>
            <a:r>
              <a:rPr lang="de-DE" dirty="0"/>
              <a:t> max. 3 Zeilen</a:t>
            </a:r>
          </a:p>
          <a:p>
            <a:pPr marL="0" lvl="3" indent="0" algn="l" defTabSz="914400" rtl="0" eaLnBrk="1" latinLnBrk="0" hangingPunct="1">
              <a:lnSpc>
                <a:spcPts val="1840"/>
              </a:lnSpc>
              <a:spcBef>
                <a:spcPts val="184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/>
              <a:t>Referenten</a:t>
            </a:r>
            <a:endParaRPr lang="de-DE" dirty="0"/>
          </a:p>
        </p:txBody>
      </p:sp>
      <p:sp>
        <p:nvSpPr>
          <p:cNvPr id="5" name="Logoarea">
            <a:extLst>
              <a:ext uri="{FF2B5EF4-FFF2-40B4-BE49-F238E27FC236}">
                <a16:creationId xmlns:a16="http://schemas.microsoft.com/office/drawing/2014/main" id="{5F867868-FE0D-4C63-93B2-7355BF52A4A4}"/>
              </a:ext>
            </a:extLst>
          </p:cNvPr>
          <p:cNvSpPr/>
          <p:nvPr userDrawn="1"/>
        </p:nvSpPr>
        <p:spPr bwMode="gray">
          <a:xfrm>
            <a:off x="9192575" y="476250"/>
            <a:ext cx="2520000" cy="900000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r>
              <a:rPr lang="de-DE"/>
              <a:t>Logobereic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31791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5440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003515"/>
            <a:ext cx="7824783" cy="2502389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Referent/Datum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sp>
        <p:nvSpPr>
          <p:cNvPr id="5" name="Logoarea">
            <a:extLst>
              <a:ext uri="{FF2B5EF4-FFF2-40B4-BE49-F238E27FC236}">
                <a16:creationId xmlns:a16="http://schemas.microsoft.com/office/drawing/2014/main" id="{C418B8EE-C118-4106-8ABE-B8A21D0DFDA0}"/>
              </a:ext>
            </a:extLst>
          </p:cNvPr>
          <p:cNvSpPr/>
          <p:nvPr userDrawn="1"/>
        </p:nvSpPr>
        <p:spPr bwMode="gray">
          <a:xfrm>
            <a:off x="9192575" y="476250"/>
            <a:ext cx="2520000" cy="900000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r>
              <a:rPr lang="de-DE"/>
              <a:t>Logobereic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96524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9587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3429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2357312"/>
            <a:ext cx="7824787" cy="2669101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Referent/Datum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sp>
        <p:nvSpPr>
          <p:cNvPr id="5" name="Logoarea">
            <a:extLst>
              <a:ext uri="{FF2B5EF4-FFF2-40B4-BE49-F238E27FC236}">
                <a16:creationId xmlns:a16="http://schemas.microsoft.com/office/drawing/2014/main" id="{F1E39E4E-3653-456F-83D8-C3712356C6C8}"/>
              </a:ext>
            </a:extLst>
          </p:cNvPr>
          <p:cNvSpPr/>
          <p:nvPr userDrawn="1"/>
        </p:nvSpPr>
        <p:spPr bwMode="gray">
          <a:xfrm>
            <a:off x="9192575" y="476250"/>
            <a:ext cx="2520000" cy="900000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r>
              <a:rPr lang="de-DE"/>
              <a:t>Logobereic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799508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8216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FCA74BF2-60AE-432D-B809-6CE549DEA8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490309"/>
            <a:ext cx="11712574" cy="2494566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Referent/Datum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sp>
        <p:nvSpPr>
          <p:cNvPr id="5" name="Logoarea">
            <a:extLst>
              <a:ext uri="{FF2B5EF4-FFF2-40B4-BE49-F238E27FC236}">
                <a16:creationId xmlns:a16="http://schemas.microsoft.com/office/drawing/2014/main" id="{681DB786-503F-4AA4-8AE2-503B73F76CC9}"/>
              </a:ext>
            </a:extLst>
          </p:cNvPr>
          <p:cNvSpPr/>
          <p:nvPr userDrawn="1"/>
        </p:nvSpPr>
        <p:spPr bwMode="gray">
          <a:xfrm>
            <a:off x="9192575" y="476250"/>
            <a:ext cx="2520000" cy="900000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r>
              <a:rPr lang="de-DE"/>
              <a:t>Logobereic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234924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7166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1CDBC4F6-986A-4A45-A632-2613DCB1992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3323596"/>
            <a:ext cx="11712575" cy="2661279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Referent/Datum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sp>
        <p:nvSpPr>
          <p:cNvPr id="6" name="Logoarea">
            <a:extLst>
              <a:ext uri="{FF2B5EF4-FFF2-40B4-BE49-F238E27FC236}">
                <a16:creationId xmlns:a16="http://schemas.microsoft.com/office/drawing/2014/main" id="{6203B882-EB24-469E-AD79-5FEC58AC846A}"/>
              </a:ext>
            </a:extLst>
          </p:cNvPr>
          <p:cNvSpPr/>
          <p:nvPr userDrawn="1"/>
        </p:nvSpPr>
        <p:spPr bwMode="gray">
          <a:xfrm>
            <a:off x="9192575" y="476250"/>
            <a:ext cx="2520000" cy="900000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r>
              <a:rPr lang="de-DE"/>
              <a:t>Logobereic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244011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4060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153149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7878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9" name="Logoarea">
            <a:extLst>
              <a:ext uri="{FF2B5EF4-FFF2-40B4-BE49-F238E27FC236}">
                <a16:creationId xmlns:a16="http://schemas.microsoft.com/office/drawing/2014/main" id="{D5ECEE8D-C4E4-4203-813E-3BB6E16F331E}"/>
              </a:ext>
            </a:extLst>
          </p:cNvPr>
          <p:cNvSpPr/>
          <p:nvPr userDrawn="1"/>
        </p:nvSpPr>
        <p:spPr bwMode="gray">
          <a:xfrm>
            <a:off x="485774" y="485775"/>
            <a:ext cx="2520000" cy="900000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r>
              <a:rPr lang="de-DE"/>
              <a:t>Logobereich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4BA1D15-0475-4B03-86A1-56C3D9C6307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008D7E0F-6170-40C0-86D0-F61338A7C362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16ECF15-13D4-44C4-B713-BCD347A79FE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DDBA688-BE97-41EF-8F34-A1FF74ABCB8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43035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155093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2" imgW="344" imgH="345" progId="TCLayout.ActiveDocument.1">
                  <p:embed/>
                </p:oleObj>
              </mc:Choice>
              <mc:Fallback>
                <p:oleObj name="think-cell Folie" r:id="rId32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/>
              <a:t>Headline, Frutiger LT Com Bd, 24 pt, Kapiteltrenner</a:t>
            </a:r>
            <a:endParaRPr lang="de-DE" noProof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09947" y="6455836"/>
            <a:ext cx="864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D492B265-D1CC-479C-AC4A-AEF299E9F393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5" name="Copyright Fraunhofer">
            <a:extLst>
              <a:ext uri="{FF2B5EF4-FFF2-40B4-BE49-F238E27FC236}">
                <a16:creationId xmlns:a16="http://schemas.microsoft.com/office/drawing/2014/main" id="{5FF3544A-E0F0-4101-A728-3DFB567F7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noProof="0"/>
              <a:t>© Fraunhofer IWU</a:t>
            </a:r>
            <a:endParaRPr lang="de-DE" noProof="0" dirty="0"/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6006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Informationsklassifizierung">
            <a:extLst>
              <a:ext uri="{FF2B5EF4-FFF2-40B4-BE49-F238E27FC236}">
                <a16:creationId xmlns:a16="http://schemas.microsoft.com/office/drawing/2014/main" id="{6C489D0F-950D-4913-86C7-7EB1061786F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373847" y="6455836"/>
            <a:ext cx="1444306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800" b="1">
                <a:latin typeface="+mj-lt"/>
              </a:rPr>
              <a:t>- </a:t>
            </a:r>
            <a:r>
              <a:rPr lang="de-DE" sz="800" b="1" noProof="0">
                <a:latin typeface="+mj-lt"/>
              </a:rPr>
              <a:t>Informationsklassifizierung</a:t>
            </a:r>
            <a:r>
              <a:rPr lang="en-US" sz="800" b="1">
                <a:latin typeface="+mj-lt"/>
              </a:rPr>
              <a:t> -</a:t>
            </a:r>
            <a:endParaRPr lang="en-US" sz="800" b="1" dirty="0">
              <a:latin typeface="+mj-lt"/>
            </a:endParaRPr>
          </a:p>
        </p:txBody>
      </p:sp>
      <p:sp>
        <p:nvSpPr>
          <p:cNvPr id="11" name="LogoFusszeile">
            <a:extLst>
              <a:ext uri="{FF2B5EF4-FFF2-40B4-BE49-F238E27FC236}">
                <a16:creationId xmlns:a16="http://schemas.microsoft.com/office/drawing/2014/main" id="{A1A14973-0D19-4698-859C-851A93B6A59A}"/>
              </a:ext>
            </a:extLst>
          </p:cNvPr>
          <p:cNvSpPr/>
          <p:nvPr userDrawn="1"/>
        </p:nvSpPr>
        <p:spPr>
          <a:xfrm>
            <a:off x="10309226" y="6334126"/>
            <a:ext cx="1404000" cy="37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0" indent="0" algn="ctr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en-US" sz="1000" dirty="0">
                <a:solidFill>
                  <a:schemeClr val="tx1"/>
                </a:solidFill>
              </a:rPr>
              <a:t>Logo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9EED91C-7E81-4D59-8D3D-748F372837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11843" y="6455835"/>
            <a:ext cx="408932" cy="12311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31E4CF01-6D6F-4B29-B924-0F3D1CED79B9}"/>
              </a:ext>
            </a:extLst>
          </p:cNvPr>
          <p:cNvSpPr txBox="1"/>
          <p:nvPr userDrawn="1"/>
        </p:nvSpPr>
        <p:spPr>
          <a:xfrm>
            <a:off x="479425" y="6455836"/>
            <a:ext cx="232417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l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sz="800"/>
              <a:t>Seite</a:t>
            </a:r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357623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60" r:id="rId11"/>
    <p:sldLayoutId id="2147483661" r:id="rId12"/>
    <p:sldLayoutId id="2147483663" r:id="rId13"/>
    <p:sldLayoutId id="2147483668" r:id="rId14"/>
    <p:sldLayoutId id="2147483665" r:id="rId15"/>
    <p:sldLayoutId id="2147483671" r:id="rId16"/>
    <p:sldLayoutId id="2147483664" r:id="rId17"/>
    <p:sldLayoutId id="2147483667" r:id="rId18"/>
    <p:sldLayoutId id="2147483659" r:id="rId19"/>
    <p:sldLayoutId id="2147483678" r:id="rId20"/>
    <p:sldLayoutId id="2147483679" r:id="rId21"/>
    <p:sldLayoutId id="2147483680" r:id="rId22"/>
    <p:sldLayoutId id="2147483670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3" orient="horz" pos="300" userDrawn="1">
          <p15:clr>
            <a:srgbClr val="F26B43"/>
          </p15:clr>
        </p15:guide>
        <p15:guide id="4" orient="horz" pos="4133" userDrawn="1">
          <p15:clr>
            <a:srgbClr val="F26B43"/>
          </p15:clr>
        </p15:guide>
        <p15:guide id="5" orient="horz" pos="3770" userDrawn="1">
          <p15:clr>
            <a:srgbClr val="F26B43"/>
          </p15:clr>
        </p15:guide>
        <p15:guide id="8" orient="horz" pos="1071" userDrawn="1">
          <p15:clr>
            <a:srgbClr val="F26B43"/>
          </p15:clr>
        </p15:guide>
        <p15:guide id="9" orient="horz" pos="387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44.xml"/><Relationship Id="rId4" Type="http://schemas.openxmlformats.org/officeDocument/2006/relationships/image" Target="../media/image1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45.xml"/><Relationship Id="rId4" Type="http://schemas.openxmlformats.org/officeDocument/2006/relationships/image" Target="../media/image1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46.xml"/><Relationship Id="rId4" Type="http://schemas.openxmlformats.org/officeDocument/2006/relationships/image" Target="../media/image1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47.xml"/><Relationship Id="rId4" Type="http://schemas.openxmlformats.org/officeDocument/2006/relationships/image" Target="../media/image1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4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9.xml"/><Relationship Id="rId6" Type="http://schemas.openxmlformats.org/officeDocument/2006/relationships/image" Target="../media/image12.jpeg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50.xml"/><Relationship Id="rId4" Type="http://schemas.openxmlformats.org/officeDocument/2006/relationships/image" Target="../media/image1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51.xml"/><Relationship Id="rId5" Type="http://schemas.openxmlformats.org/officeDocument/2006/relationships/image" Target="../media/image13.jpg"/><Relationship Id="rId4" Type="http://schemas.openxmlformats.org/officeDocument/2006/relationships/image" Target="../media/image1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52.xml"/><Relationship Id="rId5" Type="http://schemas.openxmlformats.org/officeDocument/2006/relationships/image" Target="../media/image13.jpg"/><Relationship Id="rId4" Type="http://schemas.openxmlformats.org/officeDocument/2006/relationships/image" Target="../media/image1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3.xml"/><Relationship Id="rId6" Type="http://schemas.openxmlformats.org/officeDocument/2006/relationships/image" Target="../media/image15.jpeg"/><Relationship Id="rId5" Type="http://schemas.openxmlformats.org/officeDocument/2006/relationships/image" Target="../media/image14.jpeg"/><Relationship Id="rId4" Type="http://schemas.openxmlformats.org/officeDocument/2006/relationships/image" Target="../media/image1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4.xml"/><Relationship Id="rId4" Type="http://schemas.openxmlformats.org/officeDocument/2006/relationships/image" Target="../media/image1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5.xml"/><Relationship Id="rId4" Type="http://schemas.openxmlformats.org/officeDocument/2006/relationships/image" Target="../media/image1.emf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56.xml"/><Relationship Id="rId4" Type="http://schemas.openxmlformats.org/officeDocument/2006/relationships/image" Target="../media/image1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57.xml"/><Relationship Id="rId5" Type="http://schemas.openxmlformats.org/officeDocument/2006/relationships/image" Target="../media/image16.jpeg"/><Relationship Id="rId4" Type="http://schemas.openxmlformats.org/officeDocument/2006/relationships/image" Target="../media/image1.em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58.xml"/><Relationship Id="rId6" Type="http://schemas.openxmlformats.org/officeDocument/2006/relationships/image" Target="../media/image1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7" Type="http://schemas.openxmlformats.org/officeDocument/2006/relationships/image" Target="../media/image21.jpe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59.xml"/><Relationship Id="rId6" Type="http://schemas.openxmlformats.org/officeDocument/2006/relationships/image" Target="../media/image2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33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2.jpeg"/><Relationship Id="rId7" Type="http://schemas.openxmlformats.org/officeDocument/2006/relationships/image" Target="../media/image24.jpe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60.xml"/><Relationship Id="rId6" Type="http://schemas.openxmlformats.org/officeDocument/2006/relationships/image" Target="../media/image2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oleObject" Target="../embeddings/oleObject60.bin"/><Relationship Id="rId7" Type="http://schemas.openxmlformats.org/officeDocument/2006/relationships/image" Target="../media/image24.jpe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61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1.emf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62.xml"/><Relationship Id="rId6" Type="http://schemas.openxmlformats.org/officeDocument/2006/relationships/chart" Target="../charts/chart3.xml"/><Relationship Id="rId5" Type="http://schemas.openxmlformats.org/officeDocument/2006/relationships/chart" Target="../charts/chart2.xml"/><Relationship Id="rId4" Type="http://schemas.openxmlformats.org/officeDocument/2006/relationships/image" Target="../media/image1.emf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3.xml"/><Relationship Id="rId5" Type="http://schemas.openxmlformats.org/officeDocument/2006/relationships/chart" Target="../charts/chart4.xml"/><Relationship Id="rId4" Type="http://schemas.openxmlformats.org/officeDocument/2006/relationships/image" Target="../media/image1.emf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4.xml"/><Relationship Id="rId5" Type="http://schemas.openxmlformats.org/officeDocument/2006/relationships/chart" Target="../charts/chart5.xml"/><Relationship Id="rId4" Type="http://schemas.openxmlformats.org/officeDocument/2006/relationships/image" Target="../media/image1.emf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65.xml"/><Relationship Id="rId4" Type="http://schemas.openxmlformats.org/officeDocument/2006/relationships/image" Target="../media/image1.emf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6.xml"/><Relationship Id="rId4" Type="http://schemas.openxmlformats.org/officeDocument/2006/relationships/image" Target="../media/image1.emf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oleObject" Target="../embeddings/oleObject66.bin"/><Relationship Id="rId7" Type="http://schemas.openxmlformats.org/officeDocument/2006/relationships/image" Target="../media/image28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7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1.emf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8.xml"/><Relationship Id="rId4" Type="http://schemas.openxmlformats.org/officeDocument/2006/relationships/image" Target="../media/image1.emf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9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34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oleObject" Target="../embeddings/oleObject69.bin"/><Relationship Id="rId7" Type="http://schemas.openxmlformats.org/officeDocument/2006/relationships/diagramQuickStyle" Target="../diagrams/quickStyle1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70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openxmlformats.org/officeDocument/2006/relationships/image" Target="../media/image1.emf"/><Relationship Id="rId9" Type="http://schemas.microsoft.com/office/2007/relationships/diagramDrawing" Target="../diagrams/drawing1.xm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2.xml"/><Relationship Id="rId3" Type="http://schemas.openxmlformats.org/officeDocument/2006/relationships/oleObject" Target="../embeddings/oleObject70.bin"/><Relationship Id="rId7" Type="http://schemas.openxmlformats.org/officeDocument/2006/relationships/diagramQuickStyle" Target="../diagrams/quickStyle2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1.xml"/><Relationship Id="rId6" Type="http://schemas.openxmlformats.org/officeDocument/2006/relationships/diagramLayout" Target="../diagrams/layout2.xml"/><Relationship Id="rId5" Type="http://schemas.openxmlformats.org/officeDocument/2006/relationships/diagramData" Target="../diagrams/data2.xml"/><Relationship Id="rId4" Type="http://schemas.openxmlformats.org/officeDocument/2006/relationships/image" Target="../media/image1.emf"/><Relationship Id="rId9" Type="http://schemas.microsoft.com/office/2007/relationships/diagramDrawing" Target="../diagrams/drawing2.xml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3.xml"/><Relationship Id="rId3" Type="http://schemas.openxmlformats.org/officeDocument/2006/relationships/oleObject" Target="../embeddings/oleObject71.bin"/><Relationship Id="rId7" Type="http://schemas.openxmlformats.org/officeDocument/2006/relationships/diagramQuickStyle" Target="../diagrams/quickStyle3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2.xml"/><Relationship Id="rId6" Type="http://schemas.openxmlformats.org/officeDocument/2006/relationships/diagramLayout" Target="../diagrams/layout3.xml"/><Relationship Id="rId5" Type="http://schemas.openxmlformats.org/officeDocument/2006/relationships/diagramData" Target="../diagrams/data3.xml"/><Relationship Id="rId4" Type="http://schemas.openxmlformats.org/officeDocument/2006/relationships/image" Target="../media/image1.emf"/><Relationship Id="rId9" Type="http://schemas.microsoft.com/office/2007/relationships/diagramDrawing" Target="../diagrams/drawing3.xml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4.xml"/><Relationship Id="rId3" Type="http://schemas.openxmlformats.org/officeDocument/2006/relationships/oleObject" Target="../embeddings/oleObject72.bin"/><Relationship Id="rId7" Type="http://schemas.openxmlformats.org/officeDocument/2006/relationships/diagramQuickStyle" Target="../diagrams/quickStyle4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3.xml"/><Relationship Id="rId6" Type="http://schemas.openxmlformats.org/officeDocument/2006/relationships/diagramLayout" Target="../diagrams/layout4.xml"/><Relationship Id="rId5" Type="http://schemas.openxmlformats.org/officeDocument/2006/relationships/diagramData" Target="../diagrams/data4.xml"/><Relationship Id="rId4" Type="http://schemas.openxmlformats.org/officeDocument/2006/relationships/image" Target="../media/image1.emf"/><Relationship Id="rId9" Type="http://schemas.microsoft.com/office/2007/relationships/diagramDrawing" Target="../diagrams/drawing4.xml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5.xml"/><Relationship Id="rId3" Type="http://schemas.openxmlformats.org/officeDocument/2006/relationships/oleObject" Target="../embeddings/oleObject73.bin"/><Relationship Id="rId7" Type="http://schemas.openxmlformats.org/officeDocument/2006/relationships/diagramQuickStyle" Target="../diagrams/quickStyle5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4.xml"/><Relationship Id="rId6" Type="http://schemas.openxmlformats.org/officeDocument/2006/relationships/diagramLayout" Target="../diagrams/layout5.xml"/><Relationship Id="rId5" Type="http://schemas.openxmlformats.org/officeDocument/2006/relationships/diagramData" Target="../diagrams/data5.xml"/><Relationship Id="rId4" Type="http://schemas.openxmlformats.org/officeDocument/2006/relationships/image" Target="../media/image1.emf"/><Relationship Id="rId9" Type="http://schemas.microsoft.com/office/2007/relationships/diagramDrawing" Target="../diagrams/drawing5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5.xml"/><Relationship Id="rId4" Type="http://schemas.openxmlformats.org/officeDocument/2006/relationships/image" Target="../media/image1.emf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6.xml"/><Relationship Id="rId4" Type="http://schemas.openxmlformats.org/officeDocument/2006/relationships/image" Target="../media/image1.emf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7.xml"/><Relationship Id="rId4" Type="http://schemas.openxmlformats.org/officeDocument/2006/relationships/image" Target="../media/image1.emf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8.bin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79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80.xml"/><Relationship Id="rId4" Type="http://schemas.openxmlformats.org/officeDocument/2006/relationships/image" Target="../media/image1.emf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0.bin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81.xml"/><Relationship Id="rId4" Type="http://schemas.openxmlformats.org/officeDocument/2006/relationships/image" Target="../media/image1.emf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677048BB-1AE8-ED29-F7E5-3577D301CF23}"/>
              </a:ext>
            </a:extLst>
          </p:cNvPr>
          <p:cNvSpPr/>
          <p:nvPr/>
        </p:nvSpPr>
        <p:spPr>
          <a:xfrm>
            <a:off x="8376516" y="3749067"/>
            <a:ext cx="3336059" cy="1545295"/>
          </a:xfrm>
          <a:prstGeom prst="rect">
            <a:avLst/>
          </a:prstGeom>
          <a:solidFill>
            <a:srgbClr val="179C7D">
              <a:alpha val="7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>
              <a:lnSpc>
                <a:spcPts val="1960"/>
              </a:lnSpc>
            </a:pPr>
            <a:r>
              <a:rPr lang="de-DE" sz="1400">
                <a:solidFill>
                  <a:schemeClr val="tx1"/>
                </a:solidFill>
                <a:cs typeface="Segoe UI"/>
              </a:rPr>
              <a:t>OPC-UA-Server of</a:t>
            </a:r>
          </a:p>
          <a:p>
            <a:pPr>
              <a:lnSpc>
                <a:spcPts val="1960"/>
              </a:lnSpc>
            </a:pPr>
            <a:r>
              <a:rPr lang="de-DE" sz="1400">
                <a:solidFill>
                  <a:schemeClr val="tx1"/>
                </a:solidFill>
                <a:cs typeface="Segoe UI"/>
              </a:rPr>
              <a:t>real asset</a:t>
            </a:r>
            <a:endParaRPr lang="de-DE" dirty="0">
              <a:solidFill>
                <a:schemeClr val="tx1"/>
              </a:solidFill>
              <a:cs typeface="Segoe UI"/>
            </a:endParaRP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CC1D4220-BAF5-2A98-1A8D-550973303A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Umsetzung von Prozessketten Simulationsmodell und im Versuchsfeld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61E9791-BC65-9FD7-8BBB-4A1CE7EF1FE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309947" y="6455836"/>
            <a:ext cx="864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3665A9A-9AB2-48B7-A1F7-07EBF380E246}" type="datetime1">
              <a:rPr lang="de-DE" smtClean="0"/>
              <a:pPr/>
              <a:t>27.08.2024</a:t>
            </a:fld>
            <a:endParaRPr lang="de-DE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F54AB67-22BB-05B5-86C4-6910FFCBE3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© Fraunhofer </a:t>
            </a:r>
            <a:endParaRPr lang="de-DE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4E30DAC-3861-C54F-3A8D-14E3638559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846DB959-0E8C-0FC9-753C-F070530A7E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98199"/>
            <a:ext cx="11233150" cy="319318"/>
          </a:xfrm>
        </p:spPr>
        <p:txBody>
          <a:bodyPr/>
          <a:lstStyle/>
          <a:p>
            <a:r>
              <a:rPr lang="de-DE" dirty="0"/>
              <a:t>Lösung von Inkompatibilitäten zwischen Module-Server und Anlagen-Server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A6C3CA19-28A8-E700-6CF9-391A90A5E504}"/>
              </a:ext>
            </a:extLst>
          </p:cNvPr>
          <p:cNvSpPr/>
          <p:nvPr/>
        </p:nvSpPr>
        <p:spPr>
          <a:xfrm>
            <a:off x="2782191" y="2027410"/>
            <a:ext cx="2162593" cy="3266952"/>
          </a:xfrm>
          <a:prstGeom prst="rect">
            <a:avLst/>
          </a:prstGeom>
          <a:solidFill>
            <a:srgbClr val="179C7D">
              <a:alpha val="25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sz="14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FDL-Module Server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5EBE3445-1678-F6D9-F97E-8D313A7B1AB0}"/>
              </a:ext>
            </a:extLst>
          </p:cNvPr>
          <p:cNvSpPr/>
          <p:nvPr/>
        </p:nvSpPr>
        <p:spPr>
          <a:xfrm>
            <a:off x="3272514" y="3076178"/>
            <a:ext cx="990567" cy="115202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PC-UA-Server</a:t>
            </a:r>
          </a:p>
        </p:txBody>
      </p:sp>
      <p:pic>
        <p:nvPicPr>
          <p:cNvPr id="30" name="Grafik 29" descr="Roboterhand mit einfarbiger Füllung">
            <a:extLst>
              <a:ext uri="{FF2B5EF4-FFF2-40B4-BE49-F238E27FC236}">
                <a16:creationId xmlns:a16="http://schemas.microsoft.com/office/drawing/2014/main" id="{37A56495-D4AB-72F9-FA61-0423CEAF966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960293" y="3571155"/>
            <a:ext cx="1611740" cy="1611740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491B53CB-326E-4C90-7770-AED6FA022FB9}"/>
              </a:ext>
            </a:extLst>
          </p:cNvPr>
          <p:cNvSpPr/>
          <p:nvPr/>
        </p:nvSpPr>
        <p:spPr>
          <a:xfrm>
            <a:off x="475487" y="2034053"/>
            <a:ext cx="1982791" cy="3266952"/>
          </a:xfrm>
          <a:prstGeom prst="rect">
            <a:avLst/>
          </a:prstGeom>
          <a:solidFill>
            <a:srgbClr val="179C7D">
              <a:alpha val="25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ts val="1960"/>
              </a:lnSpc>
            </a:pPr>
            <a:r>
              <a:rPr lang="de-DE" sz="14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FDL</a:t>
            </a:r>
            <a:endParaRPr lang="de-DE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1ED922BC-111D-EFDD-8078-DDE782C328E9}"/>
              </a:ext>
            </a:extLst>
          </p:cNvPr>
          <p:cNvSpPr/>
          <p:nvPr/>
        </p:nvSpPr>
        <p:spPr>
          <a:xfrm>
            <a:off x="6337919" y="2038616"/>
            <a:ext cx="1891229" cy="3255746"/>
          </a:xfrm>
          <a:prstGeom prst="rect">
            <a:avLst/>
          </a:prstGeom>
          <a:solidFill>
            <a:srgbClr val="92D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endParaRPr lang="de-DE" sz="1400">
              <a:solidFill>
                <a:schemeClr val="tx1"/>
              </a:solidFill>
            </a:endParaRPr>
          </a:p>
          <a:p>
            <a:pPr algn="ctr">
              <a:lnSpc>
                <a:spcPts val="1960"/>
              </a:lnSpc>
              <a:buClr>
                <a:schemeClr val="accent1"/>
              </a:buClr>
            </a:pPr>
            <a:endParaRPr lang="de-DE" sz="1400">
              <a:solidFill>
                <a:schemeClr val="tx1"/>
              </a:solidFill>
            </a:endParaRPr>
          </a:p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sz="1400">
                <a:solidFill>
                  <a:schemeClr val="tx1"/>
                </a:solidFill>
              </a:rPr>
              <a:t>Skill-Based </a:t>
            </a:r>
            <a:r>
              <a:rPr lang="de-DE" sz="1400" dirty="0">
                <a:solidFill>
                  <a:schemeClr val="tx1"/>
                </a:solidFill>
              </a:rPr>
              <a:t>Control Framework</a:t>
            </a:r>
            <a:r>
              <a:rPr lang="de-DE" sz="1400">
                <a:solidFill>
                  <a:schemeClr val="tx1"/>
                </a:solidFill>
              </a:rPr>
              <a:t>: </a:t>
            </a:r>
            <a:br>
              <a:rPr lang="de-DE" sz="1400">
                <a:solidFill>
                  <a:schemeClr val="tx1"/>
                </a:solidFill>
              </a:rPr>
            </a:br>
            <a:r>
              <a:rPr lang="en-US" sz="1400">
                <a:solidFill>
                  <a:schemeClr val="tx1"/>
                </a:solidFill>
              </a:rPr>
              <a:t>Unified provision </a:t>
            </a:r>
          </a:p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en-US" sz="1400">
                <a:solidFill>
                  <a:schemeClr val="tx1"/>
                </a:solidFill>
              </a:rPr>
              <a:t>of services</a:t>
            </a:r>
          </a:p>
        </p:txBody>
      </p:sp>
      <p:sp>
        <p:nvSpPr>
          <p:cNvPr id="16" name="Pfeil: nach links und rechts 15">
            <a:extLst>
              <a:ext uri="{FF2B5EF4-FFF2-40B4-BE49-F238E27FC236}">
                <a16:creationId xmlns:a16="http://schemas.microsoft.com/office/drawing/2014/main" id="{8FD32341-BDB9-36F6-9614-AF3C3A82005C}"/>
              </a:ext>
            </a:extLst>
          </p:cNvPr>
          <p:cNvSpPr/>
          <p:nvPr/>
        </p:nvSpPr>
        <p:spPr>
          <a:xfrm>
            <a:off x="2171332" y="3444493"/>
            <a:ext cx="895254" cy="474736"/>
          </a:xfrm>
          <a:prstGeom prst="leftRightArrow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>
              <a:solidFill>
                <a:schemeClr val="tx1"/>
              </a:solidFill>
            </a:endParaRPr>
          </a:p>
        </p:txBody>
      </p:sp>
      <p:sp>
        <p:nvSpPr>
          <p:cNvPr id="28" name="Pfeil: nach links und rechts 27">
            <a:extLst>
              <a:ext uri="{FF2B5EF4-FFF2-40B4-BE49-F238E27FC236}">
                <a16:creationId xmlns:a16="http://schemas.microsoft.com/office/drawing/2014/main" id="{145FAA16-E75D-A24A-1C79-0AE02758D5FC}"/>
              </a:ext>
            </a:extLst>
          </p:cNvPr>
          <p:cNvSpPr/>
          <p:nvPr/>
        </p:nvSpPr>
        <p:spPr>
          <a:xfrm>
            <a:off x="4586993" y="3236407"/>
            <a:ext cx="2085154" cy="474736"/>
          </a:xfrm>
          <a:prstGeom prst="leftRightArrow">
            <a:avLst/>
          </a:prstGeom>
          <a:solidFill>
            <a:srgbClr val="005B7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>
              <a:solidFill>
                <a:schemeClr val="tx1"/>
              </a:solidFill>
            </a:endParaRPr>
          </a:p>
        </p:txBody>
      </p:sp>
      <p:sp>
        <p:nvSpPr>
          <p:cNvPr id="2" name="Pfeil: nach links und rechts 1">
            <a:extLst>
              <a:ext uri="{FF2B5EF4-FFF2-40B4-BE49-F238E27FC236}">
                <a16:creationId xmlns:a16="http://schemas.microsoft.com/office/drawing/2014/main" id="{55348471-E286-4659-6548-371FC0676A6F}"/>
              </a:ext>
            </a:extLst>
          </p:cNvPr>
          <p:cNvSpPr/>
          <p:nvPr/>
        </p:nvSpPr>
        <p:spPr>
          <a:xfrm>
            <a:off x="7822096" y="4741444"/>
            <a:ext cx="884582" cy="474736"/>
          </a:xfrm>
          <a:prstGeom prst="leftRightArrow">
            <a:avLst/>
          </a:prstGeom>
          <a:solidFill>
            <a:srgbClr val="005B7F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>
              <a:solidFill>
                <a:schemeClr val="tx1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DB98E6C2-8C5E-F7B8-F993-8FB5EDDD2512}"/>
              </a:ext>
            </a:extLst>
          </p:cNvPr>
          <p:cNvSpPr/>
          <p:nvPr/>
        </p:nvSpPr>
        <p:spPr>
          <a:xfrm>
            <a:off x="5045742" y="2897761"/>
            <a:ext cx="1213264" cy="1152028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sz="1400" b="1" dirty="0">
                <a:solidFill>
                  <a:schemeClr val="bg1"/>
                </a:solidFill>
              </a:rPr>
              <a:t>Python-Wrapper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C0314E40-87AD-5576-BAEC-D11E5882FAB3}"/>
              </a:ext>
            </a:extLst>
          </p:cNvPr>
          <p:cNvSpPr/>
          <p:nvPr/>
        </p:nvSpPr>
        <p:spPr>
          <a:xfrm>
            <a:off x="8376516" y="2038615"/>
            <a:ext cx="3336059" cy="1632995"/>
          </a:xfrm>
          <a:prstGeom prst="rect">
            <a:avLst/>
          </a:prstGeom>
          <a:solidFill>
            <a:srgbClr val="179C7D">
              <a:alpha val="2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>
              <a:lnSpc>
                <a:spcPts val="1960"/>
              </a:lnSpc>
            </a:pPr>
            <a:r>
              <a:rPr lang="de-DE" sz="1400">
                <a:solidFill>
                  <a:schemeClr val="tx1"/>
                </a:solidFill>
              </a:rPr>
              <a:t>OPC-UA-Server of </a:t>
            </a:r>
          </a:p>
          <a:p>
            <a:pPr>
              <a:lnSpc>
                <a:spcPts val="1960"/>
              </a:lnSpc>
            </a:pPr>
            <a:r>
              <a:rPr lang="de-DE" sz="1400">
                <a:solidFill>
                  <a:schemeClr val="tx1"/>
                </a:solidFill>
              </a:rPr>
              <a:t>virtual asset</a:t>
            </a:r>
            <a:endParaRPr lang="de-DE" sz="1400" dirty="0">
              <a:solidFill>
                <a:schemeClr val="tx1"/>
              </a:solidFill>
            </a:endParaRPr>
          </a:p>
        </p:txBody>
      </p:sp>
      <p:pic>
        <p:nvPicPr>
          <p:cNvPr id="20" name="Grafik 19" descr="Roboterhand Silhouette">
            <a:extLst>
              <a:ext uri="{FF2B5EF4-FFF2-40B4-BE49-F238E27FC236}">
                <a16:creationId xmlns:a16="http://schemas.microsoft.com/office/drawing/2014/main" id="{7590C231-E58F-9968-48F1-D088714CB97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859336" y="2268298"/>
            <a:ext cx="1611741" cy="1611741"/>
          </a:xfrm>
          <a:prstGeom prst="rect">
            <a:avLst/>
          </a:prstGeom>
        </p:spPr>
      </p:pic>
      <p:sp>
        <p:nvSpPr>
          <p:cNvPr id="26" name="Textfeld 25">
            <a:extLst>
              <a:ext uri="{FF2B5EF4-FFF2-40B4-BE49-F238E27FC236}">
                <a16:creationId xmlns:a16="http://schemas.microsoft.com/office/drawing/2014/main" id="{06D02BDC-18F2-EFD1-D374-02FDA53DFC6E}"/>
              </a:ext>
            </a:extLst>
          </p:cNvPr>
          <p:cNvSpPr txBox="1"/>
          <p:nvPr/>
        </p:nvSpPr>
        <p:spPr>
          <a:xfrm>
            <a:off x="475487" y="5406804"/>
            <a:ext cx="11237088" cy="710386"/>
          </a:xfrm>
          <a:prstGeom prst="rect">
            <a:avLst/>
          </a:prstGeom>
          <a:solidFill>
            <a:schemeClr val="accent2">
              <a:alpha val="69804"/>
            </a:schemeClr>
          </a:solidFill>
        </p:spPr>
        <p:txBody>
          <a:bodyPr wrap="none" lIns="0" tIns="0" rIns="0" bIns="0" rtlCol="0" anchor="ctr" anchorCtr="0">
            <a:noAutofit/>
          </a:bodyPr>
          <a:lstStyle/>
          <a:p>
            <a:pPr marL="285750" indent="-285750">
              <a:lnSpc>
                <a:spcPts val="1960"/>
              </a:lnSpc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de-DE" sz="1400" dirty="0" err="1">
                <a:solidFill>
                  <a:schemeClr val="bg1"/>
                </a:solidFill>
              </a:rPr>
              <a:t>Skill-Based</a:t>
            </a:r>
            <a:r>
              <a:rPr lang="de-DE" sz="1400" dirty="0">
                <a:solidFill>
                  <a:schemeClr val="bg1"/>
                </a:solidFill>
              </a:rPr>
              <a:t> Control Framework stellt einheitliche Schnittstelle zu heterogener Steuerungs- und Anlagentechnik bereit</a:t>
            </a:r>
          </a:p>
          <a:p>
            <a:pPr marL="285750" indent="-285750">
              <a:lnSpc>
                <a:spcPts val="1960"/>
              </a:lnSpc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bg1"/>
                </a:solidFill>
              </a:rPr>
              <a:t>PFDL kann sowohl an ein Simulationsmodell in Visual Components als auch an die realen Anlagensteuerungen angebunden werden</a:t>
            </a:r>
          </a:p>
        </p:txBody>
      </p:sp>
      <p:sp>
        <p:nvSpPr>
          <p:cNvPr id="22" name="Textfeld 21"/>
          <p:cNvSpPr txBox="1"/>
          <p:nvPr/>
        </p:nvSpPr>
        <p:spPr>
          <a:xfrm rot="16200000">
            <a:off x="11214328" y="2894536"/>
            <a:ext cx="1545295" cy="2266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GB" sz="1050" dirty="0" err="1"/>
              <a:t>Bildquelle</a:t>
            </a:r>
            <a:r>
              <a:rPr lang="en-GB" sz="1050" dirty="0"/>
              <a:t>: </a:t>
            </a:r>
            <a:r>
              <a:rPr lang="en-GB" sz="1050" dirty="0" err="1"/>
              <a:t>Fraunhofer</a:t>
            </a:r>
            <a:r>
              <a:rPr lang="en-GB" sz="1050" dirty="0"/>
              <a:t> IWU</a:t>
            </a:r>
          </a:p>
        </p:txBody>
      </p:sp>
      <p:sp>
        <p:nvSpPr>
          <p:cNvPr id="7" name="Pfeil: nach links und rechts 6">
            <a:extLst>
              <a:ext uri="{FF2B5EF4-FFF2-40B4-BE49-F238E27FC236}">
                <a16:creationId xmlns:a16="http://schemas.microsoft.com/office/drawing/2014/main" id="{62CDAB9A-F115-E4A0-E533-A764FDDE167E}"/>
              </a:ext>
            </a:extLst>
          </p:cNvPr>
          <p:cNvSpPr/>
          <p:nvPr/>
        </p:nvSpPr>
        <p:spPr>
          <a:xfrm>
            <a:off x="7822096" y="3280388"/>
            <a:ext cx="884582" cy="474736"/>
          </a:xfrm>
          <a:prstGeom prst="leftRightArrow">
            <a:avLst/>
          </a:prstGeom>
          <a:solidFill>
            <a:srgbClr val="005B7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>
              <a:solidFill>
                <a:schemeClr val="tx1"/>
              </a:solidFill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D73A104F-AB49-45C1-AE96-E67D9D142926}"/>
              </a:ext>
            </a:extLst>
          </p:cNvPr>
          <p:cNvSpPr/>
          <p:nvPr/>
        </p:nvSpPr>
        <p:spPr>
          <a:xfrm>
            <a:off x="472229" y="1600815"/>
            <a:ext cx="2014493" cy="356104"/>
          </a:xfrm>
          <a:prstGeom prst="rect">
            <a:avLst/>
          </a:prstGeom>
          <a:solidFill>
            <a:srgbClr val="179C7D">
              <a:alpha val="25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ts val="1960"/>
              </a:lnSpc>
            </a:pPr>
            <a:r>
              <a:rPr lang="de-DE" sz="1400" b="1">
                <a:solidFill>
                  <a:schemeClr val="tx1">
                    <a:lumMod val="50000"/>
                    <a:lumOff val="50000"/>
                  </a:schemeClr>
                </a:solidFill>
                <a:cs typeface="Segoe UI"/>
              </a:rPr>
              <a:t>Process modeling</a:t>
            </a:r>
            <a:endParaRPr lang="de-DE" dirty="0">
              <a:solidFill>
                <a:schemeClr val="tx1">
                  <a:lumMod val="50000"/>
                  <a:lumOff val="50000"/>
                </a:schemeClr>
              </a:solidFill>
              <a:cs typeface="Segoe UI"/>
            </a:endParaRP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E503D135-A10F-1A1D-5937-DCA5A6B251F6}"/>
              </a:ext>
            </a:extLst>
          </p:cNvPr>
          <p:cNvCxnSpPr>
            <a:cxnSpLocks/>
          </p:cNvCxnSpPr>
          <p:nvPr/>
        </p:nvCxnSpPr>
        <p:spPr>
          <a:xfrm flipV="1">
            <a:off x="4778115" y="1326995"/>
            <a:ext cx="0" cy="4079809"/>
          </a:xfrm>
          <a:prstGeom prst="line">
            <a:avLst/>
          </a:prstGeom>
          <a:ln w="28575">
            <a:solidFill>
              <a:srgbClr val="FF0000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hteck 8">
            <a:extLst>
              <a:ext uri="{FF2B5EF4-FFF2-40B4-BE49-F238E27FC236}">
                <a16:creationId xmlns:a16="http://schemas.microsoft.com/office/drawing/2014/main" id="{9DCF0835-1FE7-5F75-067F-0BB517D79E7A}"/>
              </a:ext>
            </a:extLst>
          </p:cNvPr>
          <p:cNvSpPr/>
          <p:nvPr/>
        </p:nvSpPr>
        <p:spPr>
          <a:xfrm>
            <a:off x="8376516" y="1600815"/>
            <a:ext cx="3336059" cy="356104"/>
          </a:xfrm>
          <a:prstGeom prst="rect">
            <a:avLst/>
          </a:prstGeom>
          <a:solidFill>
            <a:srgbClr val="179C7D">
              <a:alpha val="7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ts val="1960"/>
              </a:lnSpc>
            </a:pPr>
            <a:r>
              <a:rPr lang="de-DE" sz="1400">
                <a:solidFill>
                  <a:schemeClr val="tx1"/>
                </a:solidFill>
                <a:cs typeface="Segoe UI"/>
              </a:rPr>
              <a:t>Asset</a:t>
            </a:r>
            <a:endParaRPr lang="de-DE" dirty="0">
              <a:solidFill>
                <a:schemeClr val="tx1"/>
              </a:solidFill>
              <a:cs typeface="Segoe UI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DEC50BEB-3061-D3B2-61CA-177CD0EA0592}"/>
              </a:ext>
            </a:extLst>
          </p:cNvPr>
          <p:cNvSpPr/>
          <p:nvPr/>
        </p:nvSpPr>
        <p:spPr>
          <a:xfrm>
            <a:off x="6337919" y="1600815"/>
            <a:ext cx="1891229" cy="356104"/>
          </a:xfrm>
          <a:prstGeom prst="rect">
            <a:avLst/>
          </a:prstGeom>
          <a:solidFill>
            <a:srgbClr val="179C7D">
              <a:alpha val="7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ts val="1960"/>
              </a:lnSpc>
            </a:pPr>
            <a:r>
              <a:rPr lang="de-DE" sz="1400" dirty="0">
                <a:solidFill>
                  <a:schemeClr val="tx1"/>
                </a:solidFill>
                <a:cs typeface="Segoe UI"/>
              </a:rPr>
              <a:t>Service</a:t>
            </a:r>
            <a:endParaRPr lang="de-DE" dirty="0">
              <a:solidFill>
                <a:schemeClr val="tx1"/>
              </a:solidFill>
              <a:cs typeface="Segoe UI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F7510554-218B-0954-5C71-9B6D0D92ED56}"/>
              </a:ext>
            </a:extLst>
          </p:cNvPr>
          <p:cNvSpPr/>
          <p:nvPr/>
        </p:nvSpPr>
        <p:spPr>
          <a:xfrm>
            <a:off x="2782190" y="1600815"/>
            <a:ext cx="3408353" cy="356104"/>
          </a:xfrm>
          <a:prstGeom prst="rect">
            <a:avLst/>
          </a:prstGeom>
          <a:gradFill>
            <a:gsLst>
              <a:gs pos="0">
                <a:srgbClr val="179C7D">
                  <a:alpha val="25000"/>
                </a:srgbClr>
              </a:gs>
              <a:gs pos="100000">
                <a:srgbClr val="179C7D">
                  <a:alpha val="70000"/>
                </a:srgbClr>
              </a:gs>
            </a:gsLst>
            <a:path path="circle">
              <a:fillToRect r="100000" b="100000"/>
            </a:path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ts val="1960"/>
              </a:lnSpc>
            </a:pPr>
            <a:r>
              <a:rPr lang="de-DE" sz="1400">
                <a:solidFill>
                  <a:schemeClr val="tx1"/>
                </a:solidFill>
                <a:cs typeface="Segoe UI"/>
              </a:rPr>
              <a:t>Execution</a:t>
            </a:r>
            <a:endParaRPr lang="de-DE" dirty="0">
              <a:solidFill>
                <a:schemeClr val="tx1"/>
              </a:solidFill>
              <a:cs typeface="Segoe UI"/>
            </a:endParaRP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E142234C-0D7B-85B0-01A5-7BC88C2DF2AE}"/>
              </a:ext>
            </a:extLst>
          </p:cNvPr>
          <p:cNvSpPr txBox="1"/>
          <p:nvPr/>
        </p:nvSpPr>
        <p:spPr>
          <a:xfrm>
            <a:off x="4879073" y="1308141"/>
            <a:ext cx="6833501" cy="24996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sz="1600" b="1"/>
              <a:t>Focus of Fraunhofer </a:t>
            </a:r>
            <a:r>
              <a:rPr lang="de-DE" sz="1600" b="1" dirty="0"/>
              <a:t>IWU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002A5FD3-7023-4D92-E37F-B2EE5D7D17C1}"/>
              </a:ext>
            </a:extLst>
          </p:cNvPr>
          <p:cNvSpPr txBox="1"/>
          <p:nvPr/>
        </p:nvSpPr>
        <p:spPr>
          <a:xfrm>
            <a:off x="472230" y="1303531"/>
            <a:ext cx="4204928" cy="24996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sz="1600" b="1"/>
              <a:t>SWAP-IT Base Modules</a:t>
            </a:r>
            <a:endParaRPr lang="de-DE" sz="1600" b="1" dirty="0"/>
          </a:p>
        </p:txBody>
      </p:sp>
    </p:spTree>
    <p:extLst>
      <p:ext uri="{BB962C8B-B14F-4D97-AF65-F5344CB8AC3E}">
        <p14:creationId xmlns:p14="http://schemas.microsoft.com/office/powerpoint/2010/main" val="29187427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1C43AEC8-5072-42F0-B77B-7F8AF798F2C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5EC8815-1BF4-4D91-B171-7A979703406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0" y="2524025"/>
            <a:ext cx="7824783" cy="2981879"/>
          </a:xfrm>
          <a:gradFill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</a:gradFill>
        </p:spPr>
        <p:txBody>
          <a:bodyPr/>
          <a:lstStyle/>
          <a:p>
            <a:pPr lvl="0"/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  <a:p>
            <a:pPr lvl="3"/>
            <a:r>
              <a:rPr lang="de-DE" noProof="0"/>
              <a:t>Referent 1, Referent 2, Referent 3</a:t>
            </a:r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54DA33B6-2970-4B85-9E17-C2331F392A8E}"/>
              </a:ext>
            </a:extLst>
          </p:cNvPr>
          <p:cNvSpPr txBox="1"/>
          <p:nvPr/>
        </p:nvSpPr>
        <p:spPr bwMode="gray">
          <a:xfrm>
            <a:off x="485775" y="5984875"/>
            <a:ext cx="11223625" cy="581252"/>
          </a:xfrm>
          <a:prstGeom prst="rect">
            <a:avLst/>
          </a:prstGeom>
          <a:noFill/>
          <a:ln>
            <a:solidFill>
              <a:schemeClr val="bg2"/>
            </a:solidFill>
            <a:prstDash val="dash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rtlCol="0" anchor="ctr"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600" b="1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Frutiger LT Com 65" panose="020B0503030504020204" pitchFamily="34" charset="77"/>
              </a:rPr>
              <a:t>Optionaler Bereich für Co-Branding</a:t>
            </a:r>
            <a:endParaRPr kumimoji="0" lang="de-DE" sz="1600" b="1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Frutiger LT Com 65" panose="020B0503030504020204" pitchFamily="34" charset="77"/>
            </a:endParaRPr>
          </a:p>
        </p:txBody>
      </p:sp>
      <p:sp>
        <p:nvSpPr>
          <p:cNvPr id="10" name="Logoarea">
            <a:extLst>
              <a:ext uri="{FF2B5EF4-FFF2-40B4-BE49-F238E27FC236}">
                <a16:creationId xmlns:a16="http://schemas.microsoft.com/office/drawing/2014/main" id="{F59EA7A3-A194-4913-95A2-0FEBEBCD8E82}"/>
              </a:ext>
            </a:extLst>
          </p:cNvPr>
          <p:cNvSpPr/>
          <p:nvPr/>
        </p:nvSpPr>
        <p:spPr bwMode="gray">
          <a:xfrm>
            <a:off x="9192575" y="476250"/>
            <a:ext cx="2520000" cy="900000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r>
              <a:rPr lang="de-DE"/>
              <a:t>Logobereic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7937054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B500FC85-E1C9-4FFB-9C48-06ED2C38C0D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A26368A-DC98-4BAD-9C78-AAD594D15F3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0" y="2357438"/>
            <a:ext cx="7824788" cy="2891919"/>
          </a:xfrm>
          <a:gradFill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</a:gradFill>
        </p:spPr>
        <p:txBody>
          <a:bodyPr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Referent/Datum, Frutiger LT Com Bd, 16 pt</a:t>
            </a:r>
            <a:br>
              <a:rPr lang="de-DE"/>
            </a:br>
            <a:r>
              <a:rPr lang="de-DE"/>
              <a:t>maximal 2 Zeilen</a:t>
            </a:r>
            <a:endParaRPr lang="de-DE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B7F8F7E2-F857-4221-8DBF-B3746DB90942}"/>
              </a:ext>
            </a:extLst>
          </p:cNvPr>
          <p:cNvSpPr txBox="1"/>
          <p:nvPr/>
        </p:nvSpPr>
        <p:spPr bwMode="gray">
          <a:xfrm>
            <a:off x="485775" y="5984875"/>
            <a:ext cx="11223625" cy="581252"/>
          </a:xfrm>
          <a:prstGeom prst="rect">
            <a:avLst/>
          </a:prstGeom>
          <a:noFill/>
          <a:ln>
            <a:solidFill>
              <a:schemeClr val="bg2"/>
            </a:solidFill>
            <a:prstDash val="dash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rtlCol="0" anchor="ctr"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600" b="1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Frutiger LT Com 65" panose="020B0503030504020204" pitchFamily="34" charset="77"/>
              </a:rPr>
              <a:t>Optionaler Bereich für Co-Branding</a:t>
            </a:r>
            <a:endParaRPr kumimoji="0" lang="de-DE" sz="1600" b="1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Frutiger LT Com 65" panose="020B0503030504020204" pitchFamily="34" charset="77"/>
            </a:endParaRPr>
          </a:p>
        </p:txBody>
      </p:sp>
      <p:sp>
        <p:nvSpPr>
          <p:cNvPr id="8" name="Logoarea">
            <a:extLst>
              <a:ext uri="{FF2B5EF4-FFF2-40B4-BE49-F238E27FC236}">
                <a16:creationId xmlns:a16="http://schemas.microsoft.com/office/drawing/2014/main" id="{A8127C04-8725-454A-BE86-0A386A25C13F}"/>
              </a:ext>
            </a:extLst>
          </p:cNvPr>
          <p:cNvSpPr/>
          <p:nvPr/>
        </p:nvSpPr>
        <p:spPr bwMode="gray">
          <a:xfrm>
            <a:off x="9192575" y="476250"/>
            <a:ext cx="2520000" cy="900000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r>
              <a:rPr lang="de-DE"/>
              <a:t>Logobereich</a:t>
            </a:r>
            <a:endParaRPr lang="de-DE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9940B91-DAFD-473C-A1C8-1501F222CB4A}"/>
              </a:ext>
            </a:extLst>
          </p:cNvPr>
          <p:cNvSpPr/>
          <p:nvPr/>
        </p:nvSpPr>
        <p:spPr bwMode="gray">
          <a:xfrm rot="20700000">
            <a:off x="6858000" y="3255413"/>
            <a:ext cx="3556000" cy="956773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rgbClr val="FDB913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>
            <a:spAutoFit/>
          </a:bodyPr>
          <a:lstStyle/>
          <a:p>
            <a:pPr algn="ctr"/>
            <a:r>
              <a:rPr lang="de-DE" sz="2400">
                <a:latin typeface="+mj-lt"/>
              </a:rPr>
              <a:t>Störer,</a:t>
            </a:r>
            <a:br>
              <a:rPr lang="de-DE" sz="2400">
                <a:latin typeface="+mj-lt"/>
              </a:rPr>
            </a:br>
            <a:r>
              <a:rPr lang="de-DE" sz="2400">
                <a:latin typeface="+mj-lt"/>
              </a:rPr>
              <a:t>Frutiger LT Com Bd</a:t>
            </a:r>
            <a:endParaRPr lang="de-DE" sz="2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7925215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9F79856-5C31-46CF-811F-5923CFCCD6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0" y="2990043"/>
            <a:ext cx="11712575" cy="2994832"/>
          </a:xfrm>
        </p:spPr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/>
              <a:t>Referent 1, Referent 2, Referent 3</a:t>
            </a:r>
            <a:endParaRPr lang="de-DE" dirty="0"/>
          </a:p>
        </p:txBody>
      </p:sp>
      <p:sp>
        <p:nvSpPr>
          <p:cNvPr id="6" name="Logoarea">
            <a:extLst>
              <a:ext uri="{FF2B5EF4-FFF2-40B4-BE49-F238E27FC236}">
                <a16:creationId xmlns:a16="http://schemas.microsoft.com/office/drawing/2014/main" id="{D1DDC96A-1A50-4408-8581-DAD74304BDEB}"/>
              </a:ext>
            </a:extLst>
          </p:cNvPr>
          <p:cNvSpPr/>
          <p:nvPr/>
        </p:nvSpPr>
        <p:spPr bwMode="gray">
          <a:xfrm>
            <a:off x="9192575" y="476250"/>
            <a:ext cx="2520000" cy="900000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r>
              <a:rPr lang="de-DE"/>
              <a:t>Logobereich</a:t>
            </a:r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93E0C4D9-4891-42E5-A943-0B34E65882BC}"/>
              </a:ext>
            </a:extLst>
          </p:cNvPr>
          <p:cNvSpPr/>
          <p:nvPr/>
        </p:nvSpPr>
        <p:spPr bwMode="gray">
          <a:xfrm rot="20700000">
            <a:off x="8093342" y="3255413"/>
            <a:ext cx="3556000" cy="956773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rgbClr val="FDB913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>
            <a:spAutoFit/>
          </a:bodyPr>
          <a:lstStyle/>
          <a:p>
            <a:pPr algn="ctr"/>
            <a:r>
              <a:rPr lang="de-DE" sz="2400">
                <a:latin typeface="+mj-lt"/>
              </a:rPr>
              <a:t>Störer,</a:t>
            </a:r>
            <a:br>
              <a:rPr lang="de-DE" sz="2400">
                <a:latin typeface="+mj-lt"/>
              </a:rPr>
            </a:br>
            <a:r>
              <a:rPr lang="de-DE" sz="2400">
                <a:latin typeface="+mj-lt"/>
              </a:rPr>
              <a:t>Frutiger LT Com Bd</a:t>
            </a:r>
            <a:endParaRPr lang="de-DE" sz="2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128274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DC082-012F-4E61-858B-C0FB30EFD6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0" y="3092956"/>
            <a:ext cx="11712575" cy="2891919"/>
          </a:xfrm>
        </p:spPr>
        <p:txBody>
          <a:bodyPr/>
          <a:lstStyle/>
          <a:p>
            <a:pPr lvl="0"/>
            <a:r>
              <a:rPr lang="de-DE" noProof="0" dirty="0"/>
              <a:t>Headline, Frutiger LT </a:t>
            </a:r>
            <a:r>
              <a:rPr lang="de-DE" noProof="0" err="1"/>
              <a:t>Com</a:t>
            </a:r>
            <a:r>
              <a:rPr lang="de-DE" noProof="0"/>
              <a:t> Lt</a:t>
            </a:r>
            <a:r>
              <a:rPr lang="de-DE" noProof="0" dirty="0"/>
              <a:t>,</a:t>
            </a:r>
            <a:br>
              <a:rPr lang="de-DE" noProof="0" dirty="0"/>
            </a:br>
            <a:r>
              <a:rPr lang="de-DE" noProof="0" dirty="0"/>
              <a:t>32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—</a:t>
            </a:r>
          </a:p>
          <a:p>
            <a:pPr lvl="2"/>
            <a:r>
              <a:rPr lang="de-DE" noProof="0"/>
              <a:t>Subline/Referent/Datum, Frutiger LT Com Bd, 16 pt </a:t>
            </a:r>
            <a:br>
              <a:rPr lang="de-DE" noProof="0"/>
            </a:br>
            <a:r>
              <a:rPr lang="de-DE" noProof="0"/>
              <a:t>maximal 2 Zeilen</a:t>
            </a:r>
            <a:endParaRPr lang="de-DE" noProof="0" dirty="0"/>
          </a:p>
        </p:txBody>
      </p:sp>
      <p:sp>
        <p:nvSpPr>
          <p:cNvPr id="6" name="Logoarea">
            <a:extLst>
              <a:ext uri="{FF2B5EF4-FFF2-40B4-BE49-F238E27FC236}">
                <a16:creationId xmlns:a16="http://schemas.microsoft.com/office/drawing/2014/main" id="{0F888674-5FC7-4A46-B421-69C332787461}"/>
              </a:ext>
            </a:extLst>
          </p:cNvPr>
          <p:cNvSpPr/>
          <p:nvPr/>
        </p:nvSpPr>
        <p:spPr bwMode="gray">
          <a:xfrm>
            <a:off x="9192575" y="476250"/>
            <a:ext cx="2520000" cy="900000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r>
              <a:rPr lang="de-DE"/>
              <a:t>Logobereic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43099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6576217D-9E7B-475B-8920-827DE55D6FD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153150"/>
          </a:xfrm>
        </p:spPr>
        <p:txBody>
          <a:bodyPr/>
          <a:lstStyle/>
          <a:p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BC83BAB-46CE-4628-8727-46DA985AFA7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3149600"/>
            <a:ext cx="5916612" cy="2719564"/>
          </a:xfrm>
        </p:spPr>
        <p:txBody>
          <a:bodyPr/>
          <a:lstStyle/>
          <a:p>
            <a:r>
              <a:rPr lang="de-DE" dirty="0"/>
              <a:t>01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Headline, </a:t>
            </a:r>
            <a:br>
              <a:rPr lang="de-DE"/>
            </a:br>
            <a:r>
              <a:rPr lang="de-DE"/>
              <a:t>Frutiger LT Com Bd, 16 pt</a:t>
            </a:r>
            <a:br>
              <a:rPr lang="de-DE"/>
            </a:br>
            <a:r>
              <a:rPr lang="de-DE"/>
              <a:t>maximal 3 Zeilen</a:t>
            </a:r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A12EDB89-85BC-4961-A30E-08D4B98A90D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7F0F3869-5A20-4F82-B930-AA2F7547CB8E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35BC2DAC-4B3A-4C89-B35B-7877A778D05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4" name="Institutsname">
            <a:extLst>
              <a:ext uri="{FF2B5EF4-FFF2-40B4-BE49-F238E27FC236}">
                <a16:creationId xmlns:a16="http://schemas.microsoft.com/office/drawing/2014/main" id="{7089292E-BCDA-44DF-AA37-DD24539055DD}"/>
              </a:ext>
            </a:extLst>
          </p:cNvPr>
          <p:cNvSpPr txBox="1">
            <a:spLocks noChangeArrowheads="1"/>
          </p:cNvSpPr>
          <p:nvPr/>
        </p:nvSpPr>
        <p:spPr bwMode="gray">
          <a:xfrm rot="16200000">
            <a:off x="-643086" y="5134031"/>
            <a:ext cx="159396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982663"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 sz="700"/>
              <a:t>© Copyright</a:t>
            </a:r>
            <a:endParaRPr lang="de-DE" sz="700" b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36D466D4-C3BD-48D8-8943-F2353D343C6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02146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3E4A145-4777-4F32-AB8C-6C9082EA85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7723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5146BF41-A212-4385-A01E-73DDC631F6F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700213"/>
            <a:ext cx="6781800" cy="4452937"/>
          </a:xfrm>
        </p:spPr>
        <p:txBody>
          <a:bodyPr/>
          <a:lstStyle/>
          <a:p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BC83BAB-46CE-4628-8727-46DA985AFA7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3149600"/>
            <a:ext cx="5916612" cy="2719564"/>
          </a:xfrm>
        </p:spPr>
        <p:txBody>
          <a:bodyPr/>
          <a:lstStyle/>
          <a:p>
            <a:r>
              <a:rPr lang="de-DE" dirty="0"/>
              <a:t>01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Headline, </a:t>
            </a:r>
            <a:br>
              <a:rPr lang="de-DE"/>
            </a:br>
            <a:r>
              <a:rPr lang="de-DE"/>
              <a:t>Frutiger LT Com Bd, 16 pt</a:t>
            </a:r>
            <a:br>
              <a:rPr lang="de-DE"/>
            </a:br>
            <a:r>
              <a:rPr lang="de-DE"/>
              <a:t>maximal 3 Zeil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532A74A-862F-43E8-8CCB-8B656C6280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/>
              <a:t>Headline, Frutiger LT Com Bd, 24 pt, Kapiteltrenner</a:t>
            </a:r>
            <a:endParaRPr lang="de-DE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454E9F35-2223-4BBD-A2AA-E03D59459A4E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7DCBD9FE-1A8C-43F6-8F80-942FDA1AC2DD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DB58E769-9E03-42DA-9DDE-78D038CC4C2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CF2759DC-BDEE-408E-ADD8-A63130BCBED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Institutsname">
            <a:extLst>
              <a:ext uri="{FF2B5EF4-FFF2-40B4-BE49-F238E27FC236}">
                <a16:creationId xmlns:a16="http://schemas.microsoft.com/office/drawing/2014/main" id="{7089292E-BCDA-44DF-AA37-DD24539055DD}"/>
              </a:ext>
            </a:extLst>
          </p:cNvPr>
          <p:cNvSpPr txBox="1">
            <a:spLocks noChangeArrowheads="1"/>
          </p:cNvSpPr>
          <p:nvPr/>
        </p:nvSpPr>
        <p:spPr bwMode="gray">
          <a:xfrm rot="16200000">
            <a:off x="-643086" y="5134031"/>
            <a:ext cx="159396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982663"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 sz="700"/>
              <a:t>© Copyright</a:t>
            </a:r>
            <a:endParaRPr lang="de-DE" sz="700" b="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ADBE57-C0C2-40B9-BB42-34454D829D1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933915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3E4A145-4777-4F32-AB8C-6C9082EA85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21905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3E4A145-4777-4F32-AB8C-6C9082EA85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6631B631-A3BD-445B-8768-F3CCD464686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9424" y="1700213"/>
            <a:ext cx="6315075" cy="4284662"/>
          </a:xfrm>
        </p:spPr>
        <p:txBody>
          <a:bodyPr/>
          <a:lstStyle/>
          <a:p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BC83BAB-46CE-4628-8727-46DA985AFA7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3149600"/>
            <a:ext cx="5916612" cy="2835275"/>
          </a:xfrm>
        </p:spPr>
        <p:txBody>
          <a:bodyPr/>
          <a:lstStyle/>
          <a:p>
            <a:r>
              <a:rPr lang="de-DE" dirty="0"/>
              <a:t>Headline, </a:t>
            </a:r>
            <a:r>
              <a:rPr lang="de-DE"/>
              <a:t>Frutiger Bd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Copytext. Frutiger LT Com Lt, 16 pt. </a:t>
            </a:r>
            <a:endParaRPr lang="de-DE" dirty="0"/>
          </a:p>
          <a:p>
            <a:pPr lvl="2"/>
            <a:r>
              <a:rPr lang="de-DE" dirty="0" err="1"/>
              <a:t>Tequis</a:t>
            </a:r>
            <a:r>
              <a:rPr lang="de-DE" dirty="0"/>
              <a:t> </a:t>
            </a:r>
            <a:r>
              <a:rPr lang="de-DE" dirty="0" err="1"/>
              <a:t>magnam</a:t>
            </a:r>
            <a:r>
              <a:rPr lang="de-DE" dirty="0"/>
              <a:t> </a:t>
            </a:r>
            <a:r>
              <a:rPr lang="de-DE" dirty="0" err="1"/>
              <a:t>everunt</a:t>
            </a:r>
            <a:r>
              <a:rPr lang="de-DE" dirty="0"/>
              <a:t> </a:t>
            </a:r>
            <a:r>
              <a:rPr lang="de-DE" dirty="0" err="1"/>
              <a:t>re</a:t>
            </a:r>
            <a:r>
              <a:rPr lang="de-DE" dirty="0"/>
              <a:t> </a:t>
            </a:r>
            <a:r>
              <a:rPr lang="de-DE" dirty="0" err="1"/>
              <a:t>volu</a:t>
            </a:r>
            <a:r>
              <a:rPr lang="de-DE" dirty="0"/>
              <a:t> </a:t>
            </a:r>
            <a:r>
              <a:rPr lang="de-DE" dirty="0" err="1"/>
              <a:t>pti</a:t>
            </a:r>
            <a:r>
              <a:rPr lang="de-DE" dirty="0"/>
              <a:t> </a:t>
            </a:r>
            <a:r>
              <a:rPr lang="de-DE" dirty="0" err="1"/>
              <a:t>ntiusament</a:t>
            </a:r>
            <a:r>
              <a:rPr lang="de-DE" dirty="0"/>
              <a:t> at et </a:t>
            </a:r>
            <a:r>
              <a:rPr lang="de-DE" dirty="0" err="1"/>
              <a:t>omnimo</a:t>
            </a:r>
            <a:r>
              <a:rPr lang="de-DE" dirty="0"/>
              <a:t> </a:t>
            </a:r>
            <a:r>
              <a:rPr lang="de-DE" dirty="0" err="1"/>
              <a:t>totatin</a:t>
            </a:r>
            <a:r>
              <a:rPr lang="de-DE" dirty="0"/>
              <a:t> </a:t>
            </a:r>
            <a:r>
              <a:rPr lang="de-DE" dirty="0" err="1"/>
              <a:t>venimus</a:t>
            </a:r>
            <a:r>
              <a:rPr lang="de-DE" dirty="0"/>
              <a:t> </a:t>
            </a:r>
            <a:r>
              <a:rPr lang="de-DE" dirty="0" err="1"/>
              <a:t>anturis</a:t>
            </a:r>
            <a:r>
              <a:rPr lang="de-DE" dirty="0"/>
              <a:t> </a:t>
            </a:r>
            <a:r>
              <a:rPr lang="de-DE" dirty="0" err="1"/>
              <a:t>explaut</a:t>
            </a:r>
            <a:r>
              <a:rPr lang="de-DE" dirty="0"/>
              <a:t> </a:t>
            </a:r>
            <a:r>
              <a:rPr lang="de-DE" dirty="0" err="1"/>
              <a:t>alique</a:t>
            </a:r>
            <a:r>
              <a:rPr lang="de-DE" dirty="0"/>
              <a:t> </a:t>
            </a:r>
            <a:r>
              <a:rPr lang="de-DE" dirty="0" err="1"/>
              <a:t>veniscidus</a:t>
            </a:r>
            <a:r>
              <a:rPr lang="de-DE" dirty="0"/>
              <a:t> </a:t>
            </a:r>
            <a:r>
              <a:rPr lang="de-DE" dirty="0" err="1"/>
              <a:t>erum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.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ite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aurum</a:t>
            </a:r>
            <a:r>
              <a:rPr lang="de-DE" dirty="0"/>
              <a:t> </a:t>
            </a:r>
            <a:r>
              <a:rPr lang="de-DE" dirty="0" err="1"/>
              <a:t>eum</a:t>
            </a:r>
            <a:r>
              <a:rPr lang="de-DE" dirty="0"/>
              <a:t> </a:t>
            </a:r>
            <a:r>
              <a:rPr lang="de-DE" dirty="0" err="1"/>
              <a:t>explindus</a:t>
            </a:r>
            <a:r>
              <a:rPr lang="de-DE" dirty="0"/>
              <a:t>. Staus ex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532A74A-862F-43E8-8CCB-8B656C6280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/>
              <a:t>Headline, Frutiger LT Com Bd, 24 pt, Kapiteltrenner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8FCE958-E2FC-4953-959F-02FD887D755B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BCAFD08C-792E-4C07-9D59-D0C846D2F7BE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14D3B381-30DA-49AC-BDF4-2535BD26E86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2FFC3EC6-26F1-42B0-ABBD-A3A9A369530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Institutsname">
            <a:extLst>
              <a:ext uri="{FF2B5EF4-FFF2-40B4-BE49-F238E27FC236}">
                <a16:creationId xmlns:a16="http://schemas.microsoft.com/office/drawing/2014/main" id="{7089292E-BCDA-44DF-AA37-DD24539055DD}"/>
              </a:ext>
            </a:extLst>
          </p:cNvPr>
          <p:cNvSpPr txBox="1">
            <a:spLocks noChangeArrowheads="1"/>
          </p:cNvSpPr>
          <p:nvPr/>
        </p:nvSpPr>
        <p:spPr bwMode="gray">
          <a:xfrm rot="16200000">
            <a:off x="-643086" y="5134031"/>
            <a:ext cx="159396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982663"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 sz="700"/>
              <a:t>© Copyright</a:t>
            </a:r>
            <a:endParaRPr lang="de-DE" sz="700" b="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936D7B5-7F9F-4067-A641-CA95170694D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52054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4B23A4EC-E6FD-4AAF-90B4-44785B1F15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9660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09A6212-948B-4F5F-9BEF-32E5083283C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8198" y="1999174"/>
            <a:ext cx="7346583" cy="2235484"/>
          </a:xfrm>
        </p:spPr>
        <p:txBody>
          <a:bodyPr/>
          <a:lstStyle/>
          <a:p>
            <a:pPr lvl="0"/>
            <a:r>
              <a:rPr lang="de-DE"/>
              <a:t>Kapitel 01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Headline, Frutiger LT Com Lt,</a:t>
            </a:r>
            <a:br>
              <a:rPr lang="de-DE"/>
            </a:br>
            <a:r>
              <a:rPr lang="de-DE"/>
              <a:t>32 pt</a:t>
            </a:r>
            <a:br>
              <a:rPr lang="de-DE"/>
            </a:br>
            <a:r>
              <a:rPr lang="de-DE"/>
              <a:t>maximal 3 Zeil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286CF55-AB5F-4499-B112-C9EC327F4155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CC9B8319-FAA6-4BA0-AED8-7AEDE4B13DD1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0821DFC-4541-4D25-86CF-D9F84368A25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2648FDF-05C8-4CE8-9748-8A49AABDE16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592063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4B23A4EC-E6FD-4AAF-90B4-44785B1F15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9997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4B23A4EC-E6FD-4AAF-90B4-44785B1F15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09A6212-948B-4F5F-9BEF-32E5083283C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8198" y="1999174"/>
            <a:ext cx="7346585" cy="2235484"/>
          </a:xfrm>
        </p:spPr>
        <p:txBody>
          <a:bodyPr/>
          <a:lstStyle/>
          <a:p>
            <a:pPr lvl="0"/>
            <a:r>
              <a:rPr lang="de-DE"/>
              <a:t>Kapitel 01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Headline, Frutiger LT Com Lt,</a:t>
            </a:r>
            <a:br>
              <a:rPr lang="de-DE"/>
            </a:br>
            <a:r>
              <a:rPr lang="de-DE"/>
              <a:t>32 pt</a:t>
            </a:r>
            <a:br>
              <a:rPr lang="de-DE"/>
            </a:br>
            <a:r>
              <a:rPr lang="de-DE"/>
              <a:t>maximal 3 Zeilen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543B505-5BCB-42A7-A897-646C5399C986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B6540A85-6B6C-450D-9A61-3F0568B90DF1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C0A9EA3-BF8D-49B2-97C4-D185CE0AA8E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8F8EC20-009F-48F6-8F33-584CB6C0847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8436981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CCF772E-B200-4A5A-A523-AC73A3B0B1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1393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DE8CA5D7-7759-407B-A183-2B747F0F80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Headline, Frutiger LT Com Bd, 24 pt, Inhaltsverzeichnis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3DB13E2-B7A9-494D-979C-E9150FE9FA8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A084D317-82FF-4C40-AE4D-3B5721D6CF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1435883"/>
              </p:ext>
            </p:extLst>
          </p:nvPr>
        </p:nvGraphicFramePr>
        <p:xfrm>
          <a:off x="479426" y="1700215"/>
          <a:ext cx="11233150" cy="3086312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4161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169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Kapitelname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38853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Kapitelname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180000" lvl="3" indent="-18000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de-DE" sz="14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ubtitel 1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4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ubtitel 2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4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ubtitel 3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Kapitelname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4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Kapitelname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5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Kapitelname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6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Kapitelname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78E27C2-DA6F-450B-ADFC-C0DBBE97F678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4A303982-9CE5-4AC9-974E-B6739AD2FC1B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EEE513-944D-479F-A9E2-1FE2D167B36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D30CCDC-E9B7-477B-B000-773E8CEC458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904691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C355C81-94EA-4286-86D6-55A3753F43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ini-Styleguid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5FDB54F-DC51-4F2C-A0A5-B782238913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Fußzeile</a:t>
            </a:r>
          </a:p>
        </p:txBody>
      </p:sp>
      <p:sp>
        <p:nvSpPr>
          <p:cNvPr id="8" name="Sprechblase: rechteckig 7">
            <a:extLst>
              <a:ext uri="{FF2B5EF4-FFF2-40B4-BE49-F238E27FC236}">
                <a16:creationId xmlns:a16="http://schemas.microsoft.com/office/drawing/2014/main" id="{5302E90F-12FD-4BA8-9245-75A5EF9CD19D}"/>
              </a:ext>
            </a:extLst>
          </p:cNvPr>
          <p:cNvSpPr/>
          <p:nvPr/>
        </p:nvSpPr>
        <p:spPr>
          <a:xfrm>
            <a:off x="479425" y="5229547"/>
            <a:ext cx="1855666" cy="811798"/>
          </a:xfrm>
          <a:prstGeom prst="wedgeRectCallout">
            <a:avLst>
              <a:gd name="adj1" fmla="val 33522"/>
              <a:gd name="adj2" fmla="val 71387"/>
            </a:avLst>
          </a:prstGeom>
          <a:solidFill>
            <a:srgbClr val="FF78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>
              <a:lnSpc>
                <a:spcPct val="110000"/>
              </a:lnSpc>
              <a:buClr>
                <a:schemeClr val="accent1"/>
              </a:buClr>
            </a:pPr>
            <a:r>
              <a:rPr lang="de-DE" sz="1200">
                <a:solidFill>
                  <a:srgbClr val="FFFFFF"/>
                </a:solidFill>
                <a:latin typeface="Arial" panose="020B0604020202020204" pitchFamily="34" charset="0"/>
              </a:rPr>
              <a:t>Anpassung der Fußzeile über Einfügen </a:t>
            </a:r>
            <a:br>
              <a:rPr lang="de-DE" sz="1200">
                <a:solidFill>
                  <a:srgbClr val="FFFFFF"/>
                </a:solidFill>
                <a:latin typeface="Arial" panose="020B0604020202020204" pitchFamily="34" charset="0"/>
              </a:rPr>
            </a:br>
            <a:r>
              <a:rPr lang="de-DE" sz="1200">
                <a:solidFill>
                  <a:srgbClr val="FFFFFF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 Kopf- und Fußzeile</a:t>
            </a:r>
            <a:endParaRPr lang="de-DE" sz="12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6689DE40-090D-4FE3-8A48-A837868974ED}"/>
              </a:ext>
            </a:extLst>
          </p:cNvPr>
          <p:cNvGrpSpPr/>
          <p:nvPr/>
        </p:nvGrpSpPr>
        <p:grpSpPr>
          <a:xfrm>
            <a:off x="385012" y="1700213"/>
            <a:ext cx="5338110" cy="4951508"/>
            <a:chOff x="747109" y="1743480"/>
            <a:chExt cx="6089401" cy="5648389"/>
          </a:xfrm>
        </p:grpSpPr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6D7AF2F6-B087-48A4-BF4E-D2058C49122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54810" y="1743480"/>
              <a:ext cx="5981700" cy="3819525"/>
            </a:xfrm>
            <a:prstGeom prst="rect">
              <a:avLst/>
            </a:prstGeom>
          </p:spPr>
        </p:pic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2A8F8E54-5730-425D-B40F-528FDD97ADB2}"/>
                </a:ext>
              </a:extLst>
            </p:cNvPr>
            <p:cNvSpPr/>
            <p:nvPr/>
          </p:nvSpPr>
          <p:spPr>
            <a:xfrm>
              <a:off x="1049153" y="2407957"/>
              <a:ext cx="4514249" cy="2216210"/>
            </a:xfrm>
            <a:prstGeom prst="rect">
              <a:avLst/>
            </a:prstGeom>
            <a:noFill/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535E4FCA-2B0A-46FA-A1C6-0F453648FA85}"/>
                </a:ext>
              </a:extLst>
            </p:cNvPr>
            <p:cNvSpPr/>
            <p:nvPr/>
          </p:nvSpPr>
          <p:spPr>
            <a:xfrm>
              <a:off x="747109" y="7028049"/>
              <a:ext cx="3118300" cy="363820"/>
            </a:xfrm>
            <a:prstGeom prst="rect">
              <a:avLst/>
            </a:prstGeom>
            <a:noFill/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4" name="Sprechblase: rechteckig 13">
            <a:extLst>
              <a:ext uri="{FF2B5EF4-FFF2-40B4-BE49-F238E27FC236}">
                <a16:creationId xmlns:a16="http://schemas.microsoft.com/office/drawing/2014/main" id="{504DF4C1-8EC7-4D9C-94D3-FC71B0F4AE24}"/>
              </a:ext>
            </a:extLst>
          </p:cNvPr>
          <p:cNvSpPr/>
          <p:nvPr/>
        </p:nvSpPr>
        <p:spPr>
          <a:xfrm>
            <a:off x="5249897" y="5229547"/>
            <a:ext cx="1955767" cy="811798"/>
          </a:xfrm>
          <a:prstGeom prst="wedgeRectCallout">
            <a:avLst>
              <a:gd name="adj1" fmla="val -8324"/>
              <a:gd name="adj2" fmla="val 73758"/>
            </a:avLst>
          </a:prstGeom>
          <a:solidFill>
            <a:srgbClr val="FF78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>
              <a:lnSpc>
                <a:spcPct val="110000"/>
              </a:lnSpc>
              <a:buClr>
                <a:schemeClr val="accent1"/>
              </a:buClr>
            </a:pPr>
            <a:r>
              <a:rPr lang="de-DE" sz="1200">
                <a:solidFill>
                  <a:srgbClr val="FFFFFF"/>
                </a:solidFill>
                <a:latin typeface="Arial" panose="020B0604020202020204" pitchFamily="34" charset="0"/>
              </a:rPr>
              <a:t>Klassifizierung wird über das Add-In angepasst </a:t>
            </a:r>
            <a:endParaRPr lang="de-DE" sz="12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5" name="Sprechblase: rechteckig 14">
            <a:extLst>
              <a:ext uri="{FF2B5EF4-FFF2-40B4-BE49-F238E27FC236}">
                <a16:creationId xmlns:a16="http://schemas.microsoft.com/office/drawing/2014/main" id="{6975CD66-5713-4B58-B075-271A2DA4ED95}"/>
              </a:ext>
            </a:extLst>
          </p:cNvPr>
          <p:cNvSpPr/>
          <p:nvPr/>
        </p:nvSpPr>
        <p:spPr>
          <a:xfrm>
            <a:off x="9500136" y="5048497"/>
            <a:ext cx="2212440" cy="992848"/>
          </a:xfrm>
          <a:prstGeom prst="wedgeRectCallout">
            <a:avLst>
              <a:gd name="adj1" fmla="val -8324"/>
              <a:gd name="adj2" fmla="val 73758"/>
            </a:avLst>
          </a:prstGeom>
          <a:solidFill>
            <a:srgbClr val="FF78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>
              <a:lnSpc>
                <a:spcPct val="110000"/>
              </a:lnSpc>
              <a:buClr>
                <a:schemeClr val="accent1"/>
              </a:buClr>
            </a:pPr>
            <a:r>
              <a:rPr lang="de-DE" sz="1200">
                <a:solidFill>
                  <a:srgbClr val="FFFFFF"/>
                </a:solidFill>
                <a:latin typeface="Arial" panose="020B0604020202020204" pitchFamily="34" charset="0"/>
              </a:rPr>
              <a:t>Auswahl der Logos sowie dazugehöriges Copyright werden über das Add-In angepasst</a:t>
            </a:r>
            <a:endParaRPr lang="de-DE" sz="12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92EBA87-E6A8-476F-B586-5882A6693D0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E240E1F6-34B2-4EE2-9ED8-17D4BF6BE540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ABDB3CB-8E1D-419C-8E5F-FE382431A0A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47DFAEB-01DD-465C-8E4C-8E5F21A7D77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487379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CCF772E-B200-4A5A-A523-AC73A3B0B1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32644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CCF772E-B200-4A5A-A523-AC73A3B0B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DE8CA5D7-7759-407B-A183-2B747F0F80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7F34547-851C-45A5-AED8-20E1A55992C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A084D317-82FF-4C40-AE4D-3B5721D6CF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3154439"/>
              </p:ext>
            </p:extLst>
          </p:nvPr>
        </p:nvGraphicFramePr>
        <p:xfrm>
          <a:off x="479426" y="1700215"/>
          <a:ext cx="5438155" cy="3086312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4161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022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Kapitelname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38853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Kapitelname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180000" lvl="3" indent="-18000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de-DE" sz="14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ubtitel 1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4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ubtitel 2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4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ubtitel 3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Kapitelname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4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Kapitelname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5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Kapitelname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6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Kapitelname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D89C4A27-41A8-4C6B-B96E-27D9C0DC002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75388" y="1"/>
            <a:ext cx="5916612" cy="6153149"/>
          </a:xfrm>
        </p:spPr>
        <p:txBody>
          <a:bodyPr/>
          <a:lstStyle/>
          <a:p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9C86002-3CFB-4B05-B7C7-D21FD9A5AD1D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C8925601-C1AA-45C7-8DD1-B05E3C5FCA6C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B508FB91-08B7-42B5-8635-ECCBF533EC03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583F0F1-C8B9-4A8F-BA66-EA76525750D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0686102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CCF772E-B200-4A5A-A523-AC73A3B0B1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4877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CCF772E-B200-4A5A-A523-AC73A3B0B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DFEC916A-B322-4419-B261-5A9AFB78DC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0075" y="1"/>
            <a:ext cx="3971925" cy="6153149"/>
          </a:xfrm>
        </p:spPr>
        <p:txBody>
          <a:bodyPr/>
          <a:lstStyle/>
          <a:p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DE8CA5D7-7759-407B-A183-2B747F0F80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8D917F2E-88D1-484D-824A-2C6101B2F2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4F072B95-23BC-46A1-8C32-5DD2B5A18F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4000972"/>
              </p:ext>
            </p:extLst>
          </p:nvPr>
        </p:nvGraphicFramePr>
        <p:xfrm>
          <a:off x="479426" y="1700215"/>
          <a:ext cx="7364155" cy="3086312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4161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948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Kapitelname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38853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Kapitelname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180000" lvl="3" indent="-18000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de-DE" sz="14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ubtitel 1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4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ubtitel 2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4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ubtitel 3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Kapitelname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4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Kapitelname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5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Kapitelname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6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Kapitelname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79663BFB-41C8-4AEA-A684-C5EBF56A1CD8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BBB96E5E-A5D6-4632-B0B6-100115E332B1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A64BC16-54A5-4FCF-B93C-FCFDFF27724C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A5B50D3-3A19-48B1-8F59-A90F6953B7E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132781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5173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/>
              <a:t>Headline, Frutiger LT Com Bd, 24 pt, einspaltiger Textblock, kleine Copy</a:t>
            </a:r>
            <a:endParaRPr lang="de-DE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9175E41B-8D90-4B9C-AA0C-02FF09B533A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023E634-4318-419C-B03F-D5665391FB0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3588546"/>
          </a:xfrm>
        </p:spPr>
        <p:txBody>
          <a:bodyPr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alusi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.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caiusticus</a:t>
            </a:r>
            <a:r>
              <a:rPr lang="de-DE" dirty="0"/>
              <a:t> </a:t>
            </a:r>
            <a:r>
              <a:rPr lang="de-DE" dirty="0" err="1"/>
              <a:t>aurum</a:t>
            </a:r>
            <a:r>
              <a:rPr lang="de-DE" dirty="0"/>
              <a:t> </a:t>
            </a:r>
            <a:r>
              <a:rPr lang="de-DE" dirty="0" err="1"/>
              <a:t>eum</a:t>
            </a:r>
            <a:r>
              <a:rPr lang="de-DE" dirty="0"/>
              <a:t> </a:t>
            </a:r>
            <a:r>
              <a:rPr lang="de-DE" dirty="0" err="1"/>
              <a:t>explindus</a:t>
            </a:r>
            <a:r>
              <a:rPr lang="de-DE" dirty="0"/>
              <a:t>. Status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. </a:t>
            </a:r>
            <a:r>
              <a:rPr lang="de-DE" dirty="0" err="1"/>
              <a:t>Let</a:t>
            </a:r>
            <a:r>
              <a:rPr lang="de-DE" dirty="0"/>
              <a:t>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. 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4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 </a:t>
            </a:r>
          </a:p>
          <a:p>
            <a:pPr lvl="4"/>
            <a:r>
              <a:rPr lang="de-DE" dirty="0"/>
              <a:t>Level 2</a:t>
            </a:r>
          </a:p>
          <a:p>
            <a:pPr lvl="5"/>
            <a:r>
              <a:rPr lang="de-DE" dirty="0"/>
              <a:t>Level 3</a:t>
            </a:r>
          </a:p>
          <a:p>
            <a:pPr lvl="3"/>
            <a:r>
              <a:rPr lang="de-DE" dirty="0"/>
              <a:t>Level 1 </a:t>
            </a:r>
          </a:p>
          <a:p>
            <a:pPr lvl="3"/>
            <a:r>
              <a:rPr lang="de-DE" dirty="0"/>
              <a:t>Level 1 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43F35B2-4B13-4AA9-BABC-6AC2B3B16BB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773FC928-DFAC-4C38-8657-C6F920A6F304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624CA59-376F-45D4-9C95-C1723C68473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0F3DC97-5C7D-4704-8217-5EFA9C8E5B9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6627195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6725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</p:spPr>
        <p:txBody>
          <a:bodyPr vert="horz"/>
          <a:lstStyle/>
          <a:p>
            <a:pPr lvl="0"/>
            <a:r>
              <a:rPr lang="de-DE"/>
              <a:t>Headline, Frutiger LT Com Bd, 24 pt, einspaltiger Textblock, große Copy</a:t>
            </a:r>
            <a:endParaRPr lang="de-DE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9175E41B-8D90-4B9C-AA0C-02FF09B533A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79425" y="778321"/>
            <a:ext cx="11233150" cy="318933"/>
          </a:xfrm>
        </p:spPr>
        <p:txBody>
          <a:bodyPr numCol="1"/>
          <a:lstStyle/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4D923BE-BEEE-4633-98A8-55841CAB18E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4103688"/>
          </a:xfrm>
        </p:spPr>
        <p:txBody>
          <a:bodyPr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8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6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alusi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.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caiusticus</a:t>
            </a:r>
            <a:r>
              <a:rPr lang="de-DE" dirty="0"/>
              <a:t> </a:t>
            </a:r>
            <a:r>
              <a:rPr lang="de-DE" dirty="0" err="1"/>
              <a:t>aurum</a:t>
            </a:r>
            <a:r>
              <a:rPr lang="de-DE" dirty="0"/>
              <a:t> </a:t>
            </a:r>
            <a:r>
              <a:rPr lang="de-DE" dirty="0" err="1"/>
              <a:t>eum</a:t>
            </a:r>
            <a:r>
              <a:rPr lang="de-DE" dirty="0"/>
              <a:t> </a:t>
            </a:r>
            <a:r>
              <a:rPr lang="de-DE" dirty="0" err="1"/>
              <a:t>explindus</a:t>
            </a:r>
            <a:r>
              <a:rPr lang="de-DE" dirty="0"/>
              <a:t>. Status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. </a:t>
            </a:r>
            <a:r>
              <a:rPr lang="de-DE" dirty="0" err="1"/>
              <a:t>Let</a:t>
            </a:r>
            <a:r>
              <a:rPr lang="de-DE" dirty="0"/>
              <a:t>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. 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  <a:p>
            <a:pPr lvl="4"/>
            <a:r>
              <a:rPr lang="de-DE" dirty="0"/>
              <a:t>Level 2</a:t>
            </a:r>
          </a:p>
          <a:p>
            <a:pPr lvl="5"/>
            <a:r>
              <a:rPr lang="de-DE" dirty="0"/>
              <a:t>Level 3</a:t>
            </a:r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A2589F1-E856-4946-A69E-3F84F8B7D90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B9382093-DD13-4AE3-9129-61C3B2584073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E606FDE-CD5F-4E1E-9588-E069D86A371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CCF67EC0-BE70-4976-A521-39D15FA50FF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4445500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1827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Headline, Frutiger LT Com Bd, 24 pt, zweispaltiger Textblock, kleine Copy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4E661EC-9E63-4DBE-85DC-2DB1CB914D94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4F96C6DC-9C17-4A31-90B2-416B6D35B93E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4214B42-8480-4ADC-A717-7B87A89B61E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43" name="Textplatzhalter 42">
            <a:extLst>
              <a:ext uri="{FF2B5EF4-FFF2-40B4-BE49-F238E27FC236}">
                <a16:creationId xmlns:a16="http://schemas.microsoft.com/office/drawing/2014/main" id="{03E5FFB1-3F8D-4EA4-97D7-01CCF474F8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4" name="Textplatzhalter 43">
            <a:extLst>
              <a:ext uri="{FF2B5EF4-FFF2-40B4-BE49-F238E27FC236}">
                <a16:creationId xmlns:a16="http://schemas.microsoft.com/office/drawing/2014/main" id="{42C349C4-39F1-4F22-ABC6-326B91E2A02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3588546"/>
          </a:xfrm>
        </p:spPr>
        <p:txBody>
          <a:bodyPr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alusi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.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caiusticus</a:t>
            </a:r>
            <a:r>
              <a:rPr lang="de-DE" dirty="0"/>
              <a:t> </a:t>
            </a:r>
            <a:r>
              <a:rPr lang="de-DE" dirty="0" err="1"/>
              <a:t>aurum</a:t>
            </a:r>
            <a:r>
              <a:rPr lang="de-DE" dirty="0"/>
              <a:t> </a:t>
            </a:r>
            <a:r>
              <a:rPr lang="de-DE" dirty="0" err="1"/>
              <a:t>eum</a:t>
            </a:r>
            <a:r>
              <a:rPr lang="de-DE" dirty="0"/>
              <a:t> </a:t>
            </a:r>
            <a:r>
              <a:rPr lang="de-DE" dirty="0" err="1"/>
              <a:t>explindus</a:t>
            </a:r>
            <a:r>
              <a:rPr lang="de-DE" dirty="0"/>
              <a:t>. Status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. </a:t>
            </a:r>
            <a:r>
              <a:rPr lang="de-DE" dirty="0" err="1"/>
              <a:t>Let</a:t>
            </a:r>
            <a:r>
              <a:rPr lang="de-DE" dirty="0"/>
              <a:t>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:</a:t>
            </a:r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  <a:p>
            <a:pPr lvl="4"/>
            <a:r>
              <a:rPr lang="de-DE" dirty="0"/>
              <a:t>Level 2</a:t>
            </a:r>
          </a:p>
          <a:p>
            <a:pPr lvl="5"/>
            <a:r>
              <a:rPr lang="de-DE" dirty="0"/>
              <a:t>Level 3</a:t>
            </a:r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99A90C82-4710-424D-9028-5C2BFC32A08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3107902"/>
          </a:xfrm>
        </p:spPr>
        <p:txBody>
          <a:bodyPr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  <a:p>
            <a:pPr lvl="6"/>
            <a:r>
              <a:rPr lang="de-DE" dirty="0"/>
              <a:t>Level 1</a:t>
            </a:r>
          </a:p>
          <a:p>
            <a:pPr lvl="6"/>
            <a:r>
              <a:rPr lang="de-DE" dirty="0"/>
              <a:t>Level 1</a:t>
            </a:r>
          </a:p>
          <a:p>
            <a:pPr lvl="6"/>
            <a:r>
              <a:rPr lang="de-DE" dirty="0"/>
              <a:t>Level 1</a:t>
            </a:r>
          </a:p>
          <a:p>
            <a:pPr lvl="6"/>
            <a:r>
              <a:rPr lang="de-DE" dirty="0"/>
              <a:t>Level 1</a:t>
            </a:r>
          </a:p>
          <a:p>
            <a:pPr lvl="6"/>
            <a:r>
              <a:rPr lang="de-DE" dirty="0"/>
              <a:t>Level 1</a:t>
            </a:r>
          </a:p>
          <a:p>
            <a:pPr lvl="6"/>
            <a:r>
              <a:rPr lang="de-DE" dirty="0"/>
              <a:t>Level 1</a:t>
            </a:r>
          </a:p>
          <a:p>
            <a:pPr lvl="7"/>
            <a:r>
              <a:rPr lang="de-DE" dirty="0"/>
              <a:t>Level 2</a:t>
            </a:r>
          </a:p>
          <a:p>
            <a:pPr lvl="8"/>
            <a:r>
              <a:rPr lang="de-DE" dirty="0"/>
              <a:t>Level 3</a:t>
            </a:r>
          </a:p>
          <a:p>
            <a:pPr lvl="6"/>
            <a:r>
              <a:rPr lang="de-DE" dirty="0"/>
              <a:t>Level 1</a:t>
            </a:r>
          </a:p>
          <a:p>
            <a:pPr lvl="6"/>
            <a:r>
              <a:rPr lang="de-DE" dirty="0"/>
              <a:t>Level 1</a:t>
            </a:r>
          </a:p>
          <a:p>
            <a:pPr lvl="6"/>
            <a:r>
              <a:rPr lang="de-DE" dirty="0"/>
              <a:t>Level 1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FDEEF74-0FAB-48B5-A65F-FEA6A8997CC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593975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5609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Headline, Frutiger LT Com Bd, 24 pt, zweispaltiger Textblock, große Copy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9380422-7F0D-4688-B59E-EC44E029D060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BB3DE7EF-69A6-40B9-99D9-B3CE7A5828C7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3D2B1ED-5FFD-4B45-A0E7-F498FFA2D4B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EBBAF61D-7634-4427-BB74-909CF8EE449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90F5183D-7A1E-4374-8C8B-491C6382FFA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3832844"/>
          </a:xfrm>
        </p:spPr>
        <p:txBody>
          <a:bodyPr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8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6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alusi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.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caiusticus</a:t>
            </a:r>
            <a:r>
              <a:rPr lang="de-DE" dirty="0"/>
              <a:t> </a:t>
            </a:r>
            <a:r>
              <a:rPr lang="de-DE" dirty="0" err="1"/>
              <a:t>aurum</a:t>
            </a:r>
            <a:r>
              <a:rPr lang="de-DE" dirty="0"/>
              <a:t> </a:t>
            </a:r>
            <a:r>
              <a:rPr lang="de-DE" dirty="0" err="1"/>
              <a:t>eum</a:t>
            </a:r>
            <a:r>
              <a:rPr lang="de-DE" dirty="0"/>
              <a:t> </a:t>
            </a:r>
            <a:r>
              <a:rPr lang="de-DE" dirty="0" err="1"/>
              <a:t>explindus</a:t>
            </a:r>
            <a:r>
              <a:rPr lang="de-DE" dirty="0"/>
              <a:t>. Status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. </a:t>
            </a:r>
            <a:r>
              <a:rPr lang="de-DE" dirty="0" err="1"/>
              <a:t>Let</a:t>
            </a:r>
            <a:r>
              <a:rPr lang="de-DE" dirty="0"/>
              <a:t>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:</a:t>
            </a:r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  <a:p>
            <a:pPr lvl="4"/>
            <a:r>
              <a:rPr lang="de-DE" dirty="0"/>
              <a:t>Level 2</a:t>
            </a:r>
          </a:p>
          <a:p>
            <a:pPr lvl="5"/>
            <a:r>
              <a:rPr lang="de-DE" dirty="0"/>
              <a:t>Level 3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5A8B9FDF-0F89-46CA-A019-A6809590D57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3550716"/>
          </a:xfrm>
        </p:spPr>
        <p:txBody>
          <a:bodyPr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8 </a:t>
            </a:r>
            <a:r>
              <a:rPr lang="de-DE" dirty="0" err="1"/>
              <a:t>pt</a:t>
            </a:r>
            <a:endParaRPr lang="de-DE" dirty="0"/>
          </a:p>
          <a:p>
            <a:pPr lvl="6"/>
            <a:r>
              <a:rPr lang="de-DE" dirty="0"/>
              <a:t>Level 1</a:t>
            </a:r>
          </a:p>
          <a:p>
            <a:pPr lvl="6"/>
            <a:r>
              <a:rPr lang="de-DE" dirty="0"/>
              <a:t>Level 1</a:t>
            </a:r>
          </a:p>
          <a:p>
            <a:pPr lvl="6"/>
            <a:r>
              <a:rPr lang="de-DE" dirty="0"/>
              <a:t>Level 1</a:t>
            </a:r>
          </a:p>
          <a:p>
            <a:pPr lvl="6"/>
            <a:r>
              <a:rPr lang="de-DE" dirty="0"/>
              <a:t>Level 1</a:t>
            </a:r>
          </a:p>
          <a:p>
            <a:pPr lvl="6"/>
            <a:r>
              <a:rPr lang="de-DE" dirty="0"/>
              <a:t>Level 1</a:t>
            </a:r>
          </a:p>
          <a:p>
            <a:pPr lvl="6"/>
            <a:r>
              <a:rPr lang="de-DE" dirty="0"/>
              <a:t>Level 1</a:t>
            </a:r>
          </a:p>
          <a:p>
            <a:pPr lvl="7"/>
            <a:r>
              <a:rPr lang="de-DE" dirty="0"/>
              <a:t>Level 2</a:t>
            </a:r>
          </a:p>
          <a:p>
            <a:pPr lvl="8"/>
            <a:r>
              <a:rPr lang="de-DE" dirty="0"/>
              <a:t>Level 3</a:t>
            </a:r>
          </a:p>
          <a:p>
            <a:pPr lvl="6"/>
            <a:r>
              <a:rPr lang="de-DE" dirty="0"/>
              <a:t>Level 1</a:t>
            </a:r>
          </a:p>
          <a:p>
            <a:pPr lvl="6"/>
            <a:r>
              <a:rPr lang="de-DE" dirty="0"/>
              <a:t>Level 1</a:t>
            </a:r>
          </a:p>
          <a:p>
            <a:pPr lvl="6"/>
            <a:r>
              <a:rPr lang="de-DE" dirty="0"/>
              <a:t>Level 1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11567CE-46BE-4149-9493-AE3F4968F30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687931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ACF031C9-E7A0-4C33-B51A-485867FB5A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ACF031C9-E7A0-4C33-B51A-485867FB5A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B7FAF15-D698-4F36-8DDA-7A36351A73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79425" y="1827213"/>
            <a:ext cx="11233150" cy="2694969"/>
          </a:xfrm>
        </p:spPr>
        <p:txBody>
          <a:bodyPr/>
          <a:lstStyle/>
          <a:p>
            <a:r>
              <a:rPr lang="de-DE" dirty="0"/>
              <a:t>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44 </a:t>
            </a:r>
            <a:r>
              <a:rPr lang="de-DE" dirty="0" err="1"/>
              <a:t>pt</a:t>
            </a:r>
            <a:r>
              <a:rPr lang="de-DE" dirty="0"/>
              <a:t>, LS 44 </a:t>
            </a:r>
            <a:r>
              <a:rPr lang="de-DE" dirty="0" err="1"/>
              <a:t>p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cumatia</a:t>
            </a:r>
            <a:r>
              <a:rPr lang="de-DE" dirty="0"/>
              <a:t>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alanenter</a:t>
            </a:r>
            <a:r>
              <a:rPr lang="de-DE" dirty="0"/>
              <a:t> </a:t>
            </a:r>
            <a:r>
              <a:rPr lang="de-DE" dirty="0" err="1"/>
              <a:t>status</a:t>
            </a:r>
            <a:r>
              <a:rPr lang="de-DE" dirty="0"/>
              <a:t> </a:t>
            </a:r>
            <a:r>
              <a:rPr lang="de-DE" dirty="0" err="1"/>
              <a:t>rex</a:t>
            </a:r>
            <a:r>
              <a:rPr lang="de-DE" dirty="0"/>
              <a:t> </a:t>
            </a:r>
            <a:r>
              <a:rPr lang="de-DE" dirty="0" err="1"/>
              <a:t>landum</a:t>
            </a:r>
            <a:r>
              <a:rPr lang="de-DE" dirty="0"/>
              <a:t>.«</a:t>
            </a:r>
          </a:p>
          <a:p>
            <a:pPr lvl="1"/>
            <a:r>
              <a:rPr lang="de-DE" dirty="0"/>
              <a:t>Max Mustermann,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57227C2-DA96-4EC4-A4EF-31C9001A348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F1B8F778-32A0-4350-8181-8C86198B3C03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2093AF4-BD30-49F5-AF5D-645B1453C6D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C938608-87F1-47F9-B008-208E67F70C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6461613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ACF031C9-E7A0-4C33-B51A-485867FB5A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ACF031C9-E7A0-4C33-B51A-485867FB5A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B7FAF15-D698-4F36-8DDA-7A36351A73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79425" y="1827213"/>
            <a:ext cx="11233150" cy="2694969"/>
          </a:xfrm>
        </p:spPr>
        <p:txBody>
          <a:bodyPr/>
          <a:lstStyle/>
          <a:p>
            <a:r>
              <a:rPr lang="de-DE" dirty="0"/>
              <a:t>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44 </a:t>
            </a:r>
            <a:r>
              <a:rPr lang="de-DE" dirty="0" err="1"/>
              <a:t>pt</a:t>
            </a:r>
            <a:r>
              <a:rPr lang="de-DE" dirty="0"/>
              <a:t>, LS 44 </a:t>
            </a:r>
            <a:r>
              <a:rPr lang="de-DE" dirty="0" err="1"/>
              <a:t>p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cumatia</a:t>
            </a:r>
            <a:r>
              <a:rPr lang="de-DE" dirty="0"/>
              <a:t>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alanenter</a:t>
            </a:r>
            <a:r>
              <a:rPr lang="de-DE" dirty="0"/>
              <a:t> </a:t>
            </a:r>
            <a:r>
              <a:rPr lang="de-DE" dirty="0" err="1"/>
              <a:t>status</a:t>
            </a:r>
            <a:r>
              <a:rPr lang="de-DE" dirty="0"/>
              <a:t> </a:t>
            </a:r>
            <a:r>
              <a:rPr lang="de-DE" dirty="0" err="1"/>
              <a:t>rex</a:t>
            </a:r>
            <a:r>
              <a:rPr lang="de-DE" dirty="0"/>
              <a:t> </a:t>
            </a:r>
            <a:r>
              <a:rPr lang="de-DE" dirty="0" err="1"/>
              <a:t>landum</a:t>
            </a:r>
            <a:r>
              <a:rPr lang="de-DE" dirty="0"/>
              <a:t>.«</a:t>
            </a:r>
          </a:p>
          <a:p>
            <a:pPr lvl="1"/>
            <a:r>
              <a:rPr lang="de-DE" dirty="0"/>
              <a:t>Max Mustermann,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423F014-51D3-4097-B75F-E7F0373ACD8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C21A4E71-07DD-4D6B-83AA-60EB67D0BCBF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AA08BBB-1071-4E5E-A061-B806B89D2F4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62CC425C-CEBE-4301-8EB0-CA215BA8A08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643024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Gebäude, draußen, Himmel, Stadt enthält.&#10;&#10;Automatisch generierte Beschreibung">
            <a:extLst>
              <a:ext uri="{FF2B5EF4-FFF2-40B4-BE49-F238E27FC236}">
                <a16:creationId xmlns:a16="http://schemas.microsoft.com/office/drawing/2014/main" id="{7966809E-2A5C-4604-A972-CAFC5E0FEC9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6036" y="1700213"/>
            <a:ext cx="11236539" cy="2183475"/>
          </a:xfrm>
          <a:prstGeom prst="rect">
            <a:avLst/>
          </a:prstGeom>
        </p:spPr>
      </p:pic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A6F092D-727C-44CD-BB0C-F1C722C503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18029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83E5052C-74D3-4E8D-B5BD-60350328090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288"/>
            <a:ext cx="11233150" cy="382733"/>
          </a:xfrm>
        </p:spPr>
        <p:txBody>
          <a:bodyPr vert="horz"/>
          <a:lstStyle/>
          <a:p>
            <a:pPr lvl="0"/>
            <a:r>
              <a:rPr lang="de-DE"/>
              <a:t>Headline, Frutiger LT Com Bd, 24 pt, einspaltig mit Bild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B6BC8F31-A681-46B9-8DB4-0776C0D98F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9318"/>
          </a:xfrm>
        </p:spPr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E8EADCF5-46AF-4D67-973F-361C8A6B440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4079788"/>
            <a:ext cx="11233150" cy="1685974"/>
          </a:xfrm>
        </p:spPr>
        <p:txBody>
          <a:bodyPr/>
          <a:lstStyle/>
          <a:p>
            <a:r>
              <a:rPr lang="en-US" dirty="0"/>
              <a:t>Headline, Frutiger LT </a:t>
            </a:r>
            <a:r>
              <a:rPr lang="en-US"/>
              <a:t>Com Bd</a:t>
            </a:r>
            <a:r>
              <a:rPr lang="en-US" dirty="0"/>
              <a:t>, 16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Copy Frutiger LT </a:t>
            </a:r>
            <a:r>
              <a:rPr lang="en-US"/>
              <a:t>Com Lt</a:t>
            </a:r>
            <a:r>
              <a:rPr lang="en-US" dirty="0"/>
              <a:t>, 14 pt. Dolor situs cum </a:t>
            </a:r>
            <a:r>
              <a:rPr lang="en-US" dirty="0" err="1"/>
              <a:t>habilitarum</a:t>
            </a:r>
            <a:r>
              <a:rPr lang="en-US" dirty="0"/>
              <a:t> </a:t>
            </a:r>
            <a:r>
              <a:rPr lang="en-US" dirty="0" err="1"/>
              <a:t>itum</a:t>
            </a:r>
            <a:r>
              <a:rPr lang="en-US" dirty="0"/>
              <a:t> </a:t>
            </a:r>
            <a:r>
              <a:rPr lang="en-US" dirty="0" err="1"/>
              <a:t>alusi</a:t>
            </a:r>
            <a:r>
              <a:rPr lang="en-US" dirty="0"/>
              <a:t> </a:t>
            </a:r>
            <a:r>
              <a:rPr lang="en-US" dirty="0" err="1"/>
              <a:t>causticus</a:t>
            </a:r>
            <a:r>
              <a:rPr lang="en-US" dirty="0"/>
              <a:t> </a:t>
            </a:r>
            <a:r>
              <a:rPr lang="en-US" dirty="0" err="1"/>
              <a:t>imanenter</a:t>
            </a:r>
            <a:r>
              <a:rPr lang="en-US" dirty="0"/>
              <a:t> Status ex </a:t>
            </a:r>
            <a:r>
              <a:rPr lang="en-US" dirty="0" err="1"/>
              <a:t>landum</a:t>
            </a:r>
            <a:r>
              <a:rPr lang="en-US" dirty="0"/>
              <a:t> it </a:t>
            </a:r>
            <a:r>
              <a:rPr lang="en-US" dirty="0" err="1"/>
              <a:t>exus</a:t>
            </a:r>
            <a:r>
              <a:rPr lang="en-US" dirty="0"/>
              <a:t> </a:t>
            </a:r>
            <a:r>
              <a:rPr lang="en-US" dirty="0" err="1"/>
              <a:t>rius</a:t>
            </a:r>
            <a:r>
              <a:rPr lang="en-US" dirty="0"/>
              <a:t> laudanum ibis tum. Lorem et exit </a:t>
            </a:r>
            <a:r>
              <a:rPr lang="en-US" dirty="0" err="1"/>
              <a:t>vulnareus</a:t>
            </a:r>
            <a:r>
              <a:rPr lang="en-US" dirty="0"/>
              <a:t> plexus. Sit </a:t>
            </a:r>
            <a:r>
              <a:rPr lang="en-US" dirty="0" err="1"/>
              <a:t>itum</a:t>
            </a:r>
            <a:r>
              <a:rPr lang="en-US" dirty="0"/>
              <a:t> </a:t>
            </a:r>
            <a:r>
              <a:rPr lang="en-US" dirty="0" err="1"/>
              <a:t>caiusticus</a:t>
            </a:r>
            <a:r>
              <a:rPr lang="en-US" dirty="0"/>
              <a:t> aurum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explindus</a:t>
            </a:r>
            <a:r>
              <a:rPr lang="en-US" dirty="0"/>
              <a:t>. Status </a:t>
            </a:r>
            <a:r>
              <a:rPr lang="en-US" dirty="0" err="1"/>
              <a:t>landum</a:t>
            </a:r>
            <a:r>
              <a:rPr lang="en-US" dirty="0"/>
              <a:t> it </a:t>
            </a:r>
            <a:r>
              <a:rPr lang="en-US" dirty="0" err="1"/>
              <a:t>exus</a:t>
            </a:r>
            <a:r>
              <a:rPr lang="en-US" dirty="0"/>
              <a:t> </a:t>
            </a:r>
            <a:r>
              <a:rPr lang="en-US" dirty="0" err="1"/>
              <a:t>rius</a:t>
            </a:r>
            <a:r>
              <a:rPr lang="en-US" dirty="0"/>
              <a:t> laudanum ibis. Let exit </a:t>
            </a:r>
            <a:r>
              <a:rPr lang="en-US" dirty="0" err="1"/>
              <a:t>vulnareus</a:t>
            </a:r>
            <a:r>
              <a:rPr lang="en-US" dirty="0"/>
              <a:t> plexus </a:t>
            </a:r>
            <a:r>
              <a:rPr lang="en-US" dirty="0" err="1"/>
              <a:t>causticus</a:t>
            </a:r>
            <a:r>
              <a:rPr lang="en-US" dirty="0"/>
              <a:t> </a:t>
            </a:r>
            <a:r>
              <a:rPr lang="en-US" dirty="0" err="1"/>
              <a:t>imanenter</a:t>
            </a:r>
            <a:r>
              <a:rPr lang="en-US" dirty="0"/>
              <a:t> Status ex </a:t>
            </a:r>
            <a:r>
              <a:rPr lang="en-US" dirty="0" err="1"/>
              <a:t>landum</a:t>
            </a:r>
            <a:r>
              <a:rPr lang="en-US" dirty="0"/>
              <a:t>. </a:t>
            </a:r>
            <a:r>
              <a:rPr lang="en-US" dirty="0" err="1"/>
              <a:t>Staus</a:t>
            </a:r>
            <a:r>
              <a:rPr lang="en-US" dirty="0"/>
              <a:t> ex </a:t>
            </a:r>
            <a:r>
              <a:rPr lang="en-US" dirty="0" err="1"/>
              <a:t>landuam</a:t>
            </a:r>
            <a:r>
              <a:rPr lang="en-US" dirty="0"/>
              <a:t> it </a:t>
            </a:r>
            <a:r>
              <a:rPr lang="en-US" dirty="0" err="1"/>
              <a:t>wexus</a:t>
            </a:r>
            <a:r>
              <a:rPr lang="en-US" dirty="0"/>
              <a:t> </a:t>
            </a:r>
            <a:r>
              <a:rPr lang="en-US" dirty="0" err="1"/>
              <a:t>rius</a:t>
            </a:r>
            <a:r>
              <a:rPr lang="en-US" dirty="0"/>
              <a:t> laudanum </a:t>
            </a:r>
            <a:r>
              <a:rPr lang="en-US" dirty="0" err="1"/>
              <a:t>ibisw</a:t>
            </a:r>
            <a:r>
              <a:rPr lang="en-US" dirty="0"/>
              <a:t> tum. Dolor situs cum </a:t>
            </a:r>
            <a:r>
              <a:rPr lang="en-US" dirty="0" err="1"/>
              <a:t>habilitarum</a:t>
            </a:r>
            <a:r>
              <a:rPr lang="en-US" dirty="0"/>
              <a:t> </a:t>
            </a:r>
            <a:r>
              <a:rPr lang="en-US" dirty="0" err="1"/>
              <a:t>exlan</a:t>
            </a:r>
            <a:r>
              <a:rPr lang="en-US" dirty="0"/>
              <a:t> </a:t>
            </a:r>
            <a:r>
              <a:rPr lang="en-US" dirty="0" err="1"/>
              <a:t>dum</a:t>
            </a:r>
            <a:r>
              <a:rPr lang="en-US" dirty="0"/>
              <a:t> it </a:t>
            </a:r>
            <a:r>
              <a:rPr lang="en-US" dirty="0" err="1"/>
              <a:t>exus</a:t>
            </a:r>
            <a:r>
              <a:rPr lang="en-US" dirty="0"/>
              <a:t> </a:t>
            </a:r>
            <a:r>
              <a:rPr lang="en-US" dirty="0" err="1"/>
              <a:t>rius</a:t>
            </a:r>
            <a:r>
              <a:rPr lang="en-US" dirty="0"/>
              <a:t> laudanum ibis tum </a:t>
            </a:r>
            <a:r>
              <a:rPr lang="en-US" dirty="0" err="1"/>
              <a:t>itum</a:t>
            </a:r>
            <a:r>
              <a:rPr lang="en-US" dirty="0"/>
              <a:t> </a:t>
            </a:r>
            <a:r>
              <a:rPr lang="en-US" dirty="0" err="1"/>
              <a:t>caiusticus</a:t>
            </a:r>
            <a:r>
              <a:rPr lang="en-US" dirty="0"/>
              <a:t> </a:t>
            </a:r>
            <a:r>
              <a:rPr lang="en-US" dirty="0" err="1"/>
              <a:t>auru</a:t>
            </a:r>
            <a:r>
              <a:rPr lang="en-US" dirty="0"/>
              <a:t> </a:t>
            </a:r>
            <a:r>
              <a:rPr lang="en-US" dirty="0" err="1"/>
              <a:t>rius</a:t>
            </a:r>
            <a:r>
              <a:rPr lang="en-US" dirty="0"/>
              <a:t> laudanum ibis tum. Lorem et exit </a:t>
            </a:r>
            <a:r>
              <a:rPr lang="en-US" dirty="0" err="1"/>
              <a:t>vulnareus</a:t>
            </a:r>
            <a:r>
              <a:rPr lang="en-US" dirty="0"/>
              <a:t> plexus. m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explindus</a:t>
            </a:r>
            <a:r>
              <a:rPr lang="en-US" dirty="0"/>
              <a:t>. Lorem et exit </a:t>
            </a:r>
            <a:r>
              <a:rPr lang="en-US" dirty="0" err="1"/>
              <a:t>vulnareus</a:t>
            </a:r>
            <a:r>
              <a:rPr lang="en-US" dirty="0"/>
              <a:t> plexus. Sit i laudanum ibis tum. Lorem et exit </a:t>
            </a:r>
            <a:r>
              <a:rPr lang="en-US" dirty="0" err="1"/>
              <a:t>vulnareus</a:t>
            </a:r>
            <a:r>
              <a:rPr lang="en-US" dirty="0"/>
              <a:t> tum.</a:t>
            </a:r>
          </a:p>
        </p:txBody>
      </p:sp>
      <p:sp>
        <p:nvSpPr>
          <p:cNvPr id="13" name="Institutsname">
            <a:extLst>
              <a:ext uri="{FF2B5EF4-FFF2-40B4-BE49-F238E27FC236}">
                <a16:creationId xmlns:a16="http://schemas.microsoft.com/office/drawing/2014/main" id="{9D3527D5-D879-42B5-983C-44F16762E65C}"/>
              </a:ext>
            </a:extLst>
          </p:cNvPr>
          <p:cNvSpPr txBox="1">
            <a:spLocks noChangeArrowheads="1"/>
          </p:cNvSpPr>
          <p:nvPr/>
        </p:nvSpPr>
        <p:spPr bwMode="gray">
          <a:xfrm rot="16200000">
            <a:off x="-221846" y="2961047"/>
            <a:ext cx="159396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982663"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 sz="700"/>
              <a:t>© Markus Jürgens</a:t>
            </a:r>
            <a:endParaRPr lang="de-DE" sz="700" b="0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CE9AFCC-856C-42D3-8DA9-39ADB7258A9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4F994868-F0FD-4B8C-A46C-EF96215C07A4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7C34114-8414-486C-9D5C-2569F283DB5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B3250437-056A-4BDE-AD6C-4B5671DEE884}"/>
              </a:ext>
            </a:extLst>
          </p:cNvPr>
          <p:cNvSpPr txBox="1"/>
          <p:nvPr/>
        </p:nvSpPr>
        <p:spPr>
          <a:xfrm>
            <a:off x="10600774" y="1819594"/>
            <a:ext cx="993395" cy="296226"/>
          </a:xfrm>
          <a:prstGeom prst="rect">
            <a:avLst/>
          </a:prstGeom>
          <a:solidFill>
            <a:schemeClr val="tx2"/>
          </a:solidFill>
        </p:spPr>
        <p:txBody>
          <a:bodyPr wrap="none" lIns="72000" tIns="36000" rIns="72000" bIns="36000" rtlCol="0">
            <a:spAutoFit/>
          </a:bodyPr>
          <a:lstStyle>
            <a:defPPr>
              <a:defRPr lang="de-DE"/>
            </a:defPPr>
            <a:lvl1pPr algn="r">
              <a:lnSpc>
                <a:spcPct val="110000"/>
              </a:lnSpc>
              <a:buClr>
                <a:schemeClr val="accent1"/>
              </a:buClr>
              <a:defRPr sz="1400">
                <a:solidFill>
                  <a:schemeClr val="bg1"/>
                </a:solidFill>
              </a:defRPr>
            </a:lvl1pPr>
          </a:lstStyle>
          <a:p>
            <a:r>
              <a:rPr lang="de-DE"/>
              <a:t>Beispielbild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44A8144-EC6D-4FC7-BD4F-AB3FB717FAB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622842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A6F092D-727C-44CD-BB0C-F1C722C503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1203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A6F092D-727C-44CD-BB0C-F1C722C503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Grafik 12" descr="Ein Bild, das Gebäude, draußen, Himmel, Stadt enthält.&#10;&#10;Automatisch generierte Beschreibung">
            <a:extLst>
              <a:ext uri="{FF2B5EF4-FFF2-40B4-BE49-F238E27FC236}">
                <a16:creationId xmlns:a16="http://schemas.microsoft.com/office/drawing/2014/main" id="{011C0D17-99E6-46CF-91C1-C4E38FD6D8A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75388" y="1700213"/>
            <a:ext cx="5437187" cy="2183475"/>
          </a:xfrm>
          <a:prstGeom prst="rect">
            <a:avLst/>
          </a:prstGeom>
        </p:spPr>
      </p:pic>
      <p:pic>
        <p:nvPicPr>
          <p:cNvPr id="16" name="Grafik 15" descr="Ein Bild, das Gebäude, draußen, Himmel, Stadt enthält.&#10;&#10;Automatisch generierte Beschreibung">
            <a:extLst>
              <a:ext uri="{FF2B5EF4-FFF2-40B4-BE49-F238E27FC236}">
                <a16:creationId xmlns:a16="http://schemas.microsoft.com/office/drawing/2014/main" id="{7885B098-C20B-48EA-81B5-C495E7C8A38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6036" y="1700213"/>
            <a:ext cx="5440577" cy="2183475"/>
          </a:xfrm>
          <a:prstGeom prst="rect">
            <a:avLst/>
          </a:prstGeom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83E5052C-74D3-4E8D-B5BD-6035032809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Headline, Frutiger LT Com Bd, 24 pt, zweispaltig mit Bildern und Text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C3DF616-A766-47E8-B458-2967032C35B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E170BC20-4930-4506-8470-6F45AE77F7D2}"/>
              </a:ext>
            </a:extLst>
          </p:cNvPr>
          <p:cNvSpPr txBox="1">
            <a:spLocks/>
          </p:cNvSpPr>
          <p:nvPr/>
        </p:nvSpPr>
        <p:spPr bwMode="gray">
          <a:xfrm>
            <a:off x="479425" y="4078800"/>
            <a:ext cx="5437189" cy="1448986"/>
          </a:xfrm>
          <a:prstGeom prst="rect">
            <a:avLst/>
          </a:prstGeom>
        </p:spPr>
        <p:txBody>
          <a:bodyPr wrap="square" lIns="0" tIns="0" rIns="0" bIns="0" numCol="1" spcCol="360000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en-US" dirty="0"/>
              <a:t>Head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  <a:p>
            <a:pPr lvl="1">
              <a:lnSpc>
                <a:spcPct val="110000"/>
              </a:lnSpc>
            </a:pPr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alusi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.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caiusticus</a:t>
            </a:r>
            <a:r>
              <a:rPr lang="de-DE" dirty="0"/>
              <a:t> </a:t>
            </a:r>
            <a:r>
              <a:rPr lang="de-DE" dirty="0" err="1"/>
              <a:t>aurum</a:t>
            </a:r>
            <a:r>
              <a:rPr lang="de-DE" dirty="0"/>
              <a:t> </a:t>
            </a:r>
            <a:r>
              <a:rPr lang="de-DE" dirty="0" err="1"/>
              <a:t>eum</a:t>
            </a:r>
            <a:r>
              <a:rPr lang="de-DE" dirty="0"/>
              <a:t> </a:t>
            </a:r>
            <a:r>
              <a:rPr lang="de-DE" dirty="0" err="1"/>
              <a:t>explindus</a:t>
            </a:r>
            <a:r>
              <a:rPr lang="de-DE" dirty="0"/>
              <a:t>. Status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. 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B31DC866-BE88-49AF-BF6B-6DE591AC1D07}"/>
              </a:ext>
            </a:extLst>
          </p:cNvPr>
          <p:cNvSpPr txBox="1">
            <a:spLocks/>
          </p:cNvSpPr>
          <p:nvPr/>
        </p:nvSpPr>
        <p:spPr bwMode="gray">
          <a:xfrm>
            <a:off x="6275388" y="4078800"/>
            <a:ext cx="5437189" cy="1448986"/>
          </a:xfrm>
          <a:prstGeom prst="rect">
            <a:avLst/>
          </a:prstGeom>
        </p:spPr>
        <p:txBody>
          <a:bodyPr wrap="square" lIns="0" tIns="0" rIns="0" bIns="0" numCol="1" spcCol="360000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en-US" dirty="0"/>
              <a:t>Head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  <a:p>
            <a:pPr lvl="1">
              <a:lnSpc>
                <a:spcPct val="110000"/>
              </a:lnSpc>
            </a:pPr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alusi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.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caiusticus</a:t>
            </a:r>
            <a:r>
              <a:rPr lang="de-DE" dirty="0"/>
              <a:t> </a:t>
            </a:r>
            <a:r>
              <a:rPr lang="de-DE" dirty="0" err="1"/>
              <a:t>aurum</a:t>
            </a:r>
            <a:r>
              <a:rPr lang="de-DE" dirty="0"/>
              <a:t> </a:t>
            </a:r>
            <a:r>
              <a:rPr lang="de-DE" dirty="0" err="1"/>
              <a:t>eum</a:t>
            </a:r>
            <a:r>
              <a:rPr lang="de-DE" dirty="0"/>
              <a:t> </a:t>
            </a:r>
            <a:r>
              <a:rPr lang="de-DE" dirty="0" err="1"/>
              <a:t>explindus</a:t>
            </a:r>
            <a:r>
              <a:rPr lang="de-DE" dirty="0"/>
              <a:t>. Status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. </a:t>
            </a:r>
          </a:p>
        </p:txBody>
      </p:sp>
      <p:sp>
        <p:nvSpPr>
          <p:cNvPr id="20" name="Institutsname">
            <a:extLst>
              <a:ext uri="{FF2B5EF4-FFF2-40B4-BE49-F238E27FC236}">
                <a16:creationId xmlns:a16="http://schemas.microsoft.com/office/drawing/2014/main" id="{DDFA3C10-3EE1-4929-AA49-84A2C7A9A315}"/>
              </a:ext>
            </a:extLst>
          </p:cNvPr>
          <p:cNvSpPr txBox="1">
            <a:spLocks noChangeArrowheads="1"/>
          </p:cNvSpPr>
          <p:nvPr/>
        </p:nvSpPr>
        <p:spPr bwMode="gray">
          <a:xfrm rot="16200000">
            <a:off x="-221846" y="2961047"/>
            <a:ext cx="159396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982663"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 sz="700"/>
              <a:t>© Markus Jürgens</a:t>
            </a:r>
            <a:endParaRPr lang="de-DE" sz="700" b="0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6A35185-D020-4E06-BD92-624B99868EE5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7798F248-BD4A-4752-8E0C-BD5B89E4AB11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FEF44A-687C-450C-A3F3-AE8A67ABD41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7AC0393E-1AB2-4A89-A359-7C384FCB8C7E}"/>
              </a:ext>
            </a:extLst>
          </p:cNvPr>
          <p:cNvSpPr txBox="1"/>
          <p:nvPr/>
        </p:nvSpPr>
        <p:spPr>
          <a:xfrm>
            <a:off x="10600774" y="1819594"/>
            <a:ext cx="993395" cy="296226"/>
          </a:xfrm>
          <a:prstGeom prst="rect">
            <a:avLst/>
          </a:prstGeom>
          <a:solidFill>
            <a:schemeClr val="tx2"/>
          </a:solidFill>
        </p:spPr>
        <p:txBody>
          <a:bodyPr wrap="none" lIns="72000" tIns="36000" rIns="72000" bIns="36000" rtlCol="0">
            <a:spAutoFit/>
          </a:bodyPr>
          <a:lstStyle>
            <a:defPPr>
              <a:defRPr lang="de-DE"/>
            </a:defPPr>
            <a:lvl1pPr algn="r">
              <a:lnSpc>
                <a:spcPct val="110000"/>
              </a:lnSpc>
              <a:buClr>
                <a:schemeClr val="accent1"/>
              </a:buClr>
              <a:defRPr sz="1400">
                <a:solidFill>
                  <a:schemeClr val="bg1"/>
                </a:solidFill>
              </a:defRPr>
            </a:lvl1pPr>
          </a:lstStyle>
          <a:p>
            <a:r>
              <a:rPr lang="de-DE"/>
              <a:t>Beispielbild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82F2E089-4E45-46C8-BD2C-D62F26BF8C7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01652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6FA7BCC-9B45-494E-8041-65EFC6F823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9551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>
            <a:extLst>
              <a:ext uri="{FF2B5EF4-FFF2-40B4-BE49-F238E27FC236}">
                <a16:creationId xmlns:a16="http://schemas.microsoft.com/office/drawing/2014/main" id="{C48EF001-396A-42D2-8CF0-9E0CEB239F92}"/>
              </a:ext>
            </a:extLst>
          </p:cNvPr>
          <p:cNvSpPr/>
          <p:nvPr/>
        </p:nvSpPr>
        <p:spPr>
          <a:xfrm>
            <a:off x="0" y="1700213"/>
            <a:ext cx="12192000" cy="4284662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DDE27EA-91B2-4BAD-98D6-1BDEF8141D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ini-Styleguide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4935FEE-3D7B-4AB4-AE59-81A6C9BF9A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Designrahmen</a:t>
            </a:r>
            <a:endParaRPr lang="de-DE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9B94A71B-C9B5-43D7-AC1E-E07A08EE2AD4}"/>
              </a:ext>
            </a:extLst>
          </p:cNvPr>
          <p:cNvSpPr/>
          <p:nvPr/>
        </p:nvSpPr>
        <p:spPr>
          <a:xfrm>
            <a:off x="479425" y="1700213"/>
            <a:ext cx="11233150" cy="4284662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396CFBFA-68A4-439F-AACC-A091BBDF5730}"/>
              </a:ext>
            </a:extLst>
          </p:cNvPr>
          <p:cNvCxnSpPr>
            <a:stCxn id="9" idx="1"/>
            <a:endCxn id="9" idx="3"/>
          </p:cNvCxnSpPr>
          <p:nvPr/>
        </p:nvCxnSpPr>
        <p:spPr>
          <a:xfrm>
            <a:off x="479425" y="3842544"/>
            <a:ext cx="11233150" cy="0"/>
          </a:xfrm>
          <a:prstGeom prst="straightConnector1">
            <a:avLst/>
          </a:prstGeom>
          <a:ln w="9525">
            <a:solidFill>
              <a:schemeClr val="bg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2420B909-1888-4FA4-94A6-2BF1CA082F7E}"/>
              </a:ext>
            </a:extLst>
          </p:cNvPr>
          <p:cNvCxnSpPr>
            <a:cxnSpLocks/>
          </p:cNvCxnSpPr>
          <p:nvPr/>
        </p:nvCxnSpPr>
        <p:spPr>
          <a:xfrm>
            <a:off x="3568700" y="1700213"/>
            <a:ext cx="0" cy="4284662"/>
          </a:xfrm>
          <a:prstGeom prst="straightConnector1">
            <a:avLst/>
          </a:prstGeom>
          <a:ln w="9525">
            <a:solidFill>
              <a:schemeClr val="bg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9001B03A-2CC8-4F27-BF4F-907B695B5064}"/>
              </a:ext>
            </a:extLst>
          </p:cNvPr>
          <p:cNvSpPr/>
          <p:nvPr/>
        </p:nvSpPr>
        <p:spPr>
          <a:xfrm>
            <a:off x="6275388" y="-1"/>
            <a:ext cx="5916612" cy="5984875"/>
          </a:xfrm>
          <a:prstGeom prst="rect">
            <a:avLst/>
          </a:prstGeom>
          <a:noFill/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BB3CA4F3-C667-4A48-87BE-7B82545A46ED}"/>
              </a:ext>
            </a:extLst>
          </p:cNvPr>
          <p:cNvCxnSpPr>
            <a:cxnSpLocks/>
          </p:cNvCxnSpPr>
          <p:nvPr/>
        </p:nvCxnSpPr>
        <p:spPr>
          <a:xfrm>
            <a:off x="9233694" y="-1"/>
            <a:ext cx="0" cy="1700214"/>
          </a:xfrm>
          <a:prstGeom prst="straightConnector1">
            <a:avLst/>
          </a:prstGeom>
          <a:ln w="9525">
            <a:solidFill>
              <a:schemeClr val="accent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9">
            <a:extLst>
              <a:ext uri="{FF2B5EF4-FFF2-40B4-BE49-F238E27FC236}">
                <a16:creationId xmlns:a16="http://schemas.microsoft.com/office/drawing/2014/main" id="{E1685B4E-344E-474B-BA13-F8E99C574E8C}"/>
              </a:ext>
            </a:extLst>
          </p:cNvPr>
          <p:cNvSpPr txBox="1">
            <a:spLocks/>
          </p:cNvSpPr>
          <p:nvPr/>
        </p:nvSpPr>
        <p:spPr>
          <a:xfrm>
            <a:off x="9511745" y="731035"/>
            <a:ext cx="2278957" cy="2442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600" b="1">
                <a:solidFill>
                  <a:schemeClr val="accent1"/>
                </a:solidFill>
              </a:rPr>
              <a:t>Zusätzlicher Bildbereich</a:t>
            </a:r>
            <a:endParaRPr lang="de-DE" sz="1600" b="1" dirty="0">
              <a:solidFill>
                <a:schemeClr val="accent1"/>
              </a:solidFill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FC18D346-64A4-4FF3-82C6-591921EA57EC}"/>
              </a:ext>
            </a:extLst>
          </p:cNvPr>
          <p:cNvSpPr txBox="1"/>
          <p:nvPr/>
        </p:nvSpPr>
        <p:spPr>
          <a:xfrm>
            <a:off x="657582" y="1900075"/>
            <a:ext cx="1106072" cy="23814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>
                <a:solidFill>
                  <a:schemeClr val="bg2"/>
                </a:solidFill>
              </a:rPr>
              <a:t>Designrahmen</a:t>
            </a:r>
            <a:endParaRPr lang="de-DE" sz="1400" dirty="0">
              <a:solidFill>
                <a:schemeClr val="bg2"/>
              </a:solidFill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E6BF64D-E773-4ADB-AC42-4CCACEAD771D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8BEEE597-E426-4E6C-8119-DC7D6ABC42B1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2A32281-7F0B-4B00-AB53-8D981D23F4B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FB9E556-B275-48C2-9286-58273ED9CEA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0967804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8B52E5E7-63F7-4181-ABD8-EAC63739281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065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02D30EA6-6A0D-4DCF-A9F5-CF8AACAD2F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/>
              <a:t>Headline, Frutiger LT Com Bd, 24 pt, zweispaltig mit Infokasten</a:t>
            </a:r>
            <a:endParaRPr lang="de-DE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3035E07D-BEDB-4868-90E8-8DDA073DAF6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700213"/>
            <a:ext cx="5916613" cy="4284662"/>
          </a:xfrm>
        </p:spPr>
        <p:txBody>
          <a:bodyPr/>
          <a:lstStyle/>
          <a:p>
            <a:r>
              <a:rPr lang="en-US" dirty="0"/>
              <a:t>Head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6"/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alusi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</a:p>
          <a:p>
            <a:pPr lvl="6"/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ite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aurum</a:t>
            </a:r>
            <a:r>
              <a:rPr lang="de-DE" dirty="0"/>
              <a:t> </a:t>
            </a:r>
            <a:r>
              <a:rPr lang="de-DE" dirty="0" err="1"/>
              <a:t>eum</a:t>
            </a:r>
            <a:r>
              <a:rPr lang="de-DE" dirty="0"/>
              <a:t> </a:t>
            </a:r>
            <a:r>
              <a:rPr lang="de-DE" dirty="0" err="1"/>
              <a:t>explindus</a:t>
            </a:r>
            <a:r>
              <a:rPr lang="de-DE" dirty="0"/>
              <a:t>. Staus ex </a:t>
            </a:r>
            <a:r>
              <a:rPr lang="de-DE" dirty="0" err="1"/>
              <a:t>landua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w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w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exlan</a:t>
            </a:r>
            <a:r>
              <a:rPr lang="de-DE" dirty="0"/>
              <a:t> </a:t>
            </a:r>
            <a:r>
              <a:rPr lang="de-DE" dirty="0" err="1"/>
              <a:t>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caiusticus</a:t>
            </a:r>
            <a:r>
              <a:rPr lang="de-DE" dirty="0"/>
              <a:t> </a:t>
            </a:r>
            <a:r>
              <a:rPr lang="de-DE" dirty="0" err="1"/>
              <a:t>auru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. m </a:t>
            </a:r>
            <a:r>
              <a:rPr lang="de-DE" dirty="0" err="1"/>
              <a:t>eum</a:t>
            </a:r>
            <a:r>
              <a:rPr lang="de-DE" dirty="0"/>
              <a:t> </a:t>
            </a:r>
            <a:r>
              <a:rPr lang="de-DE" dirty="0" err="1"/>
              <a:t>explindus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. </a:t>
            </a:r>
            <a:r>
              <a:rPr lang="de-DE" dirty="0" err="1"/>
              <a:t>Sit</a:t>
            </a:r>
            <a:r>
              <a:rPr lang="de-DE" dirty="0"/>
              <a:t> i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Sit</a:t>
            </a:r>
            <a:r>
              <a:rPr lang="de-DE" dirty="0"/>
              <a:t> i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exlan</a:t>
            </a:r>
            <a:r>
              <a:rPr lang="de-DE" dirty="0"/>
              <a:t> </a:t>
            </a:r>
            <a:r>
              <a:rPr lang="de-DE" dirty="0" err="1"/>
              <a:t>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caiusticus</a:t>
            </a:r>
            <a:r>
              <a:rPr lang="de-DE" dirty="0"/>
              <a:t> </a:t>
            </a:r>
            <a:r>
              <a:rPr lang="de-DE" dirty="0" err="1"/>
              <a:t>auru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exlan</a:t>
            </a:r>
            <a:r>
              <a:rPr lang="de-DE" dirty="0"/>
              <a:t> </a:t>
            </a:r>
            <a:r>
              <a:rPr lang="de-DE" dirty="0" err="1"/>
              <a:t>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.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D0CE8094-0E1D-4FC9-9B8A-D494EAF90C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1700213"/>
            <a:ext cx="5437187" cy="3825534"/>
          </a:xfrm>
        </p:spPr>
        <p:txBody>
          <a:bodyPr/>
          <a:lstStyle/>
          <a:p>
            <a:r>
              <a:rPr lang="en-US" dirty="0"/>
              <a:t>Head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alusi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.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caiusticus</a:t>
            </a:r>
            <a:r>
              <a:rPr lang="de-DE" dirty="0"/>
              <a:t> </a:t>
            </a:r>
            <a:r>
              <a:rPr lang="de-DE" dirty="0" err="1"/>
              <a:t>aurum</a:t>
            </a:r>
            <a:r>
              <a:rPr lang="de-DE" dirty="0"/>
              <a:t> </a:t>
            </a:r>
            <a:r>
              <a:rPr lang="de-DE" dirty="0" err="1"/>
              <a:t>eum</a:t>
            </a:r>
            <a:r>
              <a:rPr lang="de-DE" dirty="0"/>
              <a:t> </a:t>
            </a:r>
            <a:r>
              <a:rPr lang="de-DE" dirty="0" err="1"/>
              <a:t>explindus</a:t>
            </a:r>
            <a:r>
              <a:rPr lang="de-DE" dirty="0"/>
              <a:t>. Status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. </a:t>
            </a:r>
            <a:r>
              <a:rPr lang="de-DE" dirty="0" err="1"/>
              <a:t>Let</a:t>
            </a:r>
            <a:r>
              <a:rPr lang="de-DE" dirty="0"/>
              <a:t>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. </a:t>
            </a:r>
          </a:p>
          <a:p>
            <a:pPr lvl="2"/>
            <a:r>
              <a:rPr lang="en-US" dirty="0"/>
              <a:t>Head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Bd </a:t>
            </a:r>
            <a:r>
              <a:rPr lang="de-DE" dirty="0"/>
              <a:t>14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  <a:p>
            <a:pPr lvl="4"/>
            <a:r>
              <a:rPr lang="de-DE" dirty="0"/>
              <a:t>Level 2</a:t>
            </a:r>
          </a:p>
          <a:p>
            <a:pPr lvl="5"/>
            <a:r>
              <a:rPr lang="de-DE" dirty="0"/>
              <a:t>Level 3</a:t>
            </a:r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5BD7A1A-EB6B-4604-83E7-97029D6ED1AC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BDFADF47-F427-4931-A932-6D3C2A922FB1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736EFE1D-F516-4C85-912F-2ABE1F4E4B4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3BE6F76-3365-4F44-ABBB-7AD97EB002A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BE1C989D-9590-421E-8AE9-8F56EDB536F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9640143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56014B2-7062-42AF-9354-F0B9703670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2248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dplatzhalter 9" descr="Ein Bild, das draußen, Himmel, Gebäude, Stadt enthält.&#10;&#10;Automatisch generierte Beschreibung">
            <a:extLst>
              <a:ext uri="{FF2B5EF4-FFF2-40B4-BE49-F238E27FC236}">
                <a16:creationId xmlns:a16="http://schemas.microsoft.com/office/drawing/2014/main" id="{AF28FDAE-9689-47FF-9F53-14F8CFD0C768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5"/>
          <a:srcRect l="16" r="8119" b="52"/>
          <a:stretch/>
        </p:blipFill>
        <p:spPr>
          <a:xfrm>
            <a:off x="6275388" y="1"/>
            <a:ext cx="5437187" cy="6153149"/>
          </a:xfrm>
          <a:noFill/>
        </p:spPr>
      </p:pic>
      <p:sp>
        <p:nvSpPr>
          <p:cNvPr id="8" name="Titel 7">
            <a:extLst>
              <a:ext uri="{FF2B5EF4-FFF2-40B4-BE49-F238E27FC236}">
                <a16:creationId xmlns:a16="http://schemas.microsoft.com/office/drawing/2014/main" id="{F81C1A1D-1FDB-40DC-9FB1-7AAC619797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FF59F70-1B8A-43C1-8688-5D285BB4DE7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0AA2CA4D-ABD7-474C-ABE3-90FF1D3AFD8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5437188" cy="3588546"/>
          </a:xfrm>
        </p:spPr>
        <p:txBody>
          <a:bodyPr/>
          <a:lstStyle/>
          <a:p>
            <a:r>
              <a:rPr lang="en-US" dirty="0"/>
              <a:t>Head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alusi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.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caiusticus</a:t>
            </a:r>
            <a:r>
              <a:rPr lang="de-DE" dirty="0"/>
              <a:t> </a:t>
            </a:r>
            <a:r>
              <a:rPr lang="de-DE" dirty="0" err="1"/>
              <a:t>aurum</a:t>
            </a:r>
            <a:r>
              <a:rPr lang="de-DE" dirty="0"/>
              <a:t> </a:t>
            </a:r>
            <a:r>
              <a:rPr lang="de-DE" dirty="0" err="1"/>
              <a:t>eum</a:t>
            </a:r>
            <a:r>
              <a:rPr lang="de-DE" dirty="0"/>
              <a:t> </a:t>
            </a:r>
            <a:r>
              <a:rPr lang="de-DE" dirty="0" err="1"/>
              <a:t>explindus</a:t>
            </a:r>
            <a:r>
              <a:rPr lang="de-DE" dirty="0"/>
              <a:t>. Status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. </a:t>
            </a:r>
            <a:r>
              <a:rPr lang="de-DE" dirty="0" err="1"/>
              <a:t>Let</a:t>
            </a:r>
            <a:r>
              <a:rPr lang="de-DE" dirty="0"/>
              <a:t>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. </a:t>
            </a:r>
          </a:p>
          <a:p>
            <a:pPr lvl="2"/>
            <a:r>
              <a:rPr lang="en-US" dirty="0"/>
              <a:t>Head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4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  <a:p>
            <a:pPr lvl="4"/>
            <a:r>
              <a:rPr lang="de-DE" dirty="0"/>
              <a:t>Level 2</a:t>
            </a:r>
          </a:p>
          <a:p>
            <a:pPr lvl="5"/>
            <a:r>
              <a:rPr lang="de-DE" dirty="0"/>
              <a:t>Level 3</a:t>
            </a:r>
          </a:p>
          <a:p>
            <a:pPr lvl="3"/>
            <a:r>
              <a:rPr lang="de-DE" dirty="0"/>
              <a:t>Level 1</a:t>
            </a:r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01AA0ED9-13C3-4BA1-B989-B4F0717EDC14}"/>
              </a:ext>
            </a:extLst>
          </p:cNvPr>
          <p:cNvSpPr txBox="1">
            <a:spLocks/>
          </p:cNvSpPr>
          <p:nvPr/>
        </p:nvSpPr>
        <p:spPr bwMode="gray">
          <a:xfrm>
            <a:off x="7264399" y="3667487"/>
            <a:ext cx="4927601" cy="2153466"/>
          </a:xfrm>
          <a:prstGeom prst="rect">
            <a:avLst/>
          </a:prstGeo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288000" tIns="288000" rIns="486000" bIns="288000" numCol="1" spcCol="360000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1" kern="1200">
                <a:solidFill>
                  <a:schemeClr val="bg1"/>
                </a:solidFill>
                <a:latin typeface="Frutiger LT Com 55 Roman" panose="020B0503030504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  <a:p>
            <a:pPr lvl="1">
              <a:lnSpc>
                <a:spcPts val="1800"/>
              </a:lnSpc>
              <a:spcAft>
                <a:spcPts val="600"/>
              </a:spcAft>
            </a:pPr>
            <a:r>
              <a:rPr lang="de-DE" b="0" dirty="0">
                <a:latin typeface="Frutiger LT Com 75 Black" panose="020B0A03040504030204" pitchFamily="34" charset="0"/>
              </a:rPr>
              <a:t>—</a:t>
            </a:r>
          </a:p>
          <a:p>
            <a:pPr lvl="2">
              <a:lnSpc>
                <a:spcPct val="110000"/>
              </a:lnSpc>
            </a:pPr>
            <a:r>
              <a:rPr lang="de-DE" dirty="0">
                <a:latin typeface="+mn-lt"/>
              </a:rPr>
              <a:t>Copy Frutiger LT </a:t>
            </a:r>
            <a:r>
              <a:rPr lang="de-DE" err="1">
                <a:latin typeface="+mn-lt"/>
              </a:rPr>
              <a:t>Com</a:t>
            </a:r>
            <a:r>
              <a:rPr lang="de-DE">
                <a:latin typeface="+mn-lt"/>
              </a:rPr>
              <a:t> Lt</a:t>
            </a:r>
            <a:r>
              <a:rPr lang="de-DE" dirty="0">
                <a:latin typeface="+mn-lt"/>
              </a:rPr>
              <a:t>, 14 </a:t>
            </a:r>
            <a:r>
              <a:rPr lang="de-DE" dirty="0" err="1">
                <a:latin typeface="+mn-lt"/>
              </a:rPr>
              <a:t>pt</a:t>
            </a:r>
            <a:r>
              <a:rPr lang="de-DE" dirty="0">
                <a:latin typeface="+mn-lt"/>
              </a:rPr>
              <a:t>. </a:t>
            </a:r>
            <a:r>
              <a:rPr lang="de-DE" dirty="0" err="1">
                <a:latin typeface="+mn-lt"/>
              </a:rPr>
              <a:t>Dolor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situs</a:t>
            </a:r>
            <a:r>
              <a:rPr lang="de-DE" dirty="0">
                <a:latin typeface="+mn-lt"/>
              </a:rPr>
              <a:t> cum </a:t>
            </a:r>
            <a:r>
              <a:rPr lang="de-DE" dirty="0" err="1">
                <a:latin typeface="+mn-lt"/>
              </a:rPr>
              <a:t>habilitarum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itum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alusi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causticus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imanenter</a:t>
            </a:r>
            <a:r>
              <a:rPr lang="de-DE" dirty="0">
                <a:latin typeface="+mn-lt"/>
              </a:rPr>
              <a:t> Status ex </a:t>
            </a:r>
            <a:r>
              <a:rPr lang="de-DE" dirty="0" err="1">
                <a:latin typeface="+mn-lt"/>
              </a:rPr>
              <a:t>landum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it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exus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rius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laudanum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ibis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tum</a:t>
            </a:r>
            <a:r>
              <a:rPr lang="de-DE" dirty="0">
                <a:latin typeface="+mn-lt"/>
              </a:rPr>
              <a:t>. </a:t>
            </a:r>
            <a:r>
              <a:rPr lang="de-DE" dirty="0" err="1">
                <a:latin typeface="+mn-lt"/>
              </a:rPr>
              <a:t>Lorem</a:t>
            </a:r>
            <a:r>
              <a:rPr lang="de-DE" dirty="0">
                <a:latin typeface="+mn-lt"/>
              </a:rPr>
              <a:t> et </a:t>
            </a:r>
            <a:r>
              <a:rPr lang="de-DE" dirty="0" err="1">
                <a:latin typeface="+mn-lt"/>
              </a:rPr>
              <a:t>exit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vulnareus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plexus</a:t>
            </a:r>
            <a:r>
              <a:rPr lang="de-DE" dirty="0">
                <a:latin typeface="+mn-lt"/>
              </a:rPr>
              <a:t>. </a:t>
            </a:r>
            <a:r>
              <a:rPr lang="de-DE" dirty="0" err="1">
                <a:latin typeface="+mn-lt"/>
              </a:rPr>
              <a:t>Sit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itum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caiusticus</a:t>
            </a:r>
            <a:r>
              <a:rPr lang="de-DE" dirty="0">
                <a:latin typeface="+mn-lt"/>
              </a:rPr>
              <a:t>.</a:t>
            </a:r>
          </a:p>
        </p:txBody>
      </p:sp>
      <p:sp>
        <p:nvSpPr>
          <p:cNvPr id="17" name="Institutsname">
            <a:extLst>
              <a:ext uri="{FF2B5EF4-FFF2-40B4-BE49-F238E27FC236}">
                <a16:creationId xmlns:a16="http://schemas.microsoft.com/office/drawing/2014/main" id="{A8C5AE93-F3E1-4763-AB73-E551251ECA1F}"/>
              </a:ext>
            </a:extLst>
          </p:cNvPr>
          <p:cNvSpPr txBox="1">
            <a:spLocks noChangeArrowheads="1"/>
          </p:cNvSpPr>
          <p:nvPr/>
        </p:nvSpPr>
        <p:spPr bwMode="gray">
          <a:xfrm rot="16200000">
            <a:off x="5606199" y="5134031"/>
            <a:ext cx="159396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982663"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 sz="700">
                <a:solidFill>
                  <a:schemeClr val="bg1"/>
                </a:solidFill>
              </a:rPr>
              <a:t>© Markus Jürgens</a:t>
            </a:r>
            <a:endParaRPr lang="de-DE" sz="700" b="0" dirty="0">
              <a:solidFill>
                <a:schemeClr val="bg1"/>
              </a:solidFill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7B5D132F-1816-4B74-BFFE-672A92BC3227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C5C57129-344B-4CB0-9D7B-76BB1E9F67D5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86A604D-1F4F-480F-848F-AEE0D43D5EF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D5065234-A996-44BE-8F6D-9EBF0CA8442C}"/>
              </a:ext>
            </a:extLst>
          </p:cNvPr>
          <p:cNvSpPr txBox="1"/>
          <p:nvPr/>
        </p:nvSpPr>
        <p:spPr>
          <a:xfrm>
            <a:off x="10617643" y="150354"/>
            <a:ext cx="993395" cy="296226"/>
          </a:xfrm>
          <a:prstGeom prst="rect">
            <a:avLst/>
          </a:prstGeom>
          <a:solidFill>
            <a:schemeClr val="tx2"/>
          </a:solidFill>
        </p:spPr>
        <p:txBody>
          <a:bodyPr wrap="none" lIns="72000" tIns="36000" rIns="72000" bIns="36000" rtlCol="0">
            <a:spAutoFit/>
          </a:bodyPr>
          <a:lstStyle/>
          <a:p>
            <a:pPr algn="r">
              <a:lnSpc>
                <a:spcPct val="110000"/>
              </a:lnSpc>
              <a:buClr>
                <a:schemeClr val="accent1"/>
              </a:buClr>
            </a:pPr>
            <a:r>
              <a:rPr lang="de-DE" sz="1400">
                <a:solidFill>
                  <a:schemeClr val="bg1"/>
                </a:solidFill>
              </a:rPr>
              <a:t>Beispielbild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691CFB4-E4CF-4FC3-98C6-43BB12B889A9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3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037987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56014B2-7062-42AF-9354-F0B9703670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7894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56014B2-7062-42AF-9354-F0B9703670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Bildplatzhalter 5" descr="Ein Bild, das draußen, Himmel, Gebäude, Stadt enthält.&#10;&#10;Automatisch generierte Beschreibung">
            <a:extLst>
              <a:ext uri="{FF2B5EF4-FFF2-40B4-BE49-F238E27FC236}">
                <a16:creationId xmlns:a16="http://schemas.microsoft.com/office/drawing/2014/main" id="{0A57DDBD-A60A-40B7-B0A3-D69B7E6D8A4D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5"/>
          <a:srcRect l="17" r="17"/>
          <a:stretch/>
        </p:blipFill>
        <p:spPr>
          <a:xfrm>
            <a:off x="6275388" y="1"/>
            <a:ext cx="5916612" cy="6153149"/>
          </a:xfrm>
          <a:noFill/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4ACAF06A-DA0D-4E16-9DF5-98F07D21402C}"/>
              </a:ext>
            </a:extLst>
          </p:cNvPr>
          <p:cNvSpPr/>
          <p:nvPr/>
        </p:nvSpPr>
        <p:spPr bwMode="gray">
          <a:xfrm>
            <a:off x="6665495" y="2918045"/>
            <a:ext cx="5047079" cy="2808728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0000"/>
                </a:schemeClr>
              </a:gs>
              <a:gs pos="100000">
                <a:srgbClr val="FDB913">
                  <a:alpha val="90000"/>
                </a:srgb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648000" rIns="288000" bIns="288000" rtlCol="0" anchor="t">
            <a:noAutofit/>
          </a:bodyPr>
          <a:lstStyle/>
          <a:p>
            <a:pPr>
              <a:lnSpc>
                <a:spcPts val="2200"/>
              </a:lnSpc>
            </a:pPr>
            <a:r>
              <a:rPr lang="de-DE" sz="9900" b="0" i="0" u="none" strike="noStrike" baseline="0" dirty="0">
                <a:solidFill>
                  <a:schemeClr val="bg1"/>
                </a:solidFill>
                <a:latin typeface="Frutiger LT Com 75 Black" panose="020B0A03040504030204" pitchFamily="34" charset="0"/>
              </a:rPr>
              <a:t>»</a:t>
            </a:r>
          </a:p>
          <a:p>
            <a:pPr>
              <a:lnSpc>
                <a:spcPct val="110000"/>
              </a:lnSpc>
              <a:spcAft>
                <a:spcPts val="1200"/>
              </a:spcAft>
            </a:pPr>
            <a:r>
              <a:rPr lang="de-DE" sz="2200" dirty="0">
                <a:latin typeface="+mj-lt"/>
              </a:rPr>
              <a:t>Headline, Frutiger LT </a:t>
            </a:r>
            <a:r>
              <a:rPr lang="de-DE" sz="2200" err="1">
                <a:latin typeface="+mj-lt"/>
              </a:rPr>
              <a:t>Com</a:t>
            </a:r>
            <a:r>
              <a:rPr lang="de-DE" sz="2200">
                <a:latin typeface="+mj-lt"/>
              </a:rPr>
              <a:t> Bd, </a:t>
            </a:r>
            <a:br>
              <a:rPr lang="de-DE" sz="2200">
                <a:latin typeface="+mj-lt"/>
              </a:rPr>
            </a:br>
            <a:r>
              <a:rPr lang="de-DE" sz="2200">
                <a:latin typeface="+mj-lt"/>
              </a:rPr>
              <a:t>22 </a:t>
            </a:r>
            <a:r>
              <a:rPr lang="de-DE" sz="2200" dirty="0" err="1">
                <a:latin typeface="+mj-lt"/>
              </a:rPr>
              <a:t>pt</a:t>
            </a:r>
            <a:r>
              <a:rPr lang="de-DE" sz="2200" dirty="0">
                <a:latin typeface="+mj-lt"/>
              </a:rPr>
              <a:t>, </a:t>
            </a:r>
            <a:r>
              <a:rPr lang="de-DE" sz="2200" dirty="0" err="1">
                <a:latin typeface="+mj-lt"/>
              </a:rPr>
              <a:t>dolorx</a:t>
            </a:r>
            <a:r>
              <a:rPr lang="de-DE" sz="2200" dirty="0">
                <a:latin typeface="+mj-lt"/>
              </a:rPr>
              <a:t> </a:t>
            </a:r>
            <a:r>
              <a:rPr lang="de-DE" sz="2200" dirty="0" err="1">
                <a:latin typeface="+mj-lt"/>
              </a:rPr>
              <a:t>cumatia</a:t>
            </a:r>
            <a:r>
              <a:rPr lang="de-DE" sz="2200" dirty="0">
                <a:latin typeface="+mj-lt"/>
              </a:rPr>
              <a:t> ex </a:t>
            </a:r>
            <a:r>
              <a:rPr lang="de-DE" sz="2200" dirty="0" err="1">
                <a:latin typeface="+mj-lt"/>
              </a:rPr>
              <a:t>landum</a:t>
            </a:r>
            <a:r>
              <a:rPr lang="de-DE" sz="2200" dirty="0">
                <a:latin typeface="+mj-lt"/>
              </a:rPr>
              <a:t>.«</a:t>
            </a:r>
          </a:p>
          <a:p>
            <a:pPr algn="r">
              <a:lnSpc>
                <a:spcPct val="110000"/>
              </a:lnSpc>
            </a:pPr>
            <a:r>
              <a:rPr lang="de-DE" sz="1400" dirty="0">
                <a:latin typeface="+mj-lt"/>
              </a:rPr>
              <a:t>Max Mustermann,</a:t>
            </a:r>
            <a:endParaRPr lang="de-DE" sz="1400" dirty="0"/>
          </a:p>
          <a:p>
            <a:pPr algn="r">
              <a:lnSpc>
                <a:spcPct val="110000"/>
              </a:lnSpc>
            </a:pPr>
            <a:r>
              <a:rPr lang="de-DE" sz="1400" dirty="0" err="1"/>
              <a:t>Lorem</a:t>
            </a:r>
            <a:r>
              <a:rPr lang="de-DE" sz="1400" dirty="0"/>
              <a:t> </a:t>
            </a:r>
            <a:r>
              <a:rPr lang="de-DE" sz="1400" dirty="0" err="1"/>
              <a:t>ipsum</a:t>
            </a:r>
            <a:endParaRPr lang="de-DE" sz="1400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F81C1A1D-1FDB-40DC-9FB1-7AAC619797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F9AC3E0C-E341-4429-BC4B-91E66D0C715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9A85DDE6-D9B0-4A62-B036-FF515B3E222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5437188" cy="3588546"/>
          </a:xfrm>
        </p:spPr>
        <p:txBody>
          <a:bodyPr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alusi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.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caiusticus</a:t>
            </a:r>
            <a:r>
              <a:rPr lang="de-DE" dirty="0"/>
              <a:t> </a:t>
            </a:r>
            <a:r>
              <a:rPr lang="de-DE" dirty="0" err="1"/>
              <a:t>aurum</a:t>
            </a:r>
            <a:r>
              <a:rPr lang="de-DE" dirty="0"/>
              <a:t> </a:t>
            </a:r>
            <a:r>
              <a:rPr lang="de-DE" dirty="0" err="1"/>
              <a:t>eum</a:t>
            </a:r>
            <a:r>
              <a:rPr lang="de-DE" dirty="0"/>
              <a:t> </a:t>
            </a:r>
            <a:r>
              <a:rPr lang="de-DE" dirty="0" err="1"/>
              <a:t>explindus</a:t>
            </a:r>
            <a:r>
              <a:rPr lang="de-DE" dirty="0"/>
              <a:t>. Status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. </a:t>
            </a:r>
            <a:r>
              <a:rPr lang="de-DE" dirty="0" err="1"/>
              <a:t>Let</a:t>
            </a:r>
            <a:r>
              <a:rPr lang="de-DE" dirty="0"/>
              <a:t>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. 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4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  <a:p>
            <a:pPr lvl="4"/>
            <a:r>
              <a:rPr lang="de-DE" dirty="0"/>
              <a:t>Level 2</a:t>
            </a:r>
          </a:p>
          <a:p>
            <a:pPr lvl="5"/>
            <a:r>
              <a:rPr lang="de-DE" dirty="0"/>
              <a:t>Level 3</a:t>
            </a:r>
          </a:p>
          <a:p>
            <a:pPr lvl="3"/>
            <a:r>
              <a:rPr lang="de-DE" dirty="0"/>
              <a:t>Level 1</a:t>
            </a:r>
          </a:p>
        </p:txBody>
      </p:sp>
      <p:sp>
        <p:nvSpPr>
          <p:cNvPr id="18" name="Institutsname">
            <a:extLst>
              <a:ext uri="{FF2B5EF4-FFF2-40B4-BE49-F238E27FC236}">
                <a16:creationId xmlns:a16="http://schemas.microsoft.com/office/drawing/2014/main" id="{53A2540D-5C34-4452-9FB2-BFB2A77D6B2C}"/>
              </a:ext>
            </a:extLst>
          </p:cNvPr>
          <p:cNvSpPr txBox="1">
            <a:spLocks noChangeArrowheads="1"/>
          </p:cNvSpPr>
          <p:nvPr/>
        </p:nvSpPr>
        <p:spPr bwMode="gray">
          <a:xfrm rot="16200000">
            <a:off x="5606199" y="5134031"/>
            <a:ext cx="159396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982663"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 sz="700">
                <a:solidFill>
                  <a:schemeClr val="bg1"/>
                </a:solidFill>
              </a:rPr>
              <a:t>© Markus Jürgens</a:t>
            </a:r>
            <a:endParaRPr lang="de-DE" sz="700" b="0" dirty="0">
              <a:solidFill>
                <a:schemeClr val="bg1"/>
              </a:solidFill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7EC9868-8AF7-4C68-8541-2C3F08A94D0B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845FF764-7D62-4F61-B4A8-68068BFD7B8D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AAEBF27-85C8-4CC5-97E5-6B91624EA6F1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76E763CA-86A4-4D00-B1B2-1BFCB15036E1}"/>
              </a:ext>
            </a:extLst>
          </p:cNvPr>
          <p:cNvSpPr txBox="1"/>
          <p:nvPr/>
        </p:nvSpPr>
        <p:spPr>
          <a:xfrm>
            <a:off x="11087889" y="157728"/>
            <a:ext cx="993395" cy="296226"/>
          </a:xfrm>
          <a:prstGeom prst="rect">
            <a:avLst/>
          </a:prstGeom>
          <a:solidFill>
            <a:schemeClr val="tx2"/>
          </a:solidFill>
        </p:spPr>
        <p:txBody>
          <a:bodyPr wrap="none" lIns="72000" tIns="36000" rIns="72000" bIns="36000" rtlCol="0">
            <a:spAutoFit/>
          </a:bodyPr>
          <a:lstStyle>
            <a:defPPr>
              <a:defRPr lang="de-DE"/>
            </a:defPPr>
            <a:lvl1pPr algn="r">
              <a:lnSpc>
                <a:spcPct val="110000"/>
              </a:lnSpc>
              <a:buClr>
                <a:schemeClr val="accent1"/>
              </a:buClr>
              <a:defRPr sz="1400">
                <a:solidFill>
                  <a:schemeClr val="bg1"/>
                </a:solidFill>
              </a:defRPr>
            </a:lvl1pPr>
          </a:lstStyle>
          <a:p>
            <a:r>
              <a:rPr lang="de-DE"/>
              <a:t>Beispielbild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4AB7E8E-21F1-4EC0-BE2E-86A5C19644A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3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5040121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9355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rafik 13">
            <a:extLst>
              <a:ext uri="{FF2B5EF4-FFF2-40B4-BE49-F238E27FC236}">
                <a16:creationId xmlns:a16="http://schemas.microsoft.com/office/drawing/2014/main" id="{98C6E562-D6C8-4B4C-87AA-8792DDF50AA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6275387" y="1700213"/>
            <a:ext cx="5437187" cy="2072943"/>
          </a:xfrm>
          <a:prstGeom prst="rect">
            <a:avLst/>
          </a:prstGeom>
          <a:noFill/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Headline, Frutiger LT Com Bd, 24 pt, zweispaltig mit Text und Bildern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797020-76A7-44D6-8A17-6248CE65401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D9B681F-B971-4CE8-880E-5B48EA852DF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3588546"/>
          </a:xfrm>
        </p:spPr>
        <p:txBody>
          <a:bodyPr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alusi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.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caiusticus</a:t>
            </a:r>
            <a:r>
              <a:rPr lang="de-DE" dirty="0"/>
              <a:t> </a:t>
            </a:r>
            <a:r>
              <a:rPr lang="de-DE" dirty="0" err="1"/>
              <a:t>aurum</a:t>
            </a:r>
            <a:r>
              <a:rPr lang="de-DE" dirty="0"/>
              <a:t> </a:t>
            </a:r>
            <a:r>
              <a:rPr lang="de-DE" dirty="0" err="1"/>
              <a:t>eum</a:t>
            </a:r>
            <a:r>
              <a:rPr lang="de-DE" dirty="0"/>
              <a:t> </a:t>
            </a:r>
            <a:r>
              <a:rPr lang="de-DE" dirty="0" err="1"/>
              <a:t>explindus</a:t>
            </a:r>
            <a:r>
              <a:rPr lang="de-DE" dirty="0"/>
              <a:t>. Status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. </a:t>
            </a:r>
            <a:r>
              <a:rPr lang="de-DE" dirty="0" err="1"/>
              <a:t>Let</a:t>
            </a:r>
            <a:r>
              <a:rPr lang="de-DE" dirty="0"/>
              <a:t>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. 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4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  <a:p>
            <a:pPr lvl="4"/>
            <a:r>
              <a:rPr lang="de-DE" dirty="0"/>
              <a:t>Level 2</a:t>
            </a:r>
          </a:p>
          <a:p>
            <a:pPr lvl="5"/>
            <a:r>
              <a:rPr lang="de-DE" dirty="0"/>
              <a:t>Level 3</a:t>
            </a:r>
          </a:p>
          <a:p>
            <a:pPr lvl="3"/>
            <a:r>
              <a:rPr lang="de-DE" dirty="0"/>
              <a:t>Level 1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5C43EC21-1417-4610-A7C6-3BDB8379DD8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6275387" y="3911932"/>
            <a:ext cx="5437188" cy="2072943"/>
          </a:xfrm>
          <a:prstGeom prst="rect">
            <a:avLst/>
          </a:prstGeom>
          <a:noFill/>
        </p:spPr>
      </p:pic>
      <p:sp>
        <p:nvSpPr>
          <p:cNvPr id="18" name="Institutsname">
            <a:extLst>
              <a:ext uri="{FF2B5EF4-FFF2-40B4-BE49-F238E27FC236}">
                <a16:creationId xmlns:a16="http://schemas.microsoft.com/office/drawing/2014/main" id="{F39D2010-6DE0-4F98-8137-97660C38F015}"/>
              </a:ext>
            </a:extLst>
          </p:cNvPr>
          <p:cNvSpPr txBox="1">
            <a:spLocks noChangeArrowheads="1"/>
          </p:cNvSpPr>
          <p:nvPr/>
        </p:nvSpPr>
        <p:spPr bwMode="gray">
          <a:xfrm rot="16200000">
            <a:off x="5606200" y="5033547"/>
            <a:ext cx="159396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982663"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 sz="700">
                <a:solidFill>
                  <a:schemeClr val="bg1"/>
                </a:solidFill>
              </a:rPr>
              <a:t>© Markus Jürgens</a:t>
            </a:r>
            <a:endParaRPr lang="de-DE" sz="700" b="0" dirty="0">
              <a:solidFill>
                <a:schemeClr val="bg1"/>
              </a:solidFill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2CCF474-BD7E-45FB-B561-55E7CF8F6B81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DF59B33C-4BD5-4670-A601-7462ACBC635A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923BFB78-746D-4AFE-8494-50239943437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2BB6F264-4282-40E1-8214-C3C43BF30EA0}"/>
              </a:ext>
            </a:extLst>
          </p:cNvPr>
          <p:cNvSpPr txBox="1"/>
          <p:nvPr/>
        </p:nvSpPr>
        <p:spPr>
          <a:xfrm>
            <a:off x="10600774" y="1819594"/>
            <a:ext cx="993395" cy="296226"/>
          </a:xfrm>
          <a:prstGeom prst="rect">
            <a:avLst/>
          </a:prstGeom>
          <a:solidFill>
            <a:schemeClr val="tx2"/>
          </a:solidFill>
        </p:spPr>
        <p:txBody>
          <a:bodyPr wrap="none" lIns="72000" tIns="36000" rIns="72000" bIns="36000" rtlCol="0">
            <a:spAutoFit/>
          </a:bodyPr>
          <a:lstStyle>
            <a:defPPr>
              <a:defRPr lang="de-DE"/>
            </a:defPPr>
            <a:lvl1pPr algn="r">
              <a:lnSpc>
                <a:spcPct val="110000"/>
              </a:lnSpc>
              <a:buClr>
                <a:schemeClr val="accent1"/>
              </a:buClr>
              <a:defRPr sz="1400">
                <a:solidFill>
                  <a:schemeClr val="bg1"/>
                </a:solidFill>
              </a:defRPr>
            </a:lvl1pPr>
          </a:lstStyle>
          <a:p>
            <a:r>
              <a:rPr lang="de-DE"/>
              <a:t>Beispielbild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800EA1E3-8743-400C-AA4A-A386F0456F4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3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620755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68847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Headline, Frutiger LT Com Bd, 24 pt, zweispaltig mit Text und Grafik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B0A39-39BD-4860-A01A-03444D0D13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74BC0E08-1660-4545-8640-378549A4F57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3588546"/>
          </a:xfrm>
        </p:spPr>
        <p:txBody>
          <a:bodyPr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alusi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.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caiusticus</a:t>
            </a:r>
            <a:r>
              <a:rPr lang="de-DE" dirty="0"/>
              <a:t> </a:t>
            </a:r>
            <a:r>
              <a:rPr lang="de-DE" dirty="0" err="1"/>
              <a:t>aurum</a:t>
            </a:r>
            <a:r>
              <a:rPr lang="de-DE" dirty="0"/>
              <a:t> </a:t>
            </a:r>
            <a:r>
              <a:rPr lang="de-DE" dirty="0" err="1"/>
              <a:t>eum</a:t>
            </a:r>
            <a:r>
              <a:rPr lang="de-DE" dirty="0"/>
              <a:t> </a:t>
            </a:r>
            <a:r>
              <a:rPr lang="de-DE" dirty="0" err="1"/>
              <a:t>explindus</a:t>
            </a:r>
            <a:r>
              <a:rPr lang="de-DE" dirty="0"/>
              <a:t>. Status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. </a:t>
            </a:r>
            <a:r>
              <a:rPr lang="de-DE" dirty="0" err="1"/>
              <a:t>Let</a:t>
            </a:r>
            <a:r>
              <a:rPr lang="de-DE" dirty="0"/>
              <a:t>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. 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4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  <a:p>
            <a:pPr lvl="4"/>
            <a:r>
              <a:rPr lang="de-DE" dirty="0"/>
              <a:t>Level 2</a:t>
            </a:r>
          </a:p>
          <a:p>
            <a:pPr lvl="5"/>
            <a:r>
              <a:rPr lang="de-DE" dirty="0"/>
              <a:t>Level 3</a:t>
            </a:r>
          </a:p>
          <a:p>
            <a:pPr lvl="3"/>
            <a:r>
              <a:rPr lang="de-DE" dirty="0"/>
              <a:t>Level 1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22EA74DC-6237-4C94-BB39-B3B9DE1DFD7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934487"/>
          </a:xfrm>
        </p:spPr>
        <p:txBody>
          <a:bodyPr/>
          <a:lstStyle/>
          <a:p>
            <a:pPr lvl="1"/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. </a:t>
            </a:r>
            <a:r>
              <a:rPr lang="de-DE" dirty="0" err="1"/>
              <a:t>Sit</a:t>
            </a:r>
            <a:r>
              <a:rPr lang="de-DE" dirty="0"/>
              <a:t> i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 </a:t>
            </a:r>
            <a:r>
              <a:rPr lang="de-DE" dirty="0" err="1"/>
              <a:t>caiusticus</a:t>
            </a:r>
            <a:r>
              <a:rPr lang="de-DE" dirty="0"/>
              <a:t> s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exlan</a:t>
            </a:r>
            <a:r>
              <a:rPr lang="de-DE" dirty="0"/>
              <a:t> </a:t>
            </a:r>
            <a:r>
              <a:rPr lang="de-DE" dirty="0" err="1"/>
              <a:t>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aurum</a:t>
            </a:r>
            <a:r>
              <a:rPr lang="de-DE" dirty="0"/>
              <a:t> </a:t>
            </a:r>
            <a:r>
              <a:rPr lang="de-DE" dirty="0" err="1"/>
              <a:t>eum</a:t>
            </a:r>
            <a:r>
              <a:rPr lang="de-DE" dirty="0"/>
              <a:t> </a:t>
            </a:r>
            <a:r>
              <a:rPr lang="de-DE" dirty="0" err="1"/>
              <a:t>explindus</a:t>
            </a:r>
            <a:r>
              <a:rPr lang="de-DE" dirty="0"/>
              <a:t>. Status </a:t>
            </a:r>
            <a:r>
              <a:rPr lang="de-DE" dirty="0" err="1"/>
              <a:t>la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. Status </a:t>
            </a:r>
            <a:r>
              <a:rPr lang="de-DE" dirty="0" err="1"/>
              <a:t>laus</a:t>
            </a:r>
            <a:r>
              <a:rPr lang="de-DE" dirty="0"/>
              <a:t> </a:t>
            </a:r>
            <a:r>
              <a:rPr lang="de-DE" dirty="0" err="1"/>
              <a:t>rius</a:t>
            </a:r>
            <a:endParaRPr lang="de-DE" dirty="0"/>
          </a:p>
        </p:txBody>
      </p:sp>
      <p:sp>
        <p:nvSpPr>
          <p:cNvPr id="11" name="Eingekerbter Richtungspfeil 15">
            <a:extLst>
              <a:ext uri="{FF2B5EF4-FFF2-40B4-BE49-F238E27FC236}">
                <a16:creationId xmlns:a16="http://schemas.microsoft.com/office/drawing/2014/main" id="{64CF0349-2CF2-4543-B081-3FD4396A0D1F}"/>
              </a:ext>
            </a:extLst>
          </p:cNvPr>
          <p:cNvSpPr/>
          <p:nvPr/>
        </p:nvSpPr>
        <p:spPr bwMode="gray">
          <a:xfrm flipH="1">
            <a:off x="6819680" y="4091521"/>
            <a:ext cx="4212271" cy="1021072"/>
          </a:xfrm>
          <a:prstGeom prst="chevron">
            <a:avLst>
              <a:gd name="adj" fmla="val 22932"/>
            </a:avLst>
          </a:prstGeom>
          <a:solidFill>
            <a:schemeClr val="accent3"/>
          </a:solidFill>
          <a:ln>
            <a:noFill/>
          </a:ln>
          <a:effectLst/>
        </p:spPr>
        <p:txBody>
          <a:bodyPr vert="horz" wrap="square" lIns="180000" tIns="72000" rIns="72000" bIns="72000" numCol="1" rtlCol="0" anchor="ctr" anchorCtr="0" compatLnSpc="1">
            <a:prstTxWarp prst="textNoShape">
              <a:avLst/>
            </a:prstTxWarp>
            <a:norm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</a:pPr>
            <a:r>
              <a:rPr lang="de-DE" sz="1400" b="1" dirty="0" err="1">
                <a:solidFill>
                  <a:schemeClr val="bg1"/>
                </a:solidFill>
                <a:latin typeface="Frutiger LT Com 45 Light" panose="020B0303030504020204" pitchFamily="34" charset="0"/>
              </a:rPr>
              <a:t>Consetetur</a:t>
            </a:r>
            <a:r>
              <a:rPr lang="de-DE" sz="1400" b="1" dirty="0">
                <a:solidFill>
                  <a:schemeClr val="bg1"/>
                </a:solidFill>
                <a:latin typeface="Frutiger LT Com 45 Light" panose="020B0303030504020204" pitchFamily="34" charset="0"/>
              </a:rPr>
              <a:t> </a:t>
            </a:r>
            <a:r>
              <a:rPr lang="de-DE" sz="1400" b="1" dirty="0" err="1">
                <a:solidFill>
                  <a:schemeClr val="bg1"/>
                </a:solidFill>
                <a:latin typeface="Frutiger LT Com 45 Light" panose="020B0303030504020204" pitchFamily="34" charset="0"/>
              </a:rPr>
              <a:t>sadipscing</a:t>
            </a:r>
            <a:r>
              <a:rPr lang="de-DE" sz="1400" b="1" dirty="0">
                <a:solidFill>
                  <a:schemeClr val="bg1"/>
                </a:solidFill>
                <a:latin typeface="Frutiger LT Com 45 Light" panose="020B0303030504020204" pitchFamily="34" charset="0"/>
              </a:rPr>
              <a:t> </a:t>
            </a:r>
            <a:r>
              <a:rPr lang="de-DE" sz="1400" b="1" dirty="0" err="1">
                <a:solidFill>
                  <a:schemeClr val="bg1"/>
                </a:solidFill>
                <a:latin typeface="Frutiger LT Com 45 Light" panose="020B0303030504020204" pitchFamily="34" charset="0"/>
              </a:rPr>
              <a:t>elitr</a:t>
            </a:r>
            <a:r>
              <a:rPr lang="de-DE" sz="1400" b="1" dirty="0">
                <a:solidFill>
                  <a:schemeClr val="bg1"/>
                </a:solidFill>
                <a:latin typeface="Frutiger LT Com 45 Light" panose="020B0303030504020204" pitchFamily="34" charset="0"/>
              </a:rPr>
              <a:t>, </a:t>
            </a:r>
            <a:r>
              <a:rPr lang="de-DE" sz="1400" b="1" dirty="0" err="1">
                <a:solidFill>
                  <a:schemeClr val="bg1"/>
                </a:solidFill>
                <a:latin typeface="Frutiger LT Com 45 Light" panose="020B0303030504020204" pitchFamily="34" charset="0"/>
              </a:rPr>
              <a:t>seddiam</a:t>
            </a:r>
            <a:r>
              <a:rPr lang="de-DE" sz="1400" b="1" dirty="0">
                <a:solidFill>
                  <a:schemeClr val="bg1"/>
                </a:solidFill>
                <a:latin typeface="Frutiger LT Com 45 Light" panose="020B0303030504020204" pitchFamily="34" charset="0"/>
              </a:rPr>
              <a:t> </a:t>
            </a:r>
            <a:r>
              <a:rPr lang="de-DE" sz="1400" b="1" dirty="0" err="1">
                <a:solidFill>
                  <a:schemeClr val="bg1"/>
                </a:solidFill>
                <a:latin typeface="Frutiger LT Com 45 Light" panose="020B0303030504020204" pitchFamily="34" charset="0"/>
              </a:rPr>
              <a:t>nonumy imanenter status ex landum </a:t>
            </a:r>
            <a:r>
              <a:rPr lang="de-DE" sz="1400" b="1" err="1">
                <a:solidFill>
                  <a:schemeClr val="bg1"/>
                </a:solidFill>
                <a:latin typeface="Frutiger LT Com 45 Light" panose="020B0303030504020204" pitchFamily="34" charset="0"/>
              </a:rPr>
              <a:t>it </a:t>
            </a:r>
            <a:endParaRPr kumimoji="0" lang="de-DE" sz="1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Frutiger LT Com 45 Light" panose="020B0303030504020204" pitchFamily="34" charset="0"/>
            </a:endParaRPr>
          </a:p>
        </p:txBody>
      </p:sp>
      <p:grpSp>
        <p:nvGrpSpPr>
          <p:cNvPr id="13" name="Group 1">
            <a:extLst>
              <a:ext uri="{FF2B5EF4-FFF2-40B4-BE49-F238E27FC236}">
                <a16:creationId xmlns:a16="http://schemas.microsoft.com/office/drawing/2014/main" id="{A17B7281-5125-46BA-A6FF-964EEF58B3CE}"/>
              </a:ext>
            </a:extLst>
          </p:cNvPr>
          <p:cNvGrpSpPr/>
          <p:nvPr/>
        </p:nvGrpSpPr>
        <p:grpSpPr bwMode="gray">
          <a:xfrm>
            <a:off x="6581562" y="3619933"/>
            <a:ext cx="4870395" cy="979044"/>
            <a:chOff x="1884382" y="3135788"/>
            <a:chExt cx="8430007" cy="1000426"/>
          </a:xfrm>
        </p:grpSpPr>
        <p:cxnSp>
          <p:nvCxnSpPr>
            <p:cNvPr id="14" name="Elbow Connector 3">
              <a:extLst>
                <a:ext uri="{FF2B5EF4-FFF2-40B4-BE49-F238E27FC236}">
                  <a16:creationId xmlns:a16="http://schemas.microsoft.com/office/drawing/2014/main" id="{876DD779-82F0-495D-ABCB-950D818D1F1B}"/>
                </a:ext>
              </a:extLst>
            </p:cNvPr>
            <p:cNvCxnSpPr/>
            <p:nvPr/>
          </p:nvCxnSpPr>
          <p:spPr bwMode="gray">
            <a:xfrm rot="10800000" flipH="1">
              <a:off x="1884382" y="3135789"/>
              <a:ext cx="343516" cy="1000425"/>
            </a:xfrm>
            <a:prstGeom prst="bentConnector3">
              <a:avLst>
                <a:gd name="adj1" fmla="val -66547"/>
              </a:avLst>
            </a:prstGeom>
            <a:solidFill>
              <a:schemeClr val="tx2"/>
            </a:solidFill>
            <a:ln w="12700" cap="flat" cmpd="sng" algn="ctr">
              <a:solidFill>
                <a:schemeClr val="accent2"/>
              </a:solidFill>
              <a:prstDash val="solid"/>
              <a:round/>
              <a:headEnd type="none" w="lg" len="lg"/>
              <a:tailEnd type="triangle" w="lg" len="lg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Elbow Connector 5">
              <a:extLst>
                <a:ext uri="{FF2B5EF4-FFF2-40B4-BE49-F238E27FC236}">
                  <a16:creationId xmlns:a16="http://schemas.microsoft.com/office/drawing/2014/main" id="{472DAF35-D4FC-45DB-A428-234AEF51AA6B}"/>
                </a:ext>
              </a:extLst>
            </p:cNvPr>
            <p:cNvCxnSpPr/>
            <p:nvPr/>
          </p:nvCxnSpPr>
          <p:spPr bwMode="gray">
            <a:xfrm flipH="1">
              <a:off x="9970032" y="3135788"/>
              <a:ext cx="344357" cy="1000425"/>
            </a:xfrm>
            <a:prstGeom prst="bentConnector3">
              <a:avLst>
                <a:gd name="adj1" fmla="val -66385"/>
              </a:avLst>
            </a:prstGeom>
            <a:solidFill>
              <a:schemeClr val="tx2"/>
            </a:solidFill>
            <a:ln w="12700" cap="flat" cmpd="sng" algn="ctr">
              <a:solidFill>
                <a:schemeClr val="accent2"/>
              </a:solidFill>
              <a:prstDash val="solid"/>
              <a:round/>
              <a:headEnd type="none" w="lg" len="lg"/>
              <a:tailEnd type="triangle" w="lg" len="lg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6" name="Eingekerbter Richtungspfeil 36">
            <a:extLst>
              <a:ext uri="{FF2B5EF4-FFF2-40B4-BE49-F238E27FC236}">
                <a16:creationId xmlns:a16="http://schemas.microsoft.com/office/drawing/2014/main" id="{F147AA27-0FFE-49AE-A9B3-EBD92B782020}"/>
              </a:ext>
            </a:extLst>
          </p:cNvPr>
          <p:cNvSpPr/>
          <p:nvPr/>
        </p:nvSpPr>
        <p:spPr bwMode="gray">
          <a:xfrm>
            <a:off x="7040735" y="3247779"/>
            <a:ext cx="1445350" cy="748593"/>
          </a:xfrm>
          <a:prstGeom prst="chevron">
            <a:avLst>
              <a:gd name="adj" fmla="val 24559"/>
            </a:avLst>
          </a:prstGeom>
          <a:solidFill>
            <a:schemeClr val="accent2"/>
          </a:solidFill>
          <a:ln>
            <a:noFill/>
          </a:ln>
          <a:effectLst/>
        </p:spPr>
        <p:txBody>
          <a:bodyPr vert="horz" wrap="square" lIns="180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</a:pPr>
            <a:r>
              <a:rPr lang="de-DE" sz="1400" dirty="0" err="1">
                <a:solidFill>
                  <a:schemeClr val="bg1"/>
                </a:solidFill>
                <a:latin typeface="+mj-lt"/>
              </a:rPr>
              <a:t>Crasedu</a:t>
            </a:r>
            <a:r>
              <a:rPr lang="de-DE" sz="14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+mj-lt"/>
              </a:rPr>
              <a:t>ultrici</a:t>
            </a:r>
            <a:r>
              <a:rPr lang="de-DE" sz="14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+mj-lt"/>
              </a:rPr>
              <a:t>eu</a:t>
            </a:r>
            <a:endParaRPr lang="de-DE" sz="1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Eingekerbter Richtungspfeil 36">
            <a:extLst>
              <a:ext uri="{FF2B5EF4-FFF2-40B4-BE49-F238E27FC236}">
                <a16:creationId xmlns:a16="http://schemas.microsoft.com/office/drawing/2014/main" id="{89917CC9-3FE5-43C7-988E-FDEE001640FB}"/>
              </a:ext>
            </a:extLst>
          </p:cNvPr>
          <p:cNvSpPr/>
          <p:nvPr/>
        </p:nvSpPr>
        <p:spPr bwMode="gray">
          <a:xfrm>
            <a:off x="8424195" y="3247779"/>
            <a:ext cx="1445350" cy="748593"/>
          </a:xfrm>
          <a:prstGeom prst="chevron">
            <a:avLst>
              <a:gd name="adj" fmla="val 24559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vert="horz" wrap="square" lIns="180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buClrTx/>
              <a:buSzTx/>
              <a:buFontTx/>
              <a:buNone/>
              <a:tabLst/>
            </a:pPr>
            <a:r>
              <a:rPr kumimoji="0" lang="de-DE" sz="1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Frutiger LT Com 45 Light" panose="020B0303030504020204" pitchFamily="34" charset="0"/>
              </a:rPr>
              <a:t>At </a:t>
            </a:r>
            <a:r>
              <a:rPr kumimoji="0" lang="de-DE" sz="1400" b="1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Frutiger LT Com 45 Light" panose="020B0303030504020204" pitchFamily="34" charset="0"/>
              </a:rPr>
              <a:t>vero</a:t>
            </a:r>
            <a:r>
              <a:rPr kumimoji="0" lang="de-DE" sz="1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Frutiger LT Com 45 Light" panose="020B0303030504020204" pitchFamily="34" charset="0"/>
              </a:rPr>
              <a:t> </a:t>
            </a:r>
            <a:r>
              <a:rPr kumimoji="0" lang="de-DE" sz="1400" b="1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Frutiger LT Com 45 Light" panose="020B0303030504020204" pitchFamily="34" charset="0"/>
              </a:rPr>
              <a:t>accusam</a:t>
            </a:r>
            <a:endParaRPr kumimoji="0" lang="de-DE" sz="1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Frutiger LT Com 45 Light" panose="020B0303030504020204" pitchFamily="34" charset="0"/>
            </a:endParaRPr>
          </a:p>
        </p:txBody>
      </p:sp>
      <p:sp>
        <p:nvSpPr>
          <p:cNvPr id="18" name="Eingekerbter Richtungspfeil 36">
            <a:extLst>
              <a:ext uri="{FF2B5EF4-FFF2-40B4-BE49-F238E27FC236}">
                <a16:creationId xmlns:a16="http://schemas.microsoft.com/office/drawing/2014/main" id="{45239726-BA25-4DEA-B5F9-CF6342E13234}"/>
              </a:ext>
            </a:extLst>
          </p:cNvPr>
          <p:cNvSpPr/>
          <p:nvPr/>
        </p:nvSpPr>
        <p:spPr bwMode="gray">
          <a:xfrm>
            <a:off x="9807656" y="3247779"/>
            <a:ext cx="1445350" cy="748593"/>
          </a:xfrm>
          <a:prstGeom prst="chevron">
            <a:avLst>
              <a:gd name="adj" fmla="val 24559"/>
            </a:avLst>
          </a:prstGeom>
          <a:solidFill>
            <a:schemeClr val="accent5"/>
          </a:solidFill>
          <a:ln>
            <a:noFill/>
          </a:ln>
          <a:effectLst/>
        </p:spPr>
        <p:txBody>
          <a:bodyPr vert="horz" wrap="square" lIns="180000" tIns="72000" rIns="72000" bIns="72000" numCol="1" rtlCol="0" anchor="ctr" anchorCtr="0" compatLnSpc="1">
            <a:prstTxWarp prst="textNoShape">
              <a:avLst/>
            </a:prstTxWarp>
            <a:normAutofit/>
          </a:bodyPr>
          <a:lstStyle/>
          <a:p>
            <a:pPr marL="0" marR="0" indent="0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buClrTx/>
              <a:buSzTx/>
              <a:buFontTx/>
              <a:buNone/>
              <a:tabLst/>
            </a:pPr>
            <a:r>
              <a:rPr kumimoji="0" lang="de-DE" sz="1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Frutiger LT Com 45 Light" panose="020B0303030504020204" pitchFamily="34" charset="0"/>
              </a:rPr>
              <a:t>Duis </a:t>
            </a:r>
            <a:r>
              <a:rPr kumimoji="0" lang="de-DE" sz="1400" b="1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Frutiger LT Com 45 Light" panose="020B0303030504020204" pitchFamily="34" charset="0"/>
              </a:rPr>
              <a:t>arcu</a:t>
            </a:r>
            <a:r>
              <a:rPr kumimoji="0" lang="de-DE" sz="1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Frutiger LT Com 45 Light" panose="020B0303030504020204" pitchFamily="34" charset="0"/>
              </a:rPr>
              <a:t>, </a:t>
            </a:r>
            <a:r>
              <a:rPr kumimoji="0" lang="de-DE" sz="1400" b="1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Frutiger LT Com 45 Light" panose="020B0303030504020204" pitchFamily="34" charset="0"/>
              </a:rPr>
              <a:t>sipit</a:t>
            </a:r>
            <a:r>
              <a:rPr kumimoji="0" lang="de-DE" sz="1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Frutiger LT Com 45 Light" panose="020B0303030504020204" pitchFamily="34" charset="0"/>
              </a:rPr>
              <a:t> </a:t>
            </a:r>
            <a:r>
              <a:rPr kumimoji="0" lang="de-DE" sz="1400" b="1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Frutiger LT Com 45 Light" panose="020B0303030504020204" pitchFamily="34" charset="0"/>
              </a:rPr>
              <a:t>eget</a:t>
            </a:r>
            <a:endParaRPr kumimoji="0" lang="de-DE" sz="1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Frutiger LT Com 45 Light" panose="020B0303030504020204" pitchFamily="34" charset="0"/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C16836E-65C6-4AA1-BA72-9EE838552290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5D85F12F-2270-4580-A959-13071A4ABC1B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4E537E28-B366-423B-8A2B-8BAB2E77BC4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85B73EF2-81AD-476E-A946-F141F2A880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3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6853052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6897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Freihandform: Form 39">
            <a:extLst>
              <a:ext uri="{FF2B5EF4-FFF2-40B4-BE49-F238E27FC236}">
                <a16:creationId xmlns:a16="http://schemas.microsoft.com/office/drawing/2014/main" id="{6C5727D8-6052-4A96-9453-DBA893210C29}"/>
              </a:ext>
            </a:extLst>
          </p:cNvPr>
          <p:cNvSpPr>
            <a:spLocks/>
          </p:cNvSpPr>
          <p:nvPr/>
        </p:nvSpPr>
        <p:spPr bwMode="gray">
          <a:xfrm>
            <a:off x="1557442" y="1700213"/>
            <a:ext cx="4359171" cy="1152000"/>
          </a:xfrm>
          <a:custGeom>
            <a:avLst/>
            <a:gdLst>
              <a:gd name="connsiteX0" fmla="*/ 0 w 4359171"/>
              <a:gd name="connsiteY0" fmla="*/ 0 h 1152000"/>
              <a:gd name="connsiteX1" fmla="*/ 4359171 w 4359171"/>
              <a:gd name="connsiteY1" fmla="*/ 0 h 1152000"/>
              <a:gd name="connsiteX2" fmla="*/ 4359171 w 4359171"/>
              <a:gd name="connsiteY2" fmla="*/ 1152000 h 1152000"/>
              <a:gd name="connsiteX3" fmla="*/ 0 w 4359171"/>
              <a:gd name="connsiteY3" fmla="*/ 1152000 h 1152000"/>
              <a:gd name="connsiteX4" fmla="*/ 321719 w 4359171"/>
              <a:gd name="connsiteY4" fmla="*/ 576000 h 11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59171" h="1152000">
                <a:moveTo>
                  <a:pt x="0" y="0"/>
                </a:moveTo>
                <a:lnTo>
                  <a:pt x="4359171" y="0"/>
                </a:lnTo>
                <a:lnTo>
                  <a:pt x="4359171" y="1152000"/>
                </a:lnTo>
                <a:lnTo>
                  <a:pt x="0" y="1152000"/>
                </a:lnTo>
                <a:lnTo>
                  <a:pt x="321719" y="5760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1" name="Freihandform: Form 40">
            <a:extLst>
              <a:ext uri="{FF2B5EF4-FFF2-40B4-BE49-F238E27FC236}">
                <a16:creationId xmlns:a16="http://schemas.microsoft.com/office/drawing/2014/main" id="{C31680B2-1A8D-45CD-9029-CC3E9296982B}"/>
              </a:ext>
            </a:extLst>
          </p:cNvPr>
          <p:cNvSpPr>
            <a:spLocks/>
          </p:cNvSpPr>
          <p:nvPr/>
        </p:nvSpPr>
        <p:spPr bwMode="gray">
          <a:xfrm>
            <a:off x="1557442" y="3077128"/>
            <a:ext cx="4359171" cy="1152000"/>
          </a:xfrm>
          <a:custGeom>
            <a:avLst/>
            <a:gdLst>
              <a:gd name="connsiteX0" fmla="*/ 0 w 4359171"/>
              <a:gd name="connsiteY0" fmla="*/ 0 h 1152000"/>
              <a:gd name="connsiteX1" fmla="*/ 4359171 w 4359171"/>
              <a:gd name="connsiteY1" fmla="*/ 0 h 1152000"/>
              <a:gd name="connsiteX2" fmla="*/ 4359171 w 4359171"/>
              <a:gd name="connsiteY2" fmla="*/ 1152000 h 1152000"/>
              <a:gd name="connsiteX3" fmla="*/ 0 w 4359171"/>
              <a:gd name="connsiteY3" fmla="*/ 1152000 h 1152000"/>
              <a:gd name="connsiteX4" fmla="*/ 321719 w 4359171"/>
              <a:gd name="connsiteY4" fmla="*/ 576000 h 11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59171" h="1152000">
                <a:moveTo>
                  <a:pt x="0" y="0"/>
                </a:moveTo>
                <a:lnTo>
                  <a:pt x="4359171" y="0"/>
                </a:lnTo>
                <a:lnTo>
                  <a:pt x="4359171" y="1152000"/>
                </a:lnTo>
                <a:lnTo>
                  <a:pt x="0" y="1152000"/>
                </a:lnTo>
                <a:lnTo>
                  <a:pt x="321719" y="57600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2" name="Freihandform: Form 41">
            <a:extLst>
              <a:ext uri="{FF2B5EF4-FFF2-40B4-BE49-F238E27FC236}">
                <a16:creationId xmlns:a16="http://schemas.microsoft.com/office/drawing/2014/main" id="{7BB3F480-1832-4534-A1B9-2770EB49D47E}"/>
              </a:ext>
            </a:extLst>
          </p:cNvPr>
          <p:cNvSpPr>
            <a:spLocks/>
          </p:cNvSpPr>
          <p:nvPr/>
        </p:nvSpPr>
        <p:spPr bwMode="gray">
          <a:xfrm>
            <a:off x="1557442" y="4454043"/>
            <a:ext cx="4359171" cy="1152000"/>
          </a:xfrm>
          <a:custGeom>
            <a:avLst/>
            <a:gdLst>
              <a:gd name="connsiteX0" fmla="*/ 0 w 4359171"/>
              <a:gd name="connsiteY0" fmla="*/ 0 h 1152000"/>
              <a:gd name="connsiteX1" fmla="*/ 4359171 w 4359171"/>
              <a:gd name="connsiteY1" fmla="*/ 0 h 1152000"/>
              <a:gd name="connsiteX2" fmla="*/ 4359171 w 4359171"/>
              <a:gd name="connsiteY2" fmla="*/ 1152000 h 1152000"/>
              <a:gd name="connsiteX3" fmla="*/ 0 w 4359171"/>
              <a:gd name="connsiteY3" fmla="*/ 1152000 h 1152000"/>
              <a:gd name="connsiteX4" fmla="*/ 321719 w 4359171"/>
              <a:gd name="connsiteY4" fmla="*/ 576000 h 11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59171" h="1152000">
                <a:moveTo>
                  <a:pt x="0" y="0"/>
                </a:moveTo>
                <a:lnTo>
                  <a:pt x="4359171" y="0"/>
                </a:lnTo>
                <a:lnTo>
                  <a:pt x="4359171" y="1152000"/>
                </a:lnTo>
                <a:lnTo>
                  <a:pt x="0" y="1152000"/>
                </a:lnTo>
                <a:lnTo>
                  <a:pt x="321719" y="576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1" name="Pfeil: Fünfeck 30">
            <a:extLst>
              <a:ext uri="{FF2B5EF4-FFF2-40B4-BE49-F238E27FC236}">
                <a16:creationId xmlns:a16="http://schemas.microsoft.com/office/drawing/2014/main" id="{AEB2BD4F-9AA2-4E5C-B688-3E0690225031}"/>
              </a:ext>
            </a:extLst>
          </p:cNvPr>
          <p:cNvSpPr>
            <a:spLocks/>
          </p:cNvSpPr>
          <p:nvPr/>
        </p:nvSpPr>
        <p:spPr bwMode="gray">
          <a:xfrm>
            <a:off x="477838" y="1700213"/>
            <a:ext cx="1282868" cy="1152000"/>
          </a:xfrm>
          <a:prstGeom prst="homePlate">
            <a:avLst>
              <a:gd name="adj" fmla="val 2792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2" name="Pfeil: Fünfeck 31">
            <a:extLst>
              <a:ext uri="{FF2B5EF4-FFF2-40B4-BE49-F238E27FC236}">
                <a16:creationId xmlns:a16="http://schemas.microsoft.com/office/drawing/2014/main" id="{859E34C5-E308-487F-90FE-2D60FD9A2321}"/>
              </a:ext>
            </a:extLst>
          </p:cNvPr>
          <p:cNvSpPr>
            <a:spLocks/>
          </p:cNvSpPr>
          <p:nvPr/>
        </p:nvSpPr>
        <p:spPr bwMode="gray">
          <a:xfrm>
            <a:off x="477838" y="3077128"/>
            <a:ext cx="1282868" cy="1152000"/>
          </a:xfrm>
          <a:prstGeom prst="homePlate">
            <a:avLst>
              <a:gd name="adj" fmla="val 2792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3" name="Pfeil: Fünfeck 32">
            <a:extLst>
              <a:ext uri="{FF2B5EF4-FFF2-40B4-BE49-F238E27FC236}">
                <a16:creationId xmlns:a16="http://schemas.microsoft.com/office/drawing/2014/main" id="{82F9C88F-EDA6-4BA0-9AAB-CE798C415D06}"/>
              </a:ext>
            </a:extLst>
          </p:cNvPr>
          <p:cNvSpPr>
            <a:spLocks/>
          </p:cNvSpPr>
          <p:nvPr/>
        </p:nvSpPr>
        <p:spPr bwMode="gray">
          <a:xfrm>
            <a:off x="477838" y="4454043"/>
            <a:ext cx="1282868" cy="1152000"/>
          </a:xfrm>
          <a:prstGeom prst="homePlate">
            <a:avLst>
              <a:gd name="adj" fmla="val 27927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Headline, Frutiger LT Com Bd, 24 pt, Aufzählung</a:t>
            </a:r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FF3CD05-5412-4A5D-98D6-F5796119A5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EDF8B6C9-5651-40D9-A03F-7AF877091A6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3588546"/>
          </a:xfrm>
        </p:spPr>
        <p:txBody>
          <a:bodyPr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alusi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.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caiusticus</a:t>
            </a:r>
            <a:r>
              <a:rPr lang="de-DE" dirty="0"/>
              <a:t> </a:t>
            </a:r>
            <a:r>
              <a:rPr lang="de-DE" dirty="0" err="1"/>
              <a:t>aurum</a:t>
            </a:r>
            <a:r>
              <a:rPr lang="de-DE" dirty="0"/>
              <a:t> </a:t>
            </a:r>
            <a:r>
              <a:rPr lang="de-DE" dirty="0" err="1"/>
              <a:t>eum</a:t>
            </a:r>
            <a:r>
              <a:rPr lang="de-DE" dirty="0"/>
              <a:t> </a:t>
            </a:r>
            <a:r>
              <a:rPr lang="de-DE" dirty="0" err="1"/>
              <a:t>explindus</a:t>
            </a:r>
            <a:r>
              <a:rPr lang="de-DE" dirty="0"/>
              <a:t>. Status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. </a:t>
            </a:r>
            <a:r>
              <a:rPr lang="de-DE" dirty="0" err="1"/>
              <a:t>Let</a:t>
            </a:r>
            <a:r>
              <a:rPr lang="de-DE" dirty="0"/>
              <a:t>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. 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4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  <a:p>
            <a:pPr lvl="4"/>
            <a:r>
              <a:rPr lang="de-DE" dirty="0"/>
              <a:t>Level 2</a:t>
            </a:r>
          </a:p>
          <a:p>
            <a:pPr lvl="5"/>
            <a:r>
              <a:rPr lang="de-DE" dirty="0"/>
              <a:t>Level 3</a:t>
            </a:r>
          </a:p>
          <a:p>
            <a:pPr lvl="3"/>
            <a:r>
              <a:rPr lang="de-DE" dirty="0"/>
              <a:t>Level 1</a:t>
            </a:r>
          </a:p>
        </p:txBody>
      </p:sp>
      <p:sp>
        <p:nvSpPr>
          <p:cNvPr id="25" name="Google Shape;7762;p147">
            <a:extLst>
              <a:ext uri="{FF2B5EF4-FFF2-40B4-BE49-F238E27FC236}">
                <a16:creationId xmlns:a16="http://schemas.microsoft.com/office/drawing/2014/main" id="{CA4DFA29-42B3-408A-A6FB-7EC9449AF6DF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97674" y="1842962"/>
            <a:ext cx="942020" cy="8665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>
                <a:srgbClr val="374140"/>
              </a:buClr>
              <a:buSzPts val="4400"/>
              <a:buFont typeface="Open Sans Semibold" panose="020B0706030804020204" pitchFamily="34" charset="0"/>
              <a:buNone/>
            </a:pPr>
            <a:r>
              <a:rPr lang="de-DE" altLang="en-US" sz="4400" dirty="0">
                <a:solidFill>
                  <a:schemeClr val="bg1"/>
                </a:solidFill>
                <a:latin typeface="+mj-lt"/>
                <a:cs typeface="Open Sans Semibold" panose="020B0706030804020204" pitchFamily="34" charset="0"/>
                <a:sym typeface="Open Sans Semibold" panose="020B0706030804020204" pitchFamily="34" charset="0"/>
              </a:rPr>
              <a:t>1</a:t>
            </a:r>
            <a:endParaRPr lang="de-DE" altLang="en-US" sz="1400" dirty="0">
              <a:solidFill>
                <a:schemeClr val="bg1"/>
              </a:solidFill>
              <a:latin typeface="+mj-lt"/>
              <a:cs typeface="Open Sans Semibold" panose="020B0706030804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Google Shape;7766;p147">
            <a:extLst>
              <a:ext uri="{FF2B5EF4-FFF2-40B4-BE49-F238E27FC236}">
                <a16:creationId xmlns:a16="http://schemas.microsoft.com/office/drawing/2014/main" id="{19D14D75-3E04-4BD5-9005-2D39E4BAE038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039606" y="1898417"/>
            <a:ext cx="3481370" cy="755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no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lvl="2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de-DE" sz="1400">
                <a:solidFill>
                  <a:schemeClr val="bg1"/>
                </a:solidFill>
                <a:latin typeface="+mj-lt"/>
              </a:rPr>
              <a:t>Option 1, 16 pt</a:t>
            </a:r>
            <a:endParaRPr lang="de-DE" sz="1400" dirty="0">
              <a:solidFill>
                <a:schemeClr val="bg1"/>
              </a:solidFill>
              <a:latin typeface="+mj-lt"/>
            </a:endParaRPr>
          </a:p>
          <a:p>
            <a:pPr>
              <a:lnSpc>
                <a:spcPct val="110000"/>
              </a:lnSpc>
              <a:spcBef>
                <a:spcPts val="0"/>
              </a:spcBef>
              <a:buNone/>
            </a:pPr>
            <a:r>
              <a:rPr lang="de-DE" sz="1400" dirty="0">
                <a:solidFill>
                  <a:schemeClr val="bg1"/>
                </a:solidFill>
                <a:latin typeface="+mn-lt"/>
              </a:rPr>
              <a:t>LT </a:t>
            </a:r>
            <a:r>
              <a:rPr lang="de-DE" sz="1400" err="1">
                <a:solidFill>
                  <a:schemeClr val="bg1"/>
                </a:solidFill>
                <a:latin typeface="+mn-lt"/>
              </a:rPr>
              <a:t>Com</a:t>
            </a:r>
            <a:r>
              <a:rPr lang="de-DE" sz="1400">
                <a:solidFill>
                  <a:schemeClr val="bg1"/>
                </a:solidFill>
                <a:latin typeface="+mn-lt"/>
              </a:rPr>
              <a:t> Lt</a:t>
            </a:r>
            <a:r>
              <a:rPr lang="de-DE" sz="1400" dirty="0">
                <a:solidFill>
                  <a:schemeClr val="bg1"/>
                </a:solidFill>
                <a:latin typeface="+mn-lt"/>
              </a:rPr>
              <a:t>, 14 </a:t>
            </a:r>
            <a:r>
              <a:rPr lang="de-DE" sz="1400" dirty="0" err="1">
                <a:solidFill>
                  <a:schemeClr val="bg1"/>
                </a:solidFill>
                <a:latin typeface="+mn-lt"/>
              </a:rPr>
              <a:t>pt</a:t>
            </a:r>
            <a:r>
              <a:rPr lang="de-DE" sz="1400" dirty="0">
                <a:solidFill>
                  <a:schemeClr val="bg1"/>
                </a:solidFill>
                <a:latin typeface="+mn-lt"/>
              </a:rPr>
              <a:t>. </a:t>
            </a:r>
            <a:r>
              <a:rPr lang="de-DE" sz="1400" dirty="0" err="1">
                <a:solidFill>
                  <a:schemeClr val="bg1"/>
                </a:solidFill>
                <a:latin typeface="+mn-lt"/>
              </a:rPr>
              <a:t>Dolor</a:t>
            </a:r>
            <a:r>
              <a:rPr lang="de-DE" sz="1400" dirty="0">
                <a:solidFill>
                  <a:schemeClr val="bg1"/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+mn-lt"/>
              </a:rPr>
              <a:t>situs</a:t>
            </a:r>
            <a:r>
              <a:rPr lang="de-DE" sz="1400" dirty="0">
                <a:solidFill>
                  <a:schemeClr val="bg1"/>
                </a:solidFill>
                <a:latin typeface="+mn-lt"/>
              </a:rPr>
              <a:t> cum </a:t>
            </a:r>
            <a:r>
              <a:rPr lang="de-DE" sz="1400" dirty="0" err="1">
                <a:solidFill>
                  <a:schemeClr val="bg1"/>
                </a:solidFill>
                <a:latin typeface="+mn-lt"/>
              </a:rPr>
              <a:t>habilitarum</a:t>
            </a:r>
            <a:r>
              <a:rPr lang="de-DE" sz="1400" dirty="0">
                <a:solidFill>
                  <a:schemeClr val="bg1"/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+mn-lt"/>
              </a:rPr>
              <a:t>itum</a:t>
            </a:r>
            <a:r>
              <a:rPr lang="de-DE" sz="1400" dirty="0">
                <a:solidFill>
                  <a:schemeClr val="bg1"/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+mn-lt"/>
              </a:rPr>
              <a:t>dolor</a:t>
            </a:r>
            <a:r>
              <a:rPr lang="de-DE" sz="1400" dirty="0">
                <a:solidFill>
                  <a:schemeClr val="bg1"/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+mn-lt"/>
              </a:rPr>
              <a:t>situs</a:t>
            </a:r>
            <a:r>
              <a:rPr lang="de-DE" sz="1400" dirty="0">
                <a:solidFill>
                  <a:schemeClr val="bg1"/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+mn-lt"/>
              </a:rPr>
              <a:t>ipsum</a:t>
            </a:r>
            <a:r>
              <a:rPr lang="de-DE" sz="1400" dirty="0">
                <a:solidFill>
                  <a:schemeClr val="bg1"/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+mn-lt"/>
              </a:rPr>
              <a:t>est</a:t>
            </a:r>
            <a:endParaRPr lang="de-DE" sz="1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7" name="Google Shape;7762;p147">
            <a:extLst>
              <a:ext uri="{FF2B5EF4-FFF2-40B4-BE49-F238E27FC236}">
                <a16:creationId xmlns:a16="http://schemas.microsoft.com/office/drawing/2014/main" id="{A0283007-8CDC-4A13-AFC5-6A3D50141430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97674" y="3219877"/>
            <a:ext cx="942020" cy="8665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>
                <a:srgbClr val="374140"/>
              </a:buClr>
              <a:buSzPts val="4400"/>
              <a:buFont typeface="Open Sans Semibold" panose="020B0706030804020204" pitchFamily="34" charset="0"/>
              <a:buNone/>
            </a:pPr>
            <a:r>
              <a:rPr lang="de-DE" altLang="en-US" sz="4400" dirty="0">
                <a:solidFill>
                  <a:schemeClr val="bg1"/>
                </a:solidFill>
                <a:latin typeface="+mj-lt"/>
                <a:cs typeface="Open Sans Semibold" panose="020B0706030804020204" pitchFamily="34" charset="0"/>
                <a:sym typeface="Open Sans Semibold" panose="020B0706030804020204" pitchFamily="34" charset="0"/>
              </a:rPr>
              <a:t>2</a:t>
            </a:r>
            <a:endParaRPr lang="de-DE" altLang="en-US" sz="1400" dirty="0">
              <a:solidFill>
                <a:schemeClr val="bg1"/>
              </a:solidFill>
              <a:latin typeface="+mj-lt"/>
              <a:cs typeface="Open Sans Semibold" panose="020B0706030804020204" pitchFamily="34" charset="0"/>
              <a:sym typeface="Arial" panose="020B0604020202020204" pitchFamily="34" charset="0"/>
            </a:endParaRPr>
          </a:p>
        </p:txBody>
      </p:sp>
      <p:sp>
        <p:nvSpPr>
          <p:cNvPr id="28" name="Google Shape;7762;p147">
            <a:extLst>
              <a:ext uri="{FF2B5EF4-FFF2-40B4-BE49-F238E27FC236}">
                <a16:creationId xmlns:a16="http://schemas.microsoft.com/office/drawing/2014/main" id="{38E06E1D-2F95-4E09-8BA7-EDADACD0D90C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97674" y="4596792"/>
            <a:ext cx="942020" cy="8665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>
                <a:srgbClr val="374140"/>
              </a:buClr>
              <a:buSzPts val="4400"/>
              <a:buFont typeface="Open Sans Semibold" panose="020B0706030804020204" pitchFamily="34" charset="0"/>
              <a:buNone/>
            </a:pPr>
            <a:r>
              <a:rPr lang="de-DE" altLang="en-US" sz="4400" dirty="0">
                <a:solidFill>
                  <a:schemeClr val="bg1"/>
                </a:solidFill>
                <a:latin typeface="+mj-lt"/>
                <a:cs typeface="Open Sans Semibold" panose="020B0706030804020204" pitchFamily="34" charset="0"/>
                <a:sym typeface="Open Sans Semibold" panose="020B0706030804020204" pitchFamily="34" charset="0"/>
              </a:rPr>
              <a:t>3</a:t>
            </a:r>
            <a:endParaRPr lang="de-DE" altLang="en-US" sz="1400" dirty="0">
              <a:solidFill>
                <a:schemeClr val="bg1"/>
              </a:solidFill>
              <a:latin typeface="+mj-lt"/>
              <a:cs typeface="Open Sans Semibold" panose="020B0706030804020204" pitchFamily="34" charset="0"/>
              <a:sym typeface="Arial" panose="020B0604020202020204" pitchFamily="34" charset="0"/>
            </a:endParaRPr>
          </a:p>
        </p:txBody>
      </p:sp>
      <p:sp>
        <p:nvSpPr>
          <p:cNvPr id="29" name="Google Shape;7766;p147">
            <a:extLst>
              <a:ext uri="{FF2B5EF4-FFF2-40B4-BE49-F238E27FC236}">
                <a16:creationId xmlns:a16="http://schemas.microsoft.com/office/drawing/2014/main" id="{E0B75D2F-9015-4ABF-A405-1448E661C3C4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039606" y="3275333"/>
            <a:ext cx="3481370" cy="755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no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lvl="2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de-DE" sz="1400">
                <a:solidFill>
                  <a:schemeClr val="bg1"/>
                </a:solidFill>
                <a:latin typeface="+mj-lt"/>
              </a:rPr>
              <a:t>Option 2, 16 pt</a:t>
            </a:r>
            <a:endParaRPr lang="de-DE" sz="1400" dirty="0">
              <a:solidFill>
                <a:schemeClr val="bg1"/>
              </a:solidFill>
              <a:latin typeface="+mj-lt"/>
            </a:endParaRPr>
          </a:p>
          <a:p>
            <a:pPr>
              <a:lnSpc>
                <a:spcPct val="110000"/>
              </a:lnSpc>
              <a:spcBef>
                <a:spcPts val="0"/>
              </a:spcBef>
              <a:buNone/>
            </a:pPr>
            <a:r>
              <a:rPr lang="de-DE" sz="1400" dirty="0">
                <a:solidFill>
                  <a:schemeClr val="bg1"/>
                </a:solidFill>
                <a:latin typeface="+mn-lt"/>
              </a:rPr>
              <a:t>LT </a:t>
            </a:r>
            <a:r>
              <a:rPr lang="de-DE" sz="1400" err="1">
                <a:solidFill>
                  <a:schemeClr val="bg1"/>
                </a:solidFill>
                <a:latin typeface="+mn-lt"/>
              </a:rPr>
              <a:t>Com</a:t>
            </a:r>
            <a:r>
              <a:rPr lang="de-DE" sz="1400">
                <a:solidFill>
                  <a:schemeClr val="bg1"/>
                </a:solidFill>
                <a:latin typeface="+mn-lt"/>
              </a:rPr>
              <a:t> Lt</a:t>
            </a:r>
            <a:r>
              <a:rPr lang="de-DE" sz="1400" dirty="0">
                <a:solidFill>
                  <a:schemeClr val="bg1"/>
                </a:solidFill>
                <a:latin typeface="+mn-lt"/>
              </a:rPr>
              <a:t>, </a:t>
            </a:r>
            <a:r>
              <a:rPr lang="de-DE" sz="1400">
                <a:solidFill>
                  <a:schemeClr val="bg1"/>
                </a:solidFill>
                <a:latin typeface="+mn-lt"/>
              </a:rPr>
              <a:t>14 pt. </a:t>
            </a:r>
            <a:r>
              <a:rPr lang="de-DE" sz="1400" dirty="0" err="1">
                <a:solidFill>
                  <a:schemeClr val="bg1"/>
                </a:solidFill>
                <a:latin typeface="+mn-lt"/>
              </a:rPr>
              <a:t>Dolor</a:t>
            </a:r>
            <a:r>
              <a:rPr lang="de-DE" sz="1400" dirty="0">
                <a:solidFill>
                  <a:schemeClr val="bg1"/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+mn-lt"/>
              </a:rPr>
              <a:t>situs</a:t>
            </a:r>
            <a:r>
              <a:rPr lang="de-DE" sz="1400" dirty="0">
                <a:solidFill>
                  <a:schemeClr val="bg1"/>
                </a:solidFill>
                <a:latin typeface="+mn-lt"/>
              </a:rPr>
              <a:t> cum </a:t>
            </a:r>
            <a:r>
              <a:rPr lang="de-DE" sz="1400" dirty="0" err="1">
                <a:solidFill>
                  <a:schemeClr val="bg1"/>
                </a:solidFill>
                <a:latin typeface="+mn-lt"/>
              </a:rPr>
              <a:t>habilitarum</a:t>
            </a:r>
            <a:r>
              <a:rPr lang="de-DE" sz="1400" dirty="0">
                <a:solidFill>
                  <a:schemeClr val="bg1"/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+mn-lt"/>
              </a:rPr>
              <a:t>itum</a:t>
            </a:r>
            <a:r>
              <a:rPr lang="de-DE" sz="1400" dirty="0">
                <a:solidFill>
                  <a:schemeClr val="bg1"/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+mn-lt"/>
              </a:rPr>
              <a:t>dolor</a:t>
            </a:r>
            <a:r>
              <a:rPr lang="de-DE" sz="1400" dirty="0">
                <a:solidFill>
                  <a:schemeClr val="bg1"/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+mn-lt"/>
              </a:rPr>
              <a:t>situs</a:t>
            </a:r>
            <a:r>
              <a:rPr lang="de-DE" sz="1400" dirty="0">
                <a:solidFill>
                  <a:schemeClr val="bg1"/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+mn-lt"/>
              </a:rPr>
              <a:t>ipsum</a:t>
            </a:r>
            <a:r>
              <a:rPr lang="de-DE" sz="1400" dirty="0">
                <a:solidFill>
                  <a:schemeClr val="bg1"/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+mn-lt"/>
              </a:rPr>
              <a:t>est</a:t>
            </a:r>
            <a:endParaRPr lang="de-DE" sz="1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0" name="Google Shape;7766;p147">
            <a:extLst>
              <a:ext uri="{FF2B5EF4-FFF2-40B4-BE49-F238E27FC236}">
                <a16:creationId xmlns:a16="http://schemas.microsoft.com/office/drawing/2014/main" id="{087C2760-BDE2-4679-844D-A8A729AE13AE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039606" y="4652247"/>
            <a:ext cx="3481370" cy="755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no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lvl="2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de-DE" sz="1400">
                <a:solidFill>
                  <a:schemeClr val="bg1"/>
                </a:solidFill>
                <a:latin typeface="+mj-lt"/>
              </a:rPr>
              <a:t>Option 3, 16 pt</a:t>
            </a:r>
            <a:endParaRPr lang="de-DE" sz="1400" dirty="0">
              <a:solidFill>
                <a:schemeClr val="bg1"/>
              </a:solidFill>
              <a:latin typeface="+mj-lt"/>
            </a:endParaRPr>
          </a:p>
          <a:p>
            <a:pPr>
              <a:lnSpc>
                <a:spcPct val="110000"/>
              </a:lnSpc>
              <a:spcBef>
                <a:spcPts val="0"/>
              </a:spcBef>
              <a:buNone/>
            </a:pPr>
            <a:r>
              <a:rPr lang="de-DE" sz="1400" dirty="0">
                <a:solidFill>
                  <a:schemeClr val="bg1"/>
                </a:solidFill>
                <a:latin typeface="+mn-lt"/>
              </a:rPr>
              <a:t>LT </a:t>
            </a:r>
            <a:r>
              <a:rPr lang="de-DE" sz="1400" err="1">
                <a:solidFill>
                  <a:schemeClr val="bg1"/>
                </a:solidFill>
                <a:latin typeface="+mn-lt"/>
              </a:rPr>
              <a:t>Com</a:t>
            </a:r>
            <a:r>
              <a:rPr lang="de-DE" sz="1400">
                <a:solidFill>
                  <a:schemeClr val="bg1"/>
                </a:solidFill>
                <a:latin typeface="+mn-lt"/>
              </a:rPr>
              <a:t> Lt</a:t>
            </a:r>
            <a:r>
              <a:rPr lang="de-DE" sz="1400" dirty="0">
                <a:solidFill>
                  <a:schemeClr val="bg1"/>
                </a:solidFill>
                <a:latin typeface="+mn-lt"/>
              </a:rPr>
              <a:t>, </a:t>
            </a:r>
            <a:r>
              <a:rPr lang="de-DE" sz="1400">
                <a:solidFill>
                  <a:schemeClr val="bg1"/>
                </a:solidFill>
                <a:latin typeface="+mn-lt"/>
              </a:rPr>
              <a:t>14 pt. </a:t>
            </a:r>
            <a:r>
              <a:rPr lang="de-DE" sz="1400" dirty="0" err="1">
                <a:solidFill>
                  <a:schemeClr val="bg1"/>
                </a:solidFill>
                <a:latin typeface="+mn-lt"/>
              </a:rPr>
              <a:t>Dolor</a:t>
            </a:r>
            <a:r>
              <a:rPr lang="de-DE" sz="1400" dirty="0">
                <a:solidFill>
                  <a:schemeClr val="bg1"/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+mn-lt"/>
              </a:rPr>
              <a:t>situs</a:t>
            </a:r>
            <a:r>
              <a:rPr lang="de-DE" sz="1400" dirty="0">
                <a:solidFill>
                  <a:schemeClr val="bg1"/>
                </a:solidFill>
                <a:latin typeface="+mn-lt"/>
              </a:rPr>
              <a:t> cum </a:t>
            </a:r>
            <a:r>
              <a:rPr lang="de-DE" sz="1400" dirty="0" err="1">
                <a:solidFill>
                  <a:schemeClr val="bg1"/>
                </a:solidFill>
                <a:latin typeface="+mn-lt"/>
              </a:rPr>
              <a:t>habilitarum</a:t>
            </a:r>
            <a:r>
              <a:rPr lang="de-DE" sz="1400" dirty="0">
                <a:solidFill>
                  <a:schemeClr val="bg1"/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+mn-lt"/>
              </a:rPr>
              <a:t>itum</a:t>
            </a:r>
            <a:r>
              <a:rPr lang="de-DE" sz="1400" dirty="0">
                <a:solidFill>
                  <a:schemeClr val="bg1"/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+mn-lt"/>
              </a:rPr>
              <a:t>dolor</a:t>
            </a:r>
            <a:r>
              <a:rPr lang="de-DE" sz="1400" dirty="0">
                <a:solidFill>
                  <a:schemeClr val="bg1"/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+mn-lt"/>
              </a:rPr>
              <a:t>situs</a:t>
            </a:r>
            <a:r>
              <a:rPr lang="de-DE" sz="1400" dirty="0">
                <a:solidFill>
                  <a:schemeClr val="bg1"/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+mn-lt"/>
              </a:rPr>
              <a:t>ipsum</a:t>
            </a:r>
            <a:r>
              <a:rPr lang="de-DE" sz="1400" dirty="0">
                <a:solidFill>
                  <a:schemeClr val="bg1"/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chemeClr val="bg1"/>
                </a:solidFill>
                <a:latin typeface="+mn-lt"/>
              </a:rPr>
              <a:t>est</a:t>
            </a:r>
            <a:endParaRPr lang="de-DE" sz="1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7FE9E2C8-F97D-422C-8F18-A43654FC82FE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D7969423-6C68-44CA-BA44-E4263819CA84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019ABA4-17ED-456B-A8FC-77A746B67E1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47BE948-6247-44CF-80CB-C9C33571DBF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3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771710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F6344B7-B04A-4214-BF2C-E5457B1441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0102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C240843-948F-43BA-BB78-2CFF2F3170F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288"/>
            <a:ext cx="11233150" cy="382733"/>
          </a:xfrm>
        </p:spPr>
        <p:txBody>
          <a:bodyPr vert="horz"/>
          <a:lstStyle/>
          <a:p>
            <a:r>
              <a:rPr lang="de-DE"/>
              <a:t>Headline, Frutiger LT Com Bd, 24 pt, Aufzählung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1737AF2-B338-4186-99A5-84F6332161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9318"/>
          </a:xfrm>
        </p:spPr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AA61EA24-9B46-46D0-97E2-F3176AC019DF}"/>
              </a:ext>
            </a:extLst>
          </p:cNvPr>
          <p:cNvSpPr txBox="1">
            <a:spLocks/>
          </p:cNvSpPr>
          <p:nvPr/>
        </p:nvSpPr>
        <p:spPr bwMode="gray">
          <a:xfrm>
            <a:off x="0" y="1700213"/>
            <a:ext cx="3000375" cy="4284662"/>
          </a:xfrm>
          <a:prstGeom prst="rect">
            <a:avLst/>
          </a:prstGeom>
          <a:gradFill flip="none" rotWithShape="1">
            <a:gsLst>
              <a:gs pos="34000">
                <a:srgbClr val="00779A"/>
              </a:gs>
              <a:gs pos="0">
                <a:srgbClr val="014A6B"/>
              </a:gs>
              <a:gs pos="74000">
                <a:schemeClr val="accent5">
                  <a:lumMod val="90000"/>
                  <a:lumOff val="10000"/>
                </a:schemeClr>
              </a:gs>
              <a:gs pos="100000">
                <a:srgbClr val="09B2AC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288000" rIns="288000" bIns="288000" numCol="1" spcCol="360000" anchor="ctr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de-DE" dirty="0"/>
              <a:t>Frutiger </a:t>
            </a:r>
            <a:r>
              <a:rPr lang="de-DE"/>
              <a:t>LT Com Bd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/>
              <a:t>16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. </a:t>
            </a:r>
            <a:r>
              <a:rPr lang="de-DE" dirty="0" err="1"/>
              <a:t>Sit</a:t>
            </a:r>
            <a:r>
              <a:rPr lang="de-DE" dirty="0"/>
              <a:t> i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u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 </a:t>
            </a:r>
            <a:r>
              <a:rPr lang="de-DE" dirty="0" err="1"/>
              <a:t>caiusticus</a:t>
            </a:r>
            <a:r>
              <a:rPr lang="de-DE" dirty="0"/>
              <a:t> s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exlan</a:t>
            </a:r>
            <a:r>
              <a:rPr lang="de-DE" dirty="0"/>
              <a:t> </a:t>
            </a:r>
            <a:r>
              <a:rPr lang="de-DE" dirty="0" err="1"/>
              <a:t>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aurum</a:t>
            </a:r>
            <a:r>
              <a:rPr lang="de-DE" dirty="0"/>
              <a:t> </a:t>
            </a:r>
            <a:r>
              <a:rPr lang="de-DE" dirty="0" err="1"/>
              <a:t>eum</a:t>
            </a:r>
            <a:r>
              <a:rPr lang="de-DE" dirty="0"/>
              <a:t> </a:t>
            </a:r>
            <a:r>
              <a:rPr lang="de-DE" dirty="0" err="1"/>
              <a:t>explindus</a:t>
            </a:r>
            <a:r>
              <a:rPr lang="de-DE" dirty="0"/>
              <a:t>. 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3F02AE69-12F0-4AF7-A789-99ACC1F59EDA}"/>
              </a:ext>
            </a:extLst>
          </p:cNvPr>
          <p:cNvSpPr>
            <a:spLocks/>
          </p:cNvSpPr>
          <p:nvPr/>
        </p:nvSpPr>
        <p:spPr bwMode="gray">
          <a:xfrm>
            <a:off x="3741495" y="1700213"/>
            <a:ext cx="7971080" cy="900000"/>
          </a:xfrm>
          <a:prstGeom prst="rect">
            <a:avLst/>
          </a:prstGeom>
          <a:solidFill>
            <a:srgbClr val="E5EEF2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540000" tIns="72000" rIns="72000" bIns="72000" rtlCol="0" anchor="ctr"/>
          <a:lstStyle/>
          <a:p>
            <a:pPr>
              <a:lnSpc>
                <a:spcPct val="110000"/>
              </a:lnSpc>
            </a:pPr>
            <a:r>
              <a:rPr lang="de-DE" sz="1400" dirty="0"/>
              <a:t>Copy Frutiger LT </a:t>
            </a:r>
            <a:r>
              <a:rPr lang="de-DE" sz="1400" err="1"/>
              <a:t>Com</a:t>
            </a:r>
            <a:r>
              <a:rPr lang="de-DE" sz="1400"/>
              <a:t> Lt</a:t>
            </a:r>
            <a:r>
              <a:rPr lang="de-DE" sz="1400" dirty="0"/>
              <a:t>, 14 </a:t>
            </a:r>
            <a:r>
              <a:rPr lang="de-DE" sz="1400" dirty="0" err="1"/>
              <a:t>pt</a:t>
            </a:r>
            <a:r>
              <a:rPr lang="de-DE" sz="1400" dirty="0"/>
              <a:t>. </a:t>
            </a:r>
            <a:r>
              <a:rPr lang="de-DE" sz="1400" dirty="0" err="1"/>
              <a:t>Dolor</a:t>
            </a:r>
            <a:r>
              <a:rPr lang="de-DE" sz="1400" dirty="0"/>
              <a:t> </a:t>
            </a:r>
            <a:r>
              <a:rPr lang="de-DE" sz="1400" dirty="0" err="1"/>
              <a:t>situs</a:t>
            </a:r>
            <a:r>
              <a:rPr lang="de-DE" sz="1400" dirty="0"/>
              <a:t> cum </a:t>
            </a:r>
            <a:r>
              <a:rPr lang="de-DE" sz="1400" dirty="0" err="1"/>
              <a:t>habilitarum</a:t>
            </a:r>
            <a:r>
              <a:rPr lang="de-DE" sz="1400" dirty="0"/>
              <a:t> </a:t>
            </a:r>
            <a:r>
              <a:rPr lang="de-DE" sz="1400" dirty="0" err="1"/>
              <a:t>itum</a:t>
            </a:r>
            <a:r>
              <a:rPr lang="de-DE" sz="1400" dirty="0"/>
              <a:t> </a:t>
            </a:r>
            <a:r>
              <a:rPr lang="de-DE" sz="1400" dirty="0" err="1"/>
              <a:t>alusi</a:t>
            </a:r>
            <a:r>
              <a:rPr lang="de-DE" sz="1400" dirty="0"/>
              <a:t> </a:t>
            </a:r>
            <a:r>
              <a:rPr lang="de-DE" sz="1400" dirty="0" err="1"/>
              <a:t>causticus</a:t>
            </a:r>
            <a:br>
              <a:rPr lang="de-DE" sz="1400" dirty="0"/>
            </a:br>
            <a:r>
              <a:rPr lang="de-DE" sz="1400" dirty="0" err="1"/>
              <a:t>imanenter</a:t>
            </a:r>
            <a:r>
              <a:rPr lang="de-DE" sz="1400" dirty="0"/>
              <a:t> Status ex </a:t>
            </a:r>
            <a:r>
              <a:rPr lang="de-DE" sz="1400" dirty="0" err="1"/>
              <a:t>landum</a:t>
            </a:r>
            <a:r>
              <a:rPr lang="de-DE" sz="1400" dirty="0"/>
              <a:t> </a:t>
            </a:r>
            <a:r>
              <a:rPr lang="de-DE" sz="1400" dirty="0" err="1"/>
              <a:t>it</a:t>
            </a:r>
            <a:r>
              <a:rPr lang="de-DE" sz="1400" dirty="0"/>
              <a:t> </a:t>
            </a:r>
            <a:r>
              <a:rPr lang="de-DE" sz="1400" dirty="0" err="1"/>
              <a:t>exus</a:t>
            </a:r>
            <a:r>
              <a:rPr lang="de-DE" sz="1400" dirty="0"/>
              <a:t> </a:t>
            </a:r>
            <a:r>
              <a:rPr lang="de-DE" sz="1400" dirty="0" err="1"/>
              <a:t>rius</a:t>
            </a:r>
            <a:r>
              <a:rPr lang="de-DE" sz="1400" dirty="0"/>
              <a:t> </a:t>
            </a:r>
            <a:r>
              <a:rPr lang="de-DE" sz="1400" dirty="0" err="1"/>
              <a:t>laudanum</a:t>
            </a:r>
            <a:r>
              <a:rPr lang="de-DE" sz="1400" dirty="0"/>
              <a:t> </a:t>
            </a:r>
            <a:r>
              <a:rPr lang="de-DE" sz="1400" dirty="0" err="1"/>
              <a:t>ibis</a:t>
            </a:r>
            <a:r>
              <a:rPr lang="de-DE" sz="1400" dirty="0"/>
              <a:t> </a:t>
            </a:r>
            <a:r>
              <a:rPr lang="de-DE" sz="1400" dirty="0" err="1"/>
              <a:t>tum</a:t>
            </a:r>
            <a:r>
              <a:rPr lang="de-DE" sz="1400" dirty="0"/>
              <a:t>. </a:t>
            </a:r>
            <a:r>
              <a:rPr lang="de-DE" sz="1400" dirty="0" err="1"/>
              <a:t>Lorem</a:t>
            </a:r>
            <a:r>
              <a:rPr lang="de-DE" sz="1400" dirty="0"/>
              <a:t> et </a:t>
            </a:r>
            <a:r>
              <a:rPr lang="de-DE" sz="1400" dirty="0" err="1"/>
              <a:t>exit</a:t>
            </a:r>
            <a:r>
              <a:rPr lang="de-DE" sz="1400" dirty="0"/>
              <a:t> </a:t>
            </a:r>
            <a:r>
              <a:rPr lang="de-DE" sz="1400" dirty="0" err="1"/>
              <a:t>vulnareus</a:t>
            </a:r>
            <a:r>
              <a:rPr lang="de-DE" sz="1400" dirty="0"/>
              <a:t> </a:t>
            </a:r>
            <a:r>
              <a:rPr lang="de-DE" sz="1400" dirty="0" err="1"/>
              <a:t>plexus</a:t>
            </a:r>
            <a:r>
              <a:rPr lang="de-DE" sz="1400" dirty="0"/>
              <a:t>.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E616D0F-8737-4E03-8542-E6A68FD7CB00}"/>
              </a:ext>
            </a:extLst>
          </p:cNvPr>
          <p:cNvSpPr>
            <a:spLocks/>
          </p:cNvSpPr>
          <p:nvPr/>
        </p:nvSpPr>
        <p:spPr bwMode="gray">
          <a:xfrm>
            <a:off x="3741495" y="2828434"/>
            <a:ext cx="7971080" cy="900000"/>
          </a:xfrm>
          <a:prstGeom prst="rect">
            <a:avLst/>
          </a:prstGeom>
          <a:solidFill>
            <a:srgbClr val="E5EEF2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540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dirty="0"/>
              <a:t>Copy Frutiger LT </a:t>
            </a:r>
            <a:r>
              <a:rPr lang="de-DE" sz="1400" err="1"/>
              <a:t>Com</a:t>
            </a:r>
            <a:r>
              <a:rPr lang="de-DE" sz="1400"/>
              <a:t> Lt</a:t>
            </a:r>
            <a:r>
              <a:rPr lang="de-DE" sz="1400" dirty="0"/>
              <a:t>, </a:t>
            </a:r>
            <a:r>
              <a:rPr lang="de-DE" sz="1400"/>
              <a:t>14 pt. </a:t>
            </a:r>
            <a:r>
              <a:rPr lang="de-DE" sz="1400" dirty="0" err="1"/>
              <a:t>Dolor</a:t>
            </a:r>
            <a:r>
              <a:rPr lang="de-DE" sz="1400" dirty="0"/>
              <a:t> </a:t>
            </a:r>
            <a:r>
              <a:rPr lang="de-DE" sz="1400" dirty="0" err="1"/>
              <a:t>situs</a:t>
            </a:r>
            <a:r>
              <a:rPr lang="de-DE" sz="1400" dirty="0"/>
              <a:t> cum </a:t>
            </a:r>
            <a:r>
              <a:rPr lang="de-DE" sz="1400" dirty="0" err="1"/>
              <a:t>habilitarum</a:t>
            </a:r>
            <a:r>
              <a:rPr lang="de-DE" sz="1400" dirty="0"/>
              <a:t> </a:t>
            </a:r>
            <a:r>
              <a:rPr lang="de-DE" sz="1400" dirty="0" err="1"/>
              <a:t>itum</a:t>
            </a:r>
            <a:r>
              <a:rPr lang="de-DE" sz="1400" dirty="0"/>
              <a:t> </a:t>
            </a:r>
            <a:r>
              <a:rPr lang="de-DE" sz="1400" dirty="0" err="1"/>
              <a:t>alusi</a:t>
            </a:r>
            <a:r>
              <a:rPr lang="de-DE" sz="1400" dirty="0"/>
              <a:t> </a:t>
            </a:r>
            <a:r>
              <a:rPr lang="de-DE" sz="1400" dirty="0" err="1"/>
              <a:t>causticus</a:t>
            </a:r>
            <a:br>
              <a:rPr lang="de-DE" sz="1400" dirty="0"/>
            </a:br>
            <a:r>
              <a:rPr lang="de-DE" sz="1400" dirty="0" err="1"/>
              <a:t>imanenter</a:t>
            </a:r>
            <a:r>
              <a:rPr lang="de-DE" sz="1400" dirty="0"/>
              <a:t> Status ex </a:t>
            </a:r>
            <a:r>
              <a:rPr lang="de-DE" sz="1400" dirty="0" err="1"/>
              <a:t>landum</a:t>
            </a:r>
            <a:r>
              <a:rPr lang="de-DE" sz="1400" dirty="0"/>
              <a:t> </a:t>
            </a:r>
            <a:r>
              <a:rPr lang="de-DE" sz="1400" dirty="0" err="1"/>
              <a:t>it</a:t>
            </a:r>
            <a:r>
              <a:rPr lang="de-DE" sz="1400" dirty="0"/>
              <a:t> </a:t>
            </a:r>
            <a:r>
              <a:rPr lang="de-DE" sz="1400" dirty="0" err="1"/>
              <a:t>exus</a:t>
            </a:r>
            <a:r>
              <a:rPr lang="de-DE" sz="1400" dirty="0"/>
              <a:t> </a:t>
            </a:r>
            <a:r>
              <a:rPr lang="de-DE" sz="1400" dirty="0" err="1"/>
              <a:t>rius</a:t>
            </a:r>
            <a:r>
              <a:rPr lang="de-DE" sz="1400" dirty="0"/>
              <a:t> </a:t>
            </a:r>
            <a:r>
              <a:rPr lang="de-DE" sz="1400" dirty="0" err="1"/>
              <a:t>laudanum</a:t>
            </a:r>
            <a:r>
              <a:rPr lang="de-DE" sz="1400" dirty="0"/>
              <a:t> </a:t>
            </a:r>
            <a:r>
              <a:rPr lang="de-DE" sz="1400" dirty="0" err="1"/>
              <a:t>ibis</a:t>
            </a:r>
            <a:r>
              <a:rPr lang="de-DE" sz="1400" dirty="0"/>
              <a:t> </a:t>
            </a:r>
            <a:r>
              <a:rPr lang="de-DE" sz="1400" dirty="0" err="1"/>
              <a:t>tum</a:t>
            </a:r>
            <a:r>
              <a:rPr lang="de-DE" sz="1400" dirty="0"/>
              <a:t>. </a:t>
            </a:r>
            <a:r>
              <a:rPr lang="de-DE" sz="1400" dirty="0" err="1"/>
              <a:t>Lorem</a:t>
            </a:r>
            <a:r>
              <a:rPr lang="de-DE" sz="1400" dirty="0"/>
              <a:t> et </a:t>
            </a:r>
            <a:r>
              <a:rPr lang="de-DE" sz="1400" dirty="0" err="1"/>
              <a:t>exit</a:t>
            </a:r>
            <a:r>
              <a:rPr lang="de-DE" sz="1400" dirty="0"/>
              <a:t> </a:t>
            </a:r>
            <a:r>
              <a:rPr lang="de-DE" sz="1400" dirty="0" err="1"/>
              <a:t>vulnareus</a:t>
            </a:r>
            <a:r>
              <a:rPr lang="de-DE" sz="1400" dirty="0"/>
              <a:t> </a:t>
            </a:r>
            <a:r>
              <a:rPr lang="de-DE" sz="1400" dirty="0" err="1"/>
              <a:t>plexus</a:t>
            </a:r>
            <a:r>
              <a:rPr lang="de-DE" sz="1400" dirty="0"/>
              <a:t>.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2D38C6E7-4F92-4015-9A63-FCF29E2E39E3}"/>
              </a:ext>
            </a:extLst>
          </p:cNvPr>
          <p:cNvSpPr>
            <a:spLocks/>
          </p:cNvSpPr>
          <p:nvPr/>
        </p:nvSpPr>
        <p:spPr bwMode="gray">
          <a:xfrm>
            <a:off x="3741495" y="3956655"/>
            <a:ext cx="7971080" cy="900000"/>
          </a:xfrm>
          <a:prstGeom prst="rect">
            <a:avLst/>
          </a:prstGeom>
          <a:solidFill>
            <a:srgbClr val="E5EEF2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540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dirty="0"/>
              <a:t>Copy Frutiger LT </a:t>
            </a:r>
            <a:r>
              <a:rPr lang="de-DE" sz="1400" err="1"/>
              <a:t>Com</a:t>
            </a:r>
            <a:r>
              <a:rPr lang="de-DE" sz="1400"/>
              <a:t> Lt</a:t>
            </a:r>
            <a:r>
              <a:rPr lang="de-DE" sz="1400" dirty="0"/>
              <a:t>, </a:t>
            </a:r>
            <a:r>
              <a:rPr lang="de-DE" sz="1400"/>
              <a:t>14 pt. </a:t>
            </a:r>
            <a:r>
              <a:rPr lang="de-DE" sz="1400" dirty="0" err="1"/>
              <a:t>Dolor</a:t>
            </a:r>
            <a:r>
              <a:rPr lang="de-DE" sz="1400" dirty="0"/>
              <a:t> </a:t>
            </a:r>
            <a:r>
              <a:rPr lang="de-DE" sz="1400" dirty="0" err="1"/>
              <a:t>situs</a:t>
            </a:r>
            <a:r>
              <a:rPr lang="de-DE" sz="1400" dirty="0"/>
              <a:t> cum </a:t>
            </a:r>
            <a:r>
              <a:rPr lang="de-DE" sz="1400" dirty="0" err="1"/>
              <a:t>habilitarum</a:t>
            </a:r>
            <a:r>
              <a:rPr lang="de-DE" sz="1400" dirty="0"/>
              <a:t> </a:t>
            </a:r>
            <a:r>
              <a:rPr lang="de-DE" sz="1400" dirty="0" err="1"/>
              <a:t>itum</a:t>
            </a:r>
            <a:r>
              <a:rPr lang="de-DE" sz="1400" dirty="0"/>
              <a:t> </a:t>
            </a:r>
            <a:r>
              <a:rPr lang="de-DE" sz="1400" dirty="0" err="1"/>
              <a:t>alusi</a:t>
            </a:r>
            <a:r>
              <a:rPr lang="de-DE" sz="1400" dirty="0"/>
              <a:t> </a:t>
            </a:r>
            <a:r>
              <a:rPr lang="de-DE" sz="1400" dirty="0" err="1"/>
              <a:t>causticus</a:t>
            </a:r>
            <a:br>
              <a:rPr lang="de-DE" sz="1400" dirty="0"/>
            </a:br>
            <a:r>
              <a:rPr lang="de-DE" sz="1400" dirty="0" err="1"/>
              <a:t>imanenter</a:t>
            </a:r>
            <a:r>
              <a:rPr lang="de-DE" sz="1400" dirty="0"/>
              <a:t> Status ex </a:t>
            </a:r>
            <a:r>
              <a:rPr lang="de-DE" sz="1400" dirty="0" err="1"/>
              <a:t>landum</a:t>
            </a:r>
            <a:r>
              <a:rPr lang="de-DE" sz="1400" dirty="0"/>
              <a:t> </a:t>
            </a:r>
            <a:r>
              <a:rPr lang="de-DE" sz="1400" dirty="0" err="1"/>
              <a:t>it</a:t>
            </a:r>
            <a:r>
              <a:rPr lang="de-DE" sz="1400" dirty="0"/>
              <a:t> </a:t>
            </a:r>
            <a:r>
              <a:rPr lang="de-DE" sz="1400" dirty="0" err="1"/>
              <a:t>exus</a:t>
            </a:r>
            <a:r>
              <a:rPr lang="de-DE" sz="1400" dirty="0"/>
              <a:t> </a:t>
            </a:r>
            <a:r>
              <a:rPr lang="de-DE" sz="1400" dirty="0" err="1"/>
              <a:t>rius</a:t>
            </a:r>
            <a:r>
              <a:rPr lang="de-DE" sz="1400" dirty="0"/>
              <a:t> </a:t>
            </a:r>
            <a:r>
              <a:rPr lang="de-DE" sz="1400" dirty="0" err="1"/>
              <a:t>laudanum</a:t>
            </a:r>
            <a:r>
              <a:rPr lang="de-DE" sz="1400" dirty="0"/>
              <a:t> </a:t>
            </a:r>
            <a:r>
              <a:rPr lang="de-DE" sz="1400" dirty="0" err="1"/>
              <a:t>ibis</a:t>
            </a:r>
            <a:r>
              <a:rPr lang="de-DE" sz="1400" dirty="0"/>
              <a:t> </a:t>
            </a:r>
            <a:r>
              <a:rPr lang="de-DE" sz="1400" dirty="0" err="1"/>
              <a:t>tum</a:t>
            </a:r>
            <a:r>
              <a:rPr lang="de-DE" sz="1400" dirty="0"/>
              <a:t>. </a:t>
            </a:r>
            <a:r>
              <a:rPr lang="de-DE" sz="1400" dirty="0" err="1"/>
              <a:t>Lorem</a:t>
            </a:r>
            <a:r>
              <a:rPr lang="de-DE" sz="1400" dirty="0"/>
              <a:t> et </a:t>
            </a:r>
            <a:r>
              <a:rPr lang="de-DE" sz="1400" dirty="0" err="1"/>
              <a:t>exit</a:t>
            </a:r>
            <a:r>
              <a:rPr lang="de-DE" sz="1400" dirty="0"/>
              <a:t> </a:t>
            </a:r>
            <a:r>
              <a:rPr lang="de-DE" sz="1400" dirty="0" err="1"/>
              <a:t>vulnareus</a:t>
            </a:r>
            <a:r>
              <a:rPr lang="de-DE" sz="1400" dirty="0"/>
              <a:t> </a:t>
            </a:r>
            <a:r>
              <a:rPr lang="de-DE" sz="1400" dirty="0" err="1"/>
              <a:t>plexus</a:t>
            </a:r>
            <a:r>
              <a:rPr lang="de-DE" sz="1400" dirty="0"/>
              <a:t>.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B058B048-9FD2-4BF7-9965-AC83109E8A38}"/>
              </a:ext>
            </a:extLst>
          </p:cNvPr>
          <p:cNvSpPr>
            <a:spLocks/>
          </p:cNvSpPr>
          <p:nvPr/>
        </p:nvSpPr>
        <p:spPr bwMode="gray">
          <a:xfrm>
            <a:off x="3741495" y="5084875"/>
            <a:ext cx="7971080" cy="900000"/>
          </a:xfrm>
          <a:prstGeom prst="rect">
            <a:avLst/>
          </a:prstGeom>
          <a:solidFill>
            <a:srgbClr val="E5EEF2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540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dirty="0"/>
              <a:t>Copy Frutiger LT </a:t>
            </a:r>
            <a:r>
              <a:rPr lang="de-DE" sz="1400" err="1"/>
              <a:t>Com</a:t>
            </a:r>
            <a:r>
              <a:rPr lang="de-DE" sz="1400"/>
              <a:t> Lt</a:t>
            </a:r>
            <a:r>
              <a:rPr lang="de-DE" sz="1400" dirty="0"/>
              <a:t>, </a:t>
            </a:r>
            <a:r>
              <a:rPr lang="de-DE" sz="1400"/>
              <a:t>14 pt. </a:t>
            </a:r>
            <a:r>
              <a:rPr lang="de-DE" sz="1400" dirty="0" err="1"/>
              <a:t>Dolor</a:t>
            </a:r>
            <a:r>
              <a:rPr lang="de-DE" sz="1400" dirty="0"/>
              <a:t> </a:t>
            </a:r>
            <a:r>
              <a:rPr lang="de-DE" sz="1400" dirty="0" err="1"/>
              <a:t>situs</a:t>
            </a:r>
            <a:r>
              <a:rPr lang="de-DE" sz="1400" dirty="0"/>
              <a:t> cum </a:t>
            </a:r>
            <a:r>
              <a:rPr lang="de-DE" sz="1400" dirty="0" err="1"/>
              <a:t>habilitarum</a:t>
            </a:r>
            <a:r>
              <a:rPr lang="de-DE" sz="1400" dirty="0"/>
              <a:t> </a:t>
            </a:r>
            <a:r>
              <a:rPr lang="de-DE" sz="1400" dirty="0" err="1"/>
              <a:t>itum</a:t>
            </a:r>
            <a:r>
              <a:rPr lang="de-DE" sz="1400" dirty="0"/>
              <a:t> </a:t>
            </a:r>
            <a:r>
              <a:rPr lang="de-DE" sz="1400" dirty="0" err="1"/>
              <a:t>alusi</a:t>
            </a:r>
            <a:r>
              <a:rPr lang="de-DE" sz="1400" dirty="0"/>
              <a:t> </a:t>
            </a:r>
            <a:r>
              <a:rPr lang="de-DE" sz="1400" dirty="0" err="1"/>
              <a:t>causticus</a:t>
            </a:r>
            <a:br>
              <a:rPr lang="de-DE" sz="1400" dirty="0"/>
            </a:br>
            <a:r>
              <a:rPr lang="de-DE" sz="1400" dirty="0" err="1"/>
              <a:t>imanenter</a:t>
            </a:r>
            <a:r>
              <a:rPr lang="de-DE" sz="1400" dirty="0"/>
              <a:t> Status ex </a:t>
            </a:r>
            <a:r>
              <a:rPr lang="de-DE" sz="1400" dirty="0" err="1"/>
              <a:t>landum</a:t>
            </a:r>
            <a:r>
              <a:rPr lang="de-DE" sz="1400" dirty="0"/>
              <a:t> </a:t>
            </a:r>
            <a:r>
              <a:rPr lang="de-DE" sz="1400" dirty="0" err="1"/>
              <a:t>it</a:t>
            </a:r>
            <a:r>
              <a:rPr lang="de-DE" sz="1400" dirty="0"/>
              <a:t> </a:t>
            </a:r>
            <a:r>
              <a:rPr lang="de-DE" sz="1400" dirty="0" err="1"/>
              <a:t>exus</a:t>
            </a:r>
            <a:r>
              <a:rPr lang="de-DE" sz="1400" dirty="0"/>
              <a:t> </a:t>
            </a:r>
            <a:r>
              <a:rPr lang="de-DE" sz="1400" dirty="0" err="1"/>
              <a:t>rius</a:t>
            </a:r>
            <a:r>
              <a:rPr lang="de-DE" sz="1400" dirty="0"/>
              <a:t> </a:t>
            </a:r>
            <a:r>
              <a:rPr lang="de-DE" sz="1400" dirty="0" err="1"/>
              <a:t>laudanum</a:t>
            </a:r>
            <a:r>
              <a:rPr lang="de-DE" sz="1400" dirty="0"/>
              <a:t> </a:t>
            </a:r>
            <a:r>
              <a:rPr lang="de-DE" sz="1400" dirty="0" err="1"/>
              <a:t>ibis</a:t>
            </a:r>
            <a:r>
              <a:rPr lang="de-DE" sz="1400" dirty="0"/>
              <a:t> </a:t>
            </a:r>
            <a:r>
              <a:rPr lang="de-DE" sz="1400" dirty="0" err="1"/>
              <a:t>tum</a:t>
            </a:r>
            <a:r>
              <a:rPr lang="de-DE" sz="1400" dirty="0"/>
              <a:t>. </a:t>
            </a:r>
            <a:r>
              <a:rPr lang="de-DE" sz="1400" dirty="0" err="1"/>
              <a:t>Lorem</a:t>
            </a:r>
            <a:r>
              <a:rPr lang="de-DE" sz="1400" dirty="0"/>
              <a:t> et </a:t>
            </a:r>
            <a:r>
              <a:rPr lang="de-DE" sz="1400" dirty="0" err="1"/>
              <a:t>exit</a:t>
            </a:r>
            <a:r>
              <a:rPr lang="de-DE" sz="1400" dirty="0"/>
              <a:t> </a:t>
            </a:r>
            <a:r>
              <a:rPr lang="de-DE" sz="1400" dirty="0" err="1"/>
              <a:t>vulnareus</a:t>
            </a:r>
            <a:r>
              <a:rPr lang="de-DE" sz="1400" dirty="0"/>
              <a:t> </a:t>
            </a:r>
            <a:r>
              <a:rPr lang="de-DE" sz="1400" dirty="0" err="1"/>
              <a:t>plexus</a:t>
            </a:r>
            <a:r>
              <a:rPr lang="de-DE" sz="1400" dirty="0"/>
              <a:t>.</a:t>
            </a:r>
          </a:p>
        </p:txBody>
      </p:sp>
      <p:sp>
        <p:nvSpPr>
          <p:cNvPr id="20" name="Gleichschenkliges Dreieck 19">
            <a:extLst>
              <a:ext uri="{FF2B5EF4-FFF2-40B4-BE49-F238E27FC236}">
                <a16:creationId xmlns:a16="http://schemas.microsoft.com/office/drawing/2014/main" id="{22401DC5-C6D9-4924-8B1A-ECE966164C49}"/>
              </a:ext>
            </a:extLst>
          </p:cNvPr>
          <p:cNvSpPr>
            <a:spLocks/>
          </p:cNvSpPr>
          <p:nvPr/>
        </p:nvSpPr>
        <p:spPr bwMode="gray">
          <a:xfrm rot="5400000">
            <a:off x="3291493" y="1804383"/>
            <a:ext cx="900000" cy="691661"/>
          </a:xfrm>
          <a:prstGeom prst="triangle">
            <a:avLst/>
          </a:prstGeom>
          <a:solidFill>
            <a:schemeClr val="accent2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vert270" rtlCol="0" anchor="ctr"/>
          <a:lstStyle/>
          <a:p>
            <a:pPr algn="ctr"/>
            <a:r>
              <a:rPr lang="de-DE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21" name="Gleichschenkliges Dreieck 20">
            <a:extLst>
              <a:ext uri="{FF2B5EF4-FFF2-40B4-BE49-F238E27FC236}">
                <a16:creationId xmlns:a16="http://schemas.microsoft.com/office/drawing/2014/main" id="{54103742-23AA-4FEF-BCC9-A460D57DF6A3}"/>
              </a:ext>
            </a:extLst>
          </p:cNvPr>
          <p:cNvSpPr>
            <a:spLocks/>
          </p:cNvSpPr>
          <p:nvPr/>
        </p:nvSpPr>
        <p:spPr bwMode="gray">
          <a:xfrm rot="5400000">
            <a:off x="3291494" y="2932604"/>
            <a:ext cx="900000" cy="691661"/>
          </a:xfrm>
          <a:prstGeom prst="triangle">
            <a:avLst/>
          </a:prstGeom>
          <a:solidFill>
            <a:schemeClr val="accent2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vert270" rtlCol="0" anchor="ctr"/>
          <a:lstStyle/>
          <a:p>
            <a:pPr algn="ctr"/>
            <a:r>
              <a:rPr lang="de-DE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22" name="Gleichschenkliges Dreieck 21">
            <a:extLst>
              <a:ext uri="{FF2B5EF4-FFF2-40B4-BE49-F238E27FC236}">
                <a16:creationId xmlns:a16="http://schemas.microsoft.com/office/drawing/2014/main" id="{A3FE1FF2-19C7-46DE-8A75-FB38CF0226F1}"/>
              </a:ext>
            </a:extLst>
          </p:cNvPr>
          <p:cNvSpPr>
            <a:spLocks/>
          </p:cNvSpPr>
          <p:nvPr/>
        </p:nvSpPr>
        <p:spPr bwMode="gray">
          <a:xfrm rot="5400000">
            <a:off x="3291493" y="4060825"/>
            <a:ext cx="900000" cy="691661"/>
          </a:xfrm>
          <a:prstGeom prst="triangle">
            <a:avLst/>
          </a:prstGeom>
          <a:solidFill>
            <a:schemeClr val="accent2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vert270" rtlCol="0" anchor="ctr"/>
          <a:lstStyle/>
          <a:p>
            <a:pPr algn="ctr"/>
            <a:r>
              <a:rPr lang="de-DE" dirty="0">
                <a:solidFill>
                  <a:schemeClr val="bg1"/>
                </a:solidFill>
                <a:latin typeface="+mj-lt"/>
              </a:rPr>
              <a:t>3</a:t>
            </a:r>
          </a:p>
        </p:txBody>
      </p:sp>
      <p:sp>
        <p:nvSpPr>
          <p:cNvPr id="23" name="Gleichschenkliges Dreieck 22">
            <a:extLst>
              <a:ext uri="{FF2B5EF4-FFF2-40B4-BE49-F238E27FC236}">
                <a16:creationId xmlns:a16="http://schemas.microsoft.com/office/drawing/2014/main" id="{6D4DEF1A-7C8E-4CBA-A648-DE42E73D8F52}"/>
              </a:ext>
            </a:extLst>
          </p:cNvPr>
          <p:cNvSpPr>
            <a:spLocks/>
          </p:cNvSpPr>
          <p:nvPr/>
        </p:nvSpPr>
        <p:spPr bwMode="gray">
          <a:xfrm rot="5400000">
            <a:off x="3291494" y="5189045"/>
            <a:ext cx="900000" cy="691661"/>
          </a:xfrm>
          <a:prstGeom prst="triangle">
            <a:avLst/>
          </a:prstGeom>
          <a:solidFill>
            <a:schemeClr val="accent2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vert270" rtlCol="0" anchor="ctr"/>
          <a:lstStyle/>
          <a:p>
            <a:pPr algn="ctr"/>
            <a:r>
              <a:rPr lang="de-DE" dirty="0">
                <a:solidFill>
                  <a:schemeClr val="bg1"/>
                </a:solidFill>
                <a:latin typeface="+mj-lt"/>
              </a:rPr>
              <a:t>4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0BC625B-D71F-4D93-A26A-FD330A10FB3F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5FF4509D-DF0B-47BB-95FC-3F3ABD37CC87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C2E37E3-560A-4240-B80D-91B44ECD2AF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E4E2C5B-37DA-43AE-8D7A-58EA849B3A3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3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274659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A7917D83-E86B-47CC-99AA-77D3594343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1527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B1D5836A-68F4-40D8-8A36-AE931554449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. Staus ex </a:t>
            </a:r>
            <a:r>
              <a:rPr lang="de-DE" dirty="0" err="1"/>
              <a:t>landua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w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w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r>
              <a:rPr lang="de-DE" dirty="0"/>
              <a:t>:</a:t>
            </a:r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  <a:p>
            <a:pPr lvl="4"/>
            <a:r>
              <a:rPr lang="de-DE" dirty="0"/>
              <a:t>Level 2</a:t>
            </a:r>
          </a:p>
          <a:p>
            <a:pPr lvl="5"/>
            <a:r>
              <a:rPr lang="de-DE" dirty="0"/>
              <a:t>Level 3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EFEEAA9A-B43E-43CA-84B9-317EF097F4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7345363" cy="382733"/>
          </a:xfrm>
        </p:spPr>
        <p:txBody>
          <a:bodyPr vert="horz"/>
          <a:lstStyle/>
          <a:p>
            <a:pPr lvl="0"/>
            <a:r>
              <a:rPr lang="de-DE"/>
              <a:t>Headline, Frutiger LT Com Bd, 24 pt, dreispaltig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33E5E06-B337-422D-BBAA-7CD34FF7DBC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7345363" cy="319318"/>
          </a:xfrm>
        </p:spPr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2DF45084-191E-4DE2-BAD4-B7F64BD2E48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32288" y="1703388"/>
            <a:ext cx="3492500" cy="1882438"/>
          </a:xfrm>
        </p:spPr>
        <p:txBody>
          <a:bodyPr/>
          <a:lstStyle/>
          <a:p>
            <a:pPr lvl="6"/>
            <a:r>
              <a:rPr lang="de-DE" dirty="0"/>
              <a:t>Level 1</a:t>
            </a:r>
          </a:p>
          <a:p>
            <a:pPr lvl="6"/>
            <a:r>
              <a:rPr lang="de-DE" dirty="0"/>
              <a:t>Level 1</a:t>
            </a:r>
          </a:p>
          <a:p>
            <a:pPr lvl="6"/>
            <a:r>
              <a:rPr lang="de-DE" dirty="0"/>
              <a:t>Level 1</a:t>
            </a:r>
          </a:p>
          <a:p>
            <a:pPr lvl="6"/>
            <a:r>
              <a:rPr lang="de-DE" dirty="0"/>
              <a:t>Level 1</a:t>
            </a:r>
          </a:p>
          <a:p>
            <a:pPr lvl="6"/>
            <a:r>
              <a:rPr lang="de-DE" dirty="0"/>
              <a:t>Level 1</a:t>
            </a:r>
          </a:p>
          <a:p>
            <a:pPr lvl="6"/>
            <a:r>
              <a:rPr lang="de-DE" dirty="0"/>
              <a:t>Level 1</a:t>
            </a:r>
          </a:p>
          <a:p>
            <a:pPr lvl="7"/>
            <a:r>
              <a:rPr lang="de-DE" dirty="0"/>
              <a:t>Level 2</a:t>
            </a:r>
          </a:p>
          <a:p>
            <a:pPr lvl="8"/>
            <a:r>
              <a:rPr lang="de-DE" dirty="0"/>
              <a:t>Level 3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07CC7CFA-E68C-4D12-A3FC-C142E87E7E55}"/>
              </a:ext>
            </a:extLst>
          </p:cNvPr>
          <p:cNvSpPr>
            <a:spLocks/>
          </p:cNvSpPr>
          <p:nvPr/>
        </p:nvSpPr>
        <p:spPr bwMode="gray">
          <a:xfrm>
            <a:off x="477838" y="5193220"/>
            <a:ext cx="7346950" cy="791655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rgbClr val="FDB913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>
            <a:spAutoFit/>
          </a:bodyPr>
          <a:lstStyle/>
          <a:p>
            <a:pPr>
              <a:lnSpc>
                <a:spcPts val="1960"/>
              </a:lnSpc>
            </a:pPr>
            <a:r>
              <a:rPr lang="de-DE" sz="1600">
                <a:latin typeface="+mj-lt"/>
              </a:rPr>
              <a:t>Hervorhebung, Frutiger LT Com Bd, 16 pt, dolor cumatia habilitarum itum alanenter status ex landum </a:t>
            </a:r>
            <a:endParaRPr lang="de-DE" sz="1600" dirty="0">
              <a:latin typeface="+mj-lt"/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6E63127A-4C77-49CE-A09E-692645E393E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 b="87"/>
          <a:stretch/>
        </p:blipFill>
        <p:spPr bwMode="gray">
          <a:xfrm>
            <a:off x="8220075" y="476250"/>
            <a:ext cx="3492500" cy="5676900"/>
          </a:xfrm>
          <a:prstGeom prst="rect">
            <a:avLst/>
          </a:prstGeom>
          <a:noFill/>
        </p:spPr>
      </p:pic>
      <p:sp>
        <p:nvSpPr>
          <p:cNvPr id="13" name="Institutsname">
            <a:extLst>
              <a:ext uri="{FF2B5EF4-FFF2-40B4-BE49-F238E27FC236}">
                <a16:creationId xmlns:a16="http://schemas.microsoft.com/office/drawing/2014/main" id="{A2B45439-F9C0-4A2B-A74F-9A0BF403D599}"/>
              </a:ext>
            </a:extLst>
          </p:cNvPr>
          <p:cNvSpPr txBox="1">
            <a:spLocks noChangeArrowheads="1"/>
          </p:cNvSpPr>
          <p:nvPr/>
        </p:nvSpPr>
        <p:spPr bwMode="gray">
          <a:xfrm rot="16200000">
            <a:off x="7580702" y="5134030"/>
            <a:ext cx="159396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982663"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 sz="700" dirty="0">
                <a:solidFill>
                  <a:schemeClr val="bg1"/>
                </a:solidFill>
              </a:rPr>
              <a:t>© Markus Jürgens</a:t>
            </a:r>
            <a:endParaRPr lang="de-DE" sz="700" b="0" dirty="0">
              <a:solidFill>
                <a:schemeClr val="bg1"/>
              </a:solidFill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E06880E2-42C8-4CEE-8B49-FD4B9B22481C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C3AB07DB-C612-4FCE-A3F0-E581FFC29C70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2B7F1EFF-6178-4974-838C-67CCDFCFE0B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AB7C4B43-2835-4BC0-8ACA-4401C3CB4AF7}"/>
              </a:ext>
            </a:extLst>
          </p:cNvPr>
          <p:cNvSpPr txBox="1"/>
          <p:nvPr/>
        </p:nvSpPr>
        <p:spPr>
          <a:xfrm>
            <a:off x="10600774" y="617601"/>
            <a:ext cx="993395" cy="296226"/>
          </a:xfrm>
          <a:prstGeom prst="rect">
            <a:avLst/>
          </a:prstGeom>
          <a:solidFill>
            <a:schemeClr val="tx2"/>
          </a:solidFill>
        </p:spPr>
        <p:txBody>
          <a:bodyPr wrap="none" lIns="72000" tIns="36000" rIns="72000" bIns="36000" rtlCol="0">
            <a:spAutoFit/>
          </a:bodyPr>
          <a:lstStyle>
            <a:defPPr>
              <a:defRPr lang="de-DE"/>
            </a:defPPr>
            <a:lvl1pPr algn="r">
              <a:lnSpc>
                <a:spcPct val="110000"/>
              </a:lnSpc>
              <a:buClr>
                <a:schemeClr val="accent1"/>
              </a:buClr>
              <a:defRPr sz="1400">
                <a:solidFill>
                  <a:schemeClr val="bg1"/>
                </a:solidFill>
              </a:defRPr>
            </a:lvl1pPr>
          </a:lstStyle>
          <a:p>
            <a:r>
              <a:rPr lang="de-DE"/>
              <a:t>Beispielbild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33D37305-E54D-4166-8673-6CD3BFAE23A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3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616254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Grafik 21">
            <a:extLst>
              <a:ext uri="{FF2B5EF4-FFF2-40B4-BE49-F238E27FC236}">
                <a16:creationId xmlns:a16="http://schemas.microsoft.com/office/drawing/2014/main" id="{FE797B5C-F3BD-4B10-BC39-2A21C4D98E7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8220075" y="3896858"/>
            <a:ext cx="3492500" cy="2088017"/>
          </a:xfrm>
          <a:prstGeom prst="rect">
            <a:avLst/>
          </a:prstGeom>
          <a:noFill/>
        </p:spPr>
      </p:pic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4F764ADF-B2EB-45F9-A2D3-C2B9932D48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5360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7C03BF5-283F-4A3C-BD6E-60CF686790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/>
              <a:t>Headline, Frutiger LT Com Bd, 24 pt, dreispaltig mit Text und Bildern</a:t>
            </a:r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1AD2D9F-594B-4BED-BB7B-27F52217F8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0677D14D-848D-4774-8E9E-4F2EF494D8C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3492500" cy="3785011"/>
          </a:xfrm>
        </p:spPr>
        <p:txBody>
          <a:bodyPr/>
          <a:lstStyle/>
          <a:p>
            <a:pPr lvl="1"/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alusi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.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caiusticus</a:t>
            </a:r>
            <a:r>
              <a:rPr lang="de-DE" dirty="0"/>
              <a:t> </a:t>
            </a:r>
            <a:r>
              <a:rPr lang="de-DE" dirty="0" err="1"/>
              <a:t>aurum</a:t>
            </a:r>
            <a:r>
              <a:rPr lang="de-DE" dirty="0"/>
              <a:t> </a:t>
            </a:r>
            <a:r>
              <a:rPr lang="de-DE" dirty="0" err="1"/>
              <a:t>eum</a:t>
            </a:r>
            <a:r>
              <a:rPr lang="de-DE" dirty="0"/>
              <a:t> </a:t>
            </a:r>
            <a:r>
              <a:rPr lang="de-DE" dirty="0" err="1"/>
              <a:t>explindus</a:t>
            </a:r>
            <a:r>
              <a:rPr lang="de-DE" dirty="0"/>
              <a:t>. Status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. </a:t>
            </a:r>
            <a:r>
              <a:rPr lang="de-DE" dirty="0" err="1"/>
              <a:t>Let</a:t>
            </a:r>
            <a:r>
              <a:rPr lang="de-DE" dirty="0"/>
              <a:t>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. 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endParaRPr lang="de-DE" dirty="0"/>
          </a:p>
          <a:p>
            <a:pPr lvl="6"/>
            <a:r>
              <a:rPr lang="de-DE" dirty="0"/>
              <a:t>Staus ex </a:t>
            </a:r>
            <a:r>
              <a:rPr lang="de-DE" dirty="0" err="1"/>
              <a:t>landua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w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w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</a:p>
          <a:p>
            <a:pPr lvl="6"/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exlan</a:t>
            </a:r>
            <a:r>
              <a:rPr lang="de-DE" dirty="0"/>
              <a:t> </a:t>
            </a:r>
            <a:r>
              <a:rPr lang="de-DE" dirty="0" err="1"/>
              <a:t>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caiusticus</a:t>
            </a:r>
            <a:r>
              <a:rPr lang="de-DE" dirty="0"/>
              <a:t> </a:t>
            </a:r>
            <a:r>
              <a:rPr lang="de-DE" dirty="0" err="1"/>
              <a:t>auru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</a:t>
            </a:r>
          </a:p>
          <a:p>
            <a:pPr lvl="6"/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. m </a:t>
            </a:r>
            <a:r>
              <a:rPr lang="de-DE" dirty="0" err="1"/>
              <a:t>eum</a:t>
            </a:r>
            <a:r>
              <a:rPr lang="de-DE" dirty="0"/>
              <a:t> </a:t>
            </a:r>
            <a:r>
              <a:rPr lang="de-DE" dirty="0" err="1"/>
              <a:t>explindus</a:t>
            </a:r>
            <a:r>
              <a:rPr lang="de-DE" dirty="0"/>
              <a:t>.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C6D322E5-393F-4002-A102-7F00DCA0B3FE}"/>
              </a:ext>
            </a:extLst>
          </p:cNvPr>
          <p:cNvSpPr txBox="1">
            <a:spLocks/>
          </p:cNvSpPr>
          <p:nvPr/>
        </p:nvSpPr>
        <p:spPr bwMode="gray">
          <a:xfrm>
            <a:off x="4332288" y="1700213"/>
            <a:ext cx="3492500" cy="4284662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accent2"/>
                </a:solidFill>
              </a:rPr>
              <a:t>Headline, 16 </a:t>
            </a:r>
            <a:r>
              <a:rPr lang="de-DE" dirty="0" err="1">
                <a:solidFill>
                  <a:schemeClr val="accent2"/>
                </a:solidFill>
              </a:rPr>
              <a:t>pt</a:t>
            </a:r>
            <a:endParaRPr lang="de-DE" dirty="0">
              <a:solidFill>
                <a:schemeClr val="accent2"/>
              </a:solidFill>
            </a:endParaRPr>
          </a:p>
          <a:p>
            <a:pPr lvl="1">
              <a:lnSpc>
                <a:spcPts val="1760"/>
              </a:lnSpc>
            </a:pPr>
            <a:r>
              <a:rPr lang="de-DE" dirty="0">
                <a:solidFill>
                  <a:schemeClr val="accent2"/>
                </a:solidFill>
              </a:rPr>
              <a:t>—</a:t>
            </a:r>
            <a:br>
              <a:rPr lang="de-DE" dirty="0">
                <a:solidFill>
                  <a:schemeClr val="accent2"/>
                </a:solidFill>
              </a:rPr>
            </a:br>
            <a:endParaRPr lang="de-DE" dirty="0">
              <a:solidFill>
                <a:schemeClr val="accent2"/>
              </a:solidFill>
            </a:endParaRPr>
          </a:p>
          <a:p>
            <a:pPr lvl="6">
              <a:buClr>
                <a:schemeClr val="accent2"/>
              </a:buClr>
            </a:pPr>
            <a:r>
              <a:rPr lang="de-DE" dirty="0">
                <a:solidFill>
                  <a:schemeClr val="accent2"/>
                </a:solidFill>
              </a:rPr>
              <a:t>Copy Frutiger LT </a:t>
            </a:r>
            <a:r>
              <a:rPr lang="de-DE" err="1">
                <a:solidFill>
                  <a:schemeClr val="accent2"/>
                </a:solidFill>
              </a:rPr>
              <a:t>Com</a:t>
            </a:r>
            <a:r>
              <a:rPr lang="de-DE">
                <a:solidFill>
                  <a:schemeClr val="accent2"/>
                </a:solidFill>
              </a:rPr>
              <a:t> Lt</a:t>
            </a:r>
            <a:r>
              <a:rPr lang="de-DE" dirty="0">
                <a:solidFill>
                  <a:schemeClr val="accent2"/>
                </a:solidFill>
              </a:rPr>
              <a:t>, 14 </a:t>
            </a:r>
            <a:r>
              <a:rPr lang="de-DE" dirty="0" err="1">
                <a:solidFill>
                  <a:schemeClr val="accent2"/>
                </a:solidFill>
              </a:rPr>
              <a:t>pt</a:t>
            </a:r>
            <a:r>
              <a:rPr lang="de-DE" dirty="0">
                <a:solidFill>
                  <a:schemeClr val="accent2"/>
                </a:solidFill>
              </a:rPr>
              <a:t>. </a:t>
            </a:r>
            <a:r>
              <a:rPr lang="de-DE" dirty="0" err="1">
                <a:solidFill>
                  <a:schemeClr val="accent2"/>
                </a:solidFill>
              </a:rPr>
              <a:t>Dolor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situs</a:t>
            </a:r>
            <a:r>
              <a:rPr lang="de-DE" dirty="0">
                <a:solidFill>
                  <a:schemeClr val="accent2"/>
                </a:solidFill>
              </a:rPr>
              <a:t> cum </a:t>
            </a:r>
            <a:r>
              <a:rPr lang="de-DE" dirty="0" err="1">
                <a:solidFill>
                  <a:schemeClr val="accent2"/>
                </a:solidFill>
              </a:rPr>
              <a:t>habilitarum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itum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alusi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causticus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imanenter</a:t>
            </a:r>
            <a:r>
              <a:rPr lang="de-DE" dirty="0">
                <a:solidFill>
                  <a:schemeClr val="accent2"/>
                </a:solidFill>
              </a:rPr>
              <a:t> Status ex </a:t>
            </a:r>
            <a:r>
              <a:rPr lang="de-DE" dirty="0" err="1">
                <a:solidFill>
                  <a:schemeClr val="accent2"/>
                </a:solidFill>
              </a:rPr>
              <a:t>landum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it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exus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rius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laudanum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ibis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tum</a:t>
            </a:r>
            <a:r>
              <a:rPr lang="de-DE" dirty="0">
                <a:solidFill>
                  <a:schemeClr val="accent2"/>
                </a:solidFill>
              </a:rPr>
              <a:t>. </a:t>
            </a:r>
          </a:p>
          <a:p>
            <a:pPr lvl="6">
              <a:buClr>
                <a:schemeClr val="accent2"/>
              </a:buClr>
            </a:pPr>
            <a:r>
              <a:rPr lang="de-DE" dirty="0" err="1">
                <a:solidFill>
                  <a:schemeClr val="accent2"/>
                </a:solidFill>
              </a:rPr>
              <a:t>Sit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ite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causticus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aurum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eum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explindus</a:t>
            </a:r>
            <a:r>
              <a:rPr lang="de-DE" dirty="0">
                <a:solidFill>
                  <a:schemeClr val="accent2"/>
                </a:solidFill>
              </a:rPr>
              <a:t>. Staus ex </a:t>
            </a:r>
            <a:r>
              <a:rPr lang="de-DE" dirty="0" err="1">
                <a:solidFill>
                  <a:schemeClr val="accent2"/>
                </a:solidFill>
              </a:rPr>
              <a:t>landuam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it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wexus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rius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laudanum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ibisw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tum</a:t>
            </a:r>
            <a:r>
              <a:rPr lang="de-DE" dirty="0">
                <a:solidFill>
                  <a:schemeClr val="accent2"/>
                </a:solidFill>
              </a:rPr>
              <a:t>. </a:t>
            </a:r>
            <a:r>
              <a:rPr lang="de-DE" dirty="0" err="1">
                <a:solidFill>
                  <a:schemeClr val="accent2"/>
                </a:solidFill>
              </a:rPr>
              <a:t>Dolor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situs</a:t>
            </a:r>
            <a:r>
              <a:rPr lang="de-DE" dirty="0">
                <a:solidFill>
                  <a:schemeClr val="accent2"/>
                </a:solidFill>
              </a:rPr>
              <a:t> cum </a:t>
            </a:r>
            <a:r>
              <a:rPr lang="de-DE" dirty="0" err="1">
                <a:solidFill>
                  <a:schemeClr val="accent2"/>
                </a:solidFill>
              </a:rPr>
              <a:t>habilitarum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exlan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dum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it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exus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rius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laudanum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ibis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tum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itum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caiusticus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auru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rius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laudanum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ibis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tum</a:t>
            </a:r>
            <a:r>
              <a:rPr lang="de-DE" dirty="0">
                <a:solidFill>
                  <a:schemeClr val="accent2"/>
                </a:solidFill>
              </a:rPr>
              <a:t>. </a:t>
            </a:r>
            <a:r>
              <a:rPr lang="de-DE" dirty="0" err="1">
                <a:solidFill>
                  <a:schemeClr val="accent2"/>
                </a:solidFill>
              </a:rPr>
              <a:t>Lorem</a:t>
            </a:r>
            <a:r>
              <a:rPr lang="de-DE" dirty="0">
                <a:solidFill>
                  <a:schemeClr val="accent2"/>
                </a:solidFill>
              </a:rPr>
              <a:t> et </a:t>
            </a:r>
            <a:r>
              <a:rPr lang="de-DE" dirty="0" err="1">
                <a:solidFill>
                  <a:schemeClr val="accent2"/>
                </a:solidFill>
              </a:rPr>
              <a:t>exit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vulnareus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plexus</a:t>
            </a:r>
            <a:r>
              <a:rPr lang="de-DE" dirty="0">
                <a:solidFill>
                  <a:schemeClr val="accent2"/>
                </a:solidFill>
              </a:rPr>
              <a:t>. m </a:t>
            </a:r>
            <a:r>
              <a:rPr lang="de-DE" dirty="0" err="1">
                <a:solidFill>
                  <a:schemeClr val="accent2"/>
                </a:solidFill>
              </a:rPr>
              <a:t>eum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explindus</a:t>
            </a:r>
            <a:r>
              <a:rPr lang="de-DE" dirty="0">
                <a:solidFill>
                  <a:schemeClr val="accent2"/>
                </a:solidFill>
              </a:rPr>
              <a:t>.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95826FDF-17E6-4360-A389-86377155E69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8220075" y="1700212"/>
            <a:ext cx="3492500" cy="2088017"/>
          </a:xfrm>
          <a:prstGeom prst="rect">
            <a:avLst/>
          </a:prstGeom>
          <a:noFill/>
        </p:spPr>
      </p:pic>
      <p:sp>
        <p:nvSpPr>
          <p:cNvPr id="19" name="Institutsname">
            <a:extLst>
              <a:ext uri="{FF2B5EF4-FFF2-40B4-BE49-F238E27FC236}">
                <a16:creationId xmlns:a16="http://schemas.microsoft.com/office/drawing/2014/main" id="{7B4460E2-4536-4438-A663-4FE68B4B89FB}"/>
              </a:ext>
            </a:extLst>
          </p:cNvPr>
          <p:cNvSpPr txBox="1">
            <a:spLocks noChangeArrowheads="1"/>
          </p:cNvSpPr>
          <p:nvPr/>
        </p:nvSpPr>
        <p:spPr bwMode="gray">
          <a:xfrm rot="16200000">
            <a:off x="7580703" y="5033546"/>
            <a:ext cx="159396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982663"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 sz="700">
                <a:solidFill>
                  <a:schemeClr val="bg1"/>
                </a:solidFill>
              </a:rPr>
              <a:t>© Markus Jürgens</a:t>
            </a:r>
            <a:endParaRPr lang="de-DE" sz="700" b="0" dirty="0">
              <a:solidFill>
                <a:schemeClr val="bg1"/>
              </a:solidFill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DCF80AFC-5B19-4BB3-8DE5-97A43D4591F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00A8EB7B-52C4-4A73-AD26-BF20095DECF6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668C9CC5-1B46-4636-B735-5BD87761305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8B14700A-DC6D-4907-8F8A-DFE75B28192B}"/>
              </a:ext>
            </a:extLst>
          </p:cNvPr>
          <p:cNvSpPr txBox="1"/>
          <p:nvPr/>
        </p:nvSpPr>
        <p:spPr>
          <a:xfrm>
            <a:off x="10600774" y="1819594"/>
            <a:ext cx="993395" cy="296226"/>
          </a:xfrm>
          <a:prstGeom prst="rect">
            <a:avLst/>
          </a:prstGeom>
          <a:solidFill>
            <a:schemeClr val="tx2"/>
          </a:solidFill>
        </p:spPr>
        <p:txBody>
          <a:bodyPr wrap="none" lIns="72000" tIns="36000" rIns="72000" bIns="36000" rtlCol="0">
            <a:spAutoFit/>
          </a:bodyPr>
          <a:lstStyle>
            <a:defPPr>
              <a:defRPr lang="de-DE"/>
            </a:defPPr>
            <a:lvl1pPr algn="r">
              <a:lnSpc>
                <a:spcPct val="110000"/>
              </a:lnSpc>
              <a:buClr>
                <a:schemeClr val="accent1"/>
              </a:buClr>
              <a:defRPr sz="1400">
                <a:solidFill>
                  <a:schemeClr val="bg1"/>
                </a:solidFill>
              </a:defRPr>
            </a:lvl1pPr>
          </a:lstStyle>
          <a:p>
            <a:r>
              <a:rPr lang="de-DE"/>
              <a:t>Beispielbild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3FF722B-90BD-4CCE-88D1-C0B71C79202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3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064421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Grafik 23" descr="Ein Bild, das Gebäude, draußen, Himmel, Stadt enthält.&#10;&#10;Automatisch generierte Beschreibung">
            <a:extLst>
              <a:ext uri="{FF2B5EF4-FFF2-40B4-BE49-F238E27FC236}">
                <a16:creationId xmlns:a16="http://schemas.microsoft.com/office/drawing/2014/main" id="{82C504F1-D7A5-4DFD-887C-683870158BC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97"/>
          <a:stretch/>
        </p:blipFill>
        <p:spPr>
          <a:xfrm>
            <a:off x="8220075" y="1700213"/>
            <a:ext cx="3495889" cy="2183475"/>
          </a:xfrm>
          <a:prstGeom prst="rect">
            <a:avLst/>
          </a:prstGeom>
        </p:spPr>
      </p:pic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A6F092D-727C-44CD-BB0C-F1C722C503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20780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A6F092D-727C-44CD-BB0C-F1C722C503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83E5052C-74D3-4E8D-B5BD-60350328090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</p:spPr>
        <p:txBody>
          <a:bodyPr vert="horz"/>
          <a:lstStyle/>
          <a:p>
            <a:r>
              <a:rPr lang="de-DE"/>
              <a:t>Headline, Frutiger LT Com Bd, 24 pt, dreispaltig mit Text und Bildern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5B618E2-17C0-4D4F-B8F7-7C6F7BC1EEB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2000" dirty="0" err="1">
                <a:latin typeface="+mn-lt"/>
              </a:rPr>
              <a:t>Subline</a:t>
            </a:r>
            <a:r>
              <a:rPr lang="de-DE" sz="2000" dirty="0">
                <a:latin typeface="+mn-lt"/>
              </a:rPr>
              <a:t>, Frutiger LT </a:t>
            </a:r>
            <a:r>
              <a:rPr lang="de-DE" sz="2000" err="1">
                <a:latin typeface="+mn-lt"/>
              </a:rPr>
              <a:t>Com</a:t>
            </a:r>
            <a:r>
              <a:rPr lang="de-DE" sz="2000">
                <a:latin typeface="+mn-lt"/>
              </a:rPr>
              <a:t> Lt</a:t>
            </a:r>
            <a:r>
              <a:rPr lang="de-DE" sz="2000" dirty="0">
                <a:latin typeface="+mn-lt"/>
              </a:rPr>
              <a:t>, 20 </a:t>
            </a:r>
            <a:r>
              <a:rPr lang="de-DE" sz="2000" dirty="0" err="1">
                <a:latin typeface="+mn-lt"/>
              </a:rPr>
              <a:t>pt</a:t>
            </a:r>
            <a:endParaRPr lang="en-US" dirty="0"/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E170BC20-4930-4506-8470-6F45AE77F7D2}"/>
              </a:ext>
            </a:extLst>
          </p:cNvPr>
          <p:cNvSpPr txBox="1">
            <a:spLocks/>
          </p:cNvSpPr>
          <p:nvPr/>
        </p:nvSpPr>
        <p:spPr bwMode="gray">
          <a:xfrm>
            <a:off x="479425" y="4098437"/>
            <a:ext cx="3492501" cy="1685974"/>
          </a:xfrm>
          <a:prstGeom prst="rect">
            <a:avLst/>
          </a:prstGeom>
        </p:spPr>
        <p:txBody>
          <a:bodyPr wrap="square" lIns="0" tIns="0" rIns="0" bIns="0" numCol="1" spcCol="360000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de-DE" dirty="0"/>
              <a:t>Headline</a:t>
            </a:r>
          </a:p>
          <a:p>
            <a:pPr lvl="1">
              <a:lnSpc>
                <a:spcPct val="110000"/>
              </a:lnSpc>
            </a:pPr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alusi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. 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64BB0F93-8532-49F6-B8B5-A0696FD2EB28}"/>
              </a:ext>
            </a:extLst>
          </p:cNvPr>
          <p:cNvSpPr txBox="1">
            <a:spLocks/>
          </p:cNvSpPr>
          <p:nvPr/>
        </p:nvSpPr>
        <p:spPr bwMode="gray">
          <a:xfrm>
            <a:off x="4332289" y="4098437"/>
            <a:ext cx="3492501" cy="1685974"/>
          </a:xfrm>
          <a:prstGeom prst="rect">
            <a:avLst/>
          </a:prstGeom>
        </p:spPr>
        <p:txBody>
          <a:bodyPr wrap="square" lIns="0" tIns="0" rIns="0" bIns="0" numCol="1" spcCol="360000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de-DE" dirty="0"/>
              <a:t>Headline</a:t>
            </a:r>
          </a:p>
          <a:p>
            <a:pPr lvl="1">
              <a:lnSpc>
                <a:spcPct val="110000"/>
              </a:lnSpc>
            </a:pPr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alusi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. 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FFB20BA6-91F2-4FA3-8557-5EB7F2B876C8}"/>
              </a:ext>
            </a:extLst>
          </p:cNvPr>
          <p:cNvSpPr txBox="1">
            <a:spLocks/>
          </p:cNvSpPr>
          <p:nvPr/>
        </p:nvSpPr>
        <p:spPr bwMode="gray">
          <a:xfrm>
            <a:off x="8218487" y="4098437"/>
            <a:ext cx="3492501" cy="1685974"/>
          </a:xfrm>
          <a:prstGeom prst="rect">
            <a:avLst/>
          </a:prstGeom>
        </p:spPr>
        <p:txBody>
          <a:bodyPr wrap="square" lIns="0" tIns="0" rIns="0" bIns="0" numCol="1" spcCol="360000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de-DE" dirty="0"/>
              <a:t>Headline</a:t>
            </a:r>
          </a:p>
          <a:p>
            <a:pPr lvl="1">
              <a:lnSpc>
                <a:spcPct val="110000"/>
              </a:lnSpc>
            </a:pPr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alusi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. </a:t>
            </a:r>
          </a:p>
        </p:txBody>
      </p:sp>
      <p:pic>
        <p:nvPicPr>
          <p:cNvPr id="16" name="Grafik 15" descr="Ein Bild, das Gebäude, draußen, Himmel, Stadt enthält.&#10;&#10;Automatisch generierte Beschreibung">
            <a:extLst>
              <a:ext uri="{FF2B5EF4-FFF2-40B4-BE49-F238E27FC236}">
                <a16:creationId xmlns:a16="http://schemas.microsoft.com/office/drawing/2014/main" id="{B7DFAD94-6C73-46B3-98C2-77A8FC6734C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6036" y="1700213"/>
            <a:ext cx="3495889" cy="2183475"/>
          </a:xfrm>
          <a:prstGeom prst="rect">
            <a:avLst/>
          </a:prstGeom>
        </p:spPr>
      </p:pic>
      <p:sp>
        <p:nvSpPr>
          <p:cNvPr id="22" name="Institutsname">
            <a:extLst>
              <a:ext uri="{FF2B5EF4-FFF2-40B4-BE49-F238E27FC236}">
                <a16:creationId xmlns:a16="http://schemas.microsoft.com/office/drawing/2014/main" id="{316D553E-AE0B-43A7-A430-F0F88BDD542D}"/>
              </a:ext>
            </a:extLst>
          </p:cNvPr>
          <p:cNvSpPr txBox="1">
            <a:spLocks noChangeArrowheads="1"/>
          </p:cNvSpPr>
          <p:nvPr/>
        </p:nvSpPr>
        <p:spPr bwMode="gray">
          <a:xfrm rot="16200000">
            <a:off x="-221846" y="2961047"/>
            <a:ext cx="159396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982663"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 sz="700" dirty="0"/>
              <a:t>© Markus Jürgens</a:t>
            </a:r>
            <a:endParaRPr lang="de-DE" sz="700" b="0" dirty="0"/>
          </a:p>
        </p:txBody>
      </p:sp>
      <p:pic>
        <p:nvPicPr>
          <p:cNvPr id="23" name="Grafik 22" descr="Ein Bild, das Gebäude, draußen, Himmel, Stadt enthält.&#10;&#10;Automatisch generierte Beschreibung">
            <a:extLst>
              <a:ext uri="{FF2B5EF4-FFF2-40B4-BE49-F238E27FC236}">
                <a16:creationId xmlns:a16="http://schemas.microsoft.com/office/drawing/2014/main" id="{D83B8B80-BC67-471B-AD66-1844E9F7BFF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32288" y="1700213"/>
            <a:ext cx="3495889" cy="2183475"/>
          </a:xfrm>
          <a:prstGeom prst="rect">
            <a:avLst/>
          </a:prstGeom>
        </p:spPr>
      </p:pic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4F37005-80F1-457B-B36E-741C1BC331AE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8D5EB2EE-64F6-4675-A176-689BADC43CF6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D717CE7-F056-4861-8E75-1F9AC400F24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9FB34755-ED4C-4A9C-9ADE-AD683B76F9B8}"/>
              </a:ext>
            </a:extLst>
          </p:cNvPr>
          <p:cNvSpPr txBox="1"/>
          <p:nvPr/>
        </p:nvSpPr>
        <p:spPr>
          <a:xfrm>
            <a:off x="10600774" y="1819594"/>
            <a:ext cx="993395" cy="296226"/>
          </a:xfrm>
          <a:prstGeom prst="rect">
            <a:avLst/>
          </a:prstGeom>
          <a:solidFill>
            <a:schemeClr val="tx2"/>
          </a:solidFill>
        </p:spPr>
        <p:txBody>
          <a:bodyPr wrap="none" lIns="72000" tIns="36000" rIns="72000" bIns="36000" rtlCol="0">
            <a:spAutoFit/>
          </a:bodyPr>
          <a:lstStyle>
            <a:defPPr>
              <a:defRPr lang="de-DE"/>
            </a:defPPr>
            <a:lvl1pPr algn="r">
              <a:lnSpc>
                <a:spcPct val="110000"/>
              </a:lnSpc>
              <a:buClr>
                <a:schemeClr val="accent1"/>
              </a:buClr>
              <a:defRPr sz="1400">
                <a:solidFill>
                  <a:schemeClr val="bg1"/>
                </a:solidFill>
              </a:defRPr>
            </a:lvl1pPr>
          </a:lstStyle>
          <a:p>
            <a:r>
              <a:rPr lang="de-DE"/>
              <a:t>Beispielbild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8A934F38-4421-4F1B-99BE-04BB89216F4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3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496659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90891C7-6D41-4751-AAF0-E1F42FA25A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0979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41302674-EEB7-40B5-9CEA-BF6F727319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ini-Styleguide</a:t>
            </a:r>
            <a:endParaRPr lang="de-DE" dirty="0"/>
          </a:p>
        </p:txBody>
      </p:sp>
      <p:sp>
        <p:nvSpPr>
          <p:cNvPr id="41" name="Textplatzhalter 40">
            <a:extLst>
              <a:ext uri="{FF2B5EF4-FFF2-40B4-BE49-F238E27FC236}">
                <a16:creationId xmlns:a16="http://schemas.microsoft.com/office/drawing/2014/main" id="{8FB55184-B55A-469C-819C-60EEEC5604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Designfarben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ABD88A28-FDAE-47A7-AF5B-8D8842DEB031}"/>
              </a:ext>
            </a:extLst>
          </p:cNvPr>
          <p:cNvSpPr txBox="1"/>
          <p:nvPr/>
        </p:nvSpPr>
        <p:spPr bwMode="gray">
          <a:xfrm>
            <a:off x="479424" y="1700213"/>
            <a:ext cx="2417393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200" b="1"/>
            </a:lvl1pPr>
            <a:lvl2pPr marL="180000" lvl="1" indent="-1800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3pPr>
            <a:lvl4pPr marL="540000" lvl="3" indent="-1800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4pPr>
            <a:lvl5pPr marL="720000" indent="-1800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sz="1600">
                <a:solidFill>
                  <a:schemeClr val="accent1"/>
                </a:solidFill>
                <a:latin typeface="+mj-lt"/>
              </a:rPr>
              <a:t>Designfarben</a:t>
            </a:r>
            <a:endParaRPr lang="de-DE" sz="16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762B6F9-6D47-4300-AD04-F02D2E76FA33}"/>
              </a:ext>
            </a:extLst>
          </p:cNvPr>
          <p:cNvSpPr/>
          <p:nvPr/>
        </p:nvSpPr>
        <p:spPr bwMode="gray">
          <a:xfrm>
            <a:off x="485792" y="2121076"/>
            <a:ext cx="545576" cy="545576"/>
          </a:xfrm>
          <a:prstGeom prst="rect">
            <a:avLst/>
          </a:prstGeom>
          <a:solidFill>
            <a:schemeClr val="bg1">
              <a:alpha val="45000"/>
            </a:schemeClr>
          </a:solidFill>
          <a:ln w="9525" cap="flat" cmpd="sng" algn="ctr">
            <a:solidFill>
              <a:srgbClr val="4B4B4D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9883AE59-7691-4555-AAED-A71D3D6CBFAF}"/>
              </a:ext>
            </a:extLst>
          </p:cNvPr>
          <p:cNvSpPr/>
          <p:nvPr/>
        </p:nvSpPr>
        <p:spPr bwMode="gray">
          <a:xfrm>
            <a:off x="1180753" y="2121076"/>
            <a:ext cx="545576" cy="54557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591F101-77CD-4C76-99B8-9BB959340CB3}"/>
              </a:ext>
            </a:extLst>
          </p:cNvPr>
          <p:cNvSpPr/>
          <p:nvPr/>
        </p:nvSpPr>
        <p:spPr bwMode="gray">
          <a:xfrm>
            <a:off x="1875714" y="2121076"/>
            <a:ext cx="545576" cy="54557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A5D3156-5327-486B-BAAB-A31AD391D4BA}"/>
              </a:ext>
            </a:extLst>
          </p:cNvPr>
          <p:cNvSpPr/>
          <p:nvPr/>
        </p:nvSpPr>
        <p:spPr bwMode="gray">
          <a:xfrm>
            <a:off x="2563711" y="2121076"/>
            <a:ext cx="545576" cy="54557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B1DAE819-ED30-4371-9894-4B11F80454DC}"/>
              </a:ext>
            </a:extLst>
          </p:cNvPr>
          <p:cNvSpPr>
            <a:spLocks/>
          </p:cNvSpPr>
          <p:nvPr/>
        </p:nvSpPr>
        <p:spPr bwMode="gray">
          <a:xfrm>
            <a:off x="5350520" y="2121076"/>
            <a:ext cx="545576" cy="54557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17EEE808-56B1-47D8-8BD5-1E0C98D929F4}"/>
              </a:ext>
            </a:extLst>
          </p:cNvPr>
          <p:cNvSpPr>
            <a:spLocks/>
          </p:cNvSpPr>
          <p:nvPr/>
        </p:nvSpPr>
        <p:spPr bwMode="gray">
          <a:xfrm>
            <a:off x="4655559" y="2121076"/>
            <a:ext cx="545576" cy="545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5969A8C4-E1EA-4B1B-A009-15EF04DB9C21}"/>
              </a:ext>
            </a:extLst>
          </p:cNvPr>
          <p:cNvSpPr/>
          <p:nvPr/>
        </p:nvSpPr>
        <p:spPr bwMode="gray">
          <a:xfrm>
            <a:off x="6045482" y="2121076"/>
            <a:ext cx="545576" cy="54557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DA276466-5D19-4714-9B66-55DB9AEF6FFF}"/>
              </a:ext>
            </a:extLst>
          </p:cNvPr>
          <p:cNvSpPr/>
          <p:nvPr/>
        </p:nvSpPr>
        <p:spPr bwMode="gray">
          <a:xfrm>
            <a:off x="6728771" y="2121076"/>
            <a:ext cx="545576" cy="54557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AC14C681-804F-4BC5-83C5-577E57917E04}"/>
              </a:ext>
            </a:extLst>
          </p:cNvPr>
          <p:cNvSpPr txBox="1"/>
          <p:nvPr/>
        </p:nvSpPr>
        <p:spPr bwMode="gray">
          <a:xfrm>
            <a:off x="485792" y="2781381"/>
            <a:ext cx="26234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ea typeface="Verdana" panose="020B0604030504040204" pitchFamily="34" charset="0"/>
              </a:rPr>
              <a:t>Hintergrund/Text</a:t>
            </a:r>
            <a:endParaRPr lang="de-DE" sz="1000" dirty="0">
              <a:ea typeface="Verdana" panose="020B0604030504040204" pitchFamily="34" charset="0"/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7EAC2BA5-4951-440F-938D-63C837617AFF}"/>
              </a:ext>
            </a:extLst>
          </p:cNvPr>
          <p:cNvSpPr txBox="1"/>
          <p:nvPr/>
        </p:nvSpPr>
        <p:spPr bwMode="gray">
          <a:xfrm>
            <a:off x="3265638" y="2781381"/>
            <a:ext cx="54557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ea typeface="Verdana" panose="020B0604030504040204" pitchFamily="34" charset="0"/>
              </a:rPr>
              <a:t>Akzent 1 </a:t>
            </a:r>
            <a:endParaRPr lang="de-DE" sz="1000" dirty="0">
              <a:ea typeface="Verdana" panose="020B0604030504040204" pitchFamily="34" charset="0"/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AC19E016-345F-4A69-97DB-865A8B61BA41}"/>
              </a:ext>
            </a:extLst>
          </p:cNvPr>
          <p:cNvSpPr txBox="1"/>
          <p:nvPr/>
        </p:nvSpPr>
        <p:spPr bwMode="gray">
          <a:xfrm>
            <a:off x="3960599" y="2781381"/>
            <a:ext cx="54557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ea typeface="Verdana" panose="020B0604030504040204" pitchFamily="34" charset="0"/>
              </a:rPr>
              <a:t>Akzent 2</a:t>
            </a:r>
            <a:endParaRPr lang="de-DE" sz="1000" dirty="0">
              <a:ea typeface="Verdana" panose="020B0604030504040204" pitchFamily="34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80DEFE87-C873-4375-A613-7BA160773981}"/>
              </a:ext>
            </a:extLst>
          </p:cNvPr>
          <p:cNvSpPr txBox="1"/>
          <p:nvPr/>
        </p:nvSpPr>
        <p:spPr bwMode="gray">
          <a:xfrm>
            <a:off x="4655561" y="2781381"/>
            <a:ext cx="54557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ea typeface="Verdana" panose="020B0604030504040204" pitchFamily="34" charset="0"/>
              </a:rPr>
              <a:t>Akzent 3</a:t>
            </a:r>
            <a:endParaRPr lang="de-DE" sz="1000" dirty="0">
              <a:ea typeface="Verdana" panose="020B0604030504040204" pitchFamily="34" charset="0"/>
            </a:endParaRP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6F0BCC80-E662-4ABD-985D-A69DC969D70E}"/>
              </a:ext>
            </a:extLst>
          </p:cNvPr>
          <p:cNvSpPr txBox="1"/>
          <p:nvPr/>
        </p:nvSpPr>
        <p:spPr bwMode="gray">
          <a:xfrm>
            <a:off x="5350522" y="2781381"/>
            <a:ext cx="54557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ea typeface="Verdana" panose="020B0604030504040204" pitchFamily="34" charset="0"/>
              </a:rPr>
              <a:t>Akzent 4</a:t>
            </a:r>
            <a:endParaRPr lang="de-DE" sz="1000" dirty="0">
              <a:ea typeface="Verdana" panose="020B0604030504040204" pitchFamily="34" charset="0"/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D05CDAAE-91B8-4ED4-8BB1-C6F9F07480F0}"/>
              </a:ext>
            </a:extLst>
          </p:cNvPr>
          <p:cNvSpPr txBox="1"/>
          <p:nvPr/>
        </p:nvSpPr>
        <p:spPr bwMode="gray">
          <a:xfrm>
            <a:off x="6045483" y="2781381"/>
            <a:ext cx="54557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ea typeface="Verdana" panose="020B0604030504040204" pitchFamily="34" charset="0"/>
              </a:rPr>
              <a:t>Akzent 5</a:t>
            </a:r>
            <a:endParaRPr lang="de-DE" sz="1000" dirty="0">
              <a:ea typeface="Verdana" panose="020B0604030504040204" pitchFamily="34" charset="0"/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A67764FF-6D6D-4DB5-96F8-4D1D236B0715}"/>
              </a:ext>
            </a:extLst>
          </p:cNvPr>
          <p:cNvSpPr txBox="1"/>
          <p:nvPr/>
        </p:nvSpPr>
        <p:spPr bwMode="gray">
          <a:xfrm>
            <a:off x="6740442" y="2781381"/>
            <a:ext cx="54557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>
                <a:ea typeface="Verdana" panose="020B0604030504040204" pitchFamily="34" charset="0"/>
              </a:rPr>
              <a:t>Akzent 6</a:t>
            </a:r>
            <a:endParaRPr lang="de-DE" sz="1000" dirty="0">
              <a:ea typeface="Verdana" panose="020B0604030504040204" pitchFamily="34" charset="0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1DCFCFD9-3A44-460F-AE36-31548189E9E4}"/>
              </a:ext>
            </a:extLst>
          </p:cNvPr>
          <p:cNvSpPr>
            <a:spLocks/>
          </p:cNvSpPr>
          <p:nvPr/>
        </p:nvSpPr>
        <p:spPr bwMode="gray">
          <a:xfrm>
            <a:off x="3960595" y="2121076"/>
            <a:ext cx="545576" cy="545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FDBDBAE4-C3F3-41C7-BEED-6DD12C9A542E}"/>
              </a:ext>
            </a:extLst>
          </p:cNvPr>
          <p:cNvSpPr>
            <a:spLocks/>
          </p:cNvSpPr>
          <p:nvPr/>
        </p:nvSpPr>
        <p:spPr bwMode="gray">
          <a:xfrm>
            <a:off x="3278966" y="2121076"/>
            <a:ext cx="545576" cy="54557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graphicFrame>
        <p:nvGraphicFramePr>
          <p:cNvPr id="29" name="Diagramm 28">
            <a:extLst>
              <a:ext uri="{FF2B5EF4-FFF2-40B4-BE49-F238E27FC236}">
                <a16:creationId xmlns:a16="http://schemas.microsoft.com/office/drawing/2014/main" id="{832A4CB3-8A15-4B85-863E-44D6AB8FD6C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84254944"/>
              </p:ext>
            </p:extLst>
          </p:nvPr>
        </p:nvGraphicFramePr>
        <p:xfrm>
          <a:off x="7656495" y="1650047"/>
          <a:ext cx="4212431" cy="42643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1" name="Textfeld 30">
            <a:extLst>
              <a:ext uri="{FF2B5EF4-FFF2-40B4-BE49-F238E27FC236}">
                <a16:creationId xmlns:a16="http://schemas.microsoft.com/office/drawing/2014/main" id="{20BE30D0-A0CC-45B8-B67F-C03F35438A2C}"/>
              </a:ext>
            </a:extLst>
          </p:cNvPr>
          <p:cNvSpPr txBox="1"/>
          <p:nvPr/>
        </p:nvSpPr>
        <p:spPr bwMode="gray">
          <a:xfrm>
            <a:off x="479424" y="3503466"/>
            <a:ext cx="417613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200" b="1"/>
            </a:lvl1pPr>
            <a:lvl2pPr marL="180000" lvl="1" indent="-1800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3pPr>
            <a:lvl4pPr marL="540000" lvl="3" indent="-1800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4pPr>
            <a:lvl5pPr marL="720000" indent="-1800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sz="1600" b="0">
                <a:solidFill>
                  <a:schemeClr val="accent1"/>
                </a:solidFill>
                <a:latin typeface="+mj-lt"/>
              </a:rPr>
              <a:t>Benutzerdefinierte Farben</a:t>
            </a:r>
            <a:endParaRPr lang="de-DE" sz="1600" b="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5894C075-CD1E-4801-93BE-E0AFEFEB55A1}"/>
              </a:ext>
            </a:extLst>
          </p:cNvPr>
          <p:cNvSpPr/>
          <p:nvPr/>
        </p:nvSpPr>
        <p:spPr bwMode="gray">
          <a:xfrm>
            <a:off x="485792" y="3924434"/>
            <a:ext cx="545576" cy="54557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67D6E7F7-209E-415B-A001-DFD9A386C583}"/>
              </a:ext>
            </a:extLst>
          </p:cNvPr>
          <p:cNvSpPr/>
          <p:nvPr/>
        </p:nvSpPr>
        <p:spPr bwMode="gray">
          <a:xfrm>
            <a:off x="1180753" y="3924434"/>
            <a:ext cx="545576" cy="545576"/>
          </a:xfrm>
          <a:prstGeom prst="rect">
            <a:avLst/>
          </a:prstGeom>
          <a:solidFill>
            <a:srgbClr val="005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077D551E-7F0D-4464-B6EA-9AF22CB8DBEA}"/>
              </a:ext>
            </a:extLst>
          </p:cNvPr>
          <p:cNvSpPr/>
          <p:nvPr/>
        </p:nvSpPr>
        <p:spPr bwMode="gray">
          <a:xfrm>
            <a:off x="1875714" y="3924434"/>
            <a:ext cx="545576" cy="545576"/>
          </a:xfrm>
          <a:prstGeom prst="rect">
            <a:avLst/>
          </a:prstGeom>
          <a:solidFill>
            <a:srgbClr val="A6BB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EE895D1B-51E8-4DC5-81B4-44A9F9915105}"/>
              </a:ext>
            </a:extLst>
          </p:cNvPr>
          <p:cNvSpPr/>
          <p:nvPr/>
        </p:nvSpPr>
        <p:spPr bwMode="gray">
          <a:xfrm>
            <a:off x="2563711" y="3924434"/>
            <a:ext cx="545576" cy="54557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90B778B5-11B3-4231-B158-695818F8CA5C}"/>
              </a:ext>
            </a:extLst>
          </p:cNvPr>
          <p:cNvSpPr>
            <a:spLocks/>
          </p:cNvSpPr>
          <p:nvPr/>
        </p:nvSpPr>
        <p:spPr bwMode="gray">
          <a:xfrm>
            <a:off x="5350520" y="3924434"/>
            <a:ext cx="545576" cy="545576"/>
          </a:xfrm>
          <a:prstGeom prst="rect">
            <a:avLst/>
          </a:prstGeom>
          <a:solidFill>
            <a:srgbClr val="99BD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7075053C-1F42-4FBD-ABDE-DA921E6B0FA3}"/>
              </a:ext>
            </a:extLst>
          </p:cNvPr>
          <p:cNvSpPr>
            <a:spLocks/>
          </p:cNvSpPr>
          <p:nvPr/>
        </p:nvSpPr>
        <p:spPr bwMode="gray">
          <a:xfrm>
            <a:off x="4655559" y="3924434"/>
            <a:ext cx="545576" cy="545576"/>
          </a:xfrm>
          <a:prstGeom prst="rect">
            <a:avLst/>
          </a:prstGeom>
          <a:solidFill>
            <a:srgbClr val="669D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37D5B622-4749-4EA8-89C2-E436DCD96770}"/>
              </a:ext>
            </a:extLst>
          </p:cNvPr>
          <p:cNvSpPr/>
          <p:nvPr/>
        </p:nvSpPr>
        <p:spPr bwMode="gray">
          <a:xfrm>
            <a:off x="6045482" y="3924434"/>
            <a:ext cx="545576" cy="545576"/>
          </a:xfrm>
          <a:prstGeom prst="rect">
            <a:avLst/>
          </a:prstGeom>
          <a:solidFill>
            <a:srgbClr val="CCDE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EF80D0E-0086-48FD-AAB8-4D13B75FF3DA}"/>
              </a:ext>
            </a:extLst>
          </p:cNvPr>
          <p:cNvSpPr/>
          <p:nvPr/>
        </p:nvSpPr>
        <p:spPr bwMode="gray">
          <a:xfrm>
            <a:off x="6728771" y="3924434"/>
            <a:ext cx="545576" cy="545576"/>
          </a:xfrm>
          <a:prstGeom prst="rect">
            <a:avLst/>
          </a:prstGeom>
          <a:solidFill>
            <a:srgbClr val="E5EE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19B2EF7D-9BCD-44F6-B887-C850A170BE1F}"/>
              </a:ext>
            </a:extLst>
          </p:cNvPr>
          <p:cNvSpPr>
            <a:spLocks/>
          </p:cNvSpPr>
          <p:nvPr/>
        </p:nvSpPr>
        <p:spPr bwMode="gray">
          <a:xfrm>
            <a:off x="3960595" y="3924434"/>
            <a:ext cx="545576" cy="545576"/>
          </a:xfrm>
          <a:prstGeom prst="rect">
            <a:avLst/>
          </a:prstGeom>
          <a:solidFill>
            <a:srgbClr val="337C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FF8F5890-008D-4181-8A08-793AD607E070}"/>
              </a:ext>
            </a:extLst>
          </p:cNvPr>
          <p:cNvSpPr>
            <a:spLocks/>
          </p:cNvSpPr>
          <p:nvPr/>
        </p:nvSpPr>
        <p:spPr bwMode="gray">
          <a:xfrm>
            <a:off x="3278966" y="3924434"/>
            <a:ext cx="545576" cy="545576"/>
          </a:xfrm>
          <a:prstGeom prst="rect">
            <a:avLst/>
          </a:prstGeom>
          <a:solidFill>
            <a:schemeClr val="bg1">
              <a:alpha val="45000"/>
            </a:schemeClr>
          </a:solidFill>
          <a:ln w="9525" cap="flat" cmpd="sng" algn="ctr">
            <a:solidFill>
              <a:srgbClr val="4B4B4D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3428DDE3-D13E-46C6-A3A4-5536B174270E}"/>
              </a:ext>
            </a:extLst>
          </p:cNvPr>
          <p:cNvSpPr/>
          <p:nvPr/>
        </p:nvSpPr>
        <p:spPr bwMode="gray">
          <a:xfrm>
            <a:off x="485792" y="4632572"/>
            <a:ext cx="545576" cy="545576"/>
          </a:xfrm>
          <a:prstGeom prst="rect">
            <a:avLst/>
          </a:prstGeom>
          <a:solidFill>
            <a:srgbClr val="1C3F5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1E1ED731-BD81-4EBE-A6EE-B8451AD232E6}"/>
              </a:ext>
            </a:extLst>
          </p:cNvPr>
          <p:cNvSpPr/>
          <p:nvPr/>
        </p:nvSpPr>
        <p:spPr bwMode="gray">
          <a:xfrm>
            <a:off x="1180753" y="4632572"/>
            <a:ext cx="545576" cy="545576"/>
          </a:xfrm>
          <a:prstGeom prst="rect">
            <a:avLst/>
          </a:prstGeom>
          <a:solidFill>
            <a:srgbClr val="D3C7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C3E80CAA-B8B7-4A01-84BD-0EFDC67B048C}"/>
              </a:ext>
            </a:extLst>
          </p:cNvPr>
          <p:cNvSpPr/>
          <p:nvPr/>
        </p:nvSpPr>
        <p:spPr bwMode="gray">
          <a:xfrm>
            <a:off x="1875714" y="4632572"/>
            <a:ext cx="545576" cy="545576"/>
          </a:xfrm>
          <a:prstGeom prst="rect">
            <a:avLst/>
          </a:prstGeom>
          <a:solidFill>
            <a:srgbClr val="0085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ED495D30-CC38-4F8B-8B54-52B55C298977}"/>
              </a:ext>
            </a:extLst>
          </p:cNvPr>
          <p:cNvSpPr/>
          <p:nvPr/>
        </p:nvSpPr>
        <p:spPr bwMode="gray">
          <a:xfrm>
            <a:off x="2563711" y="4632572"/>
            <a:ext cx="545576" cy="545576"/>
          </a:xfrm>
          <a:prstGeom prst="rect">
            <a:avLst/>
          </a:prstGeom>
          <a:solidFill>
            <a:srgbClr val="39C1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05E5A375-F13F-4A0E-8F43-755BB4D0E7B8}"/>
              </a:ext>
            </a:extLst>
          </p:cNvPr>
          <p:cNvSpPr>
            <a:spLocks/>
          </p:cNvSpPr>
          <p:nvPr/>
        </p:nvSpPr>
        <p:spPr bwMode="gray">
          <a:xfrm>
            <a:off x="5350520" y="4632572"/>
            <a:ext cx="545576" cy="545576"/>
          </a:xfrm>
          <a:prstGeom prst="rect">
            <a:avLst/>
          </a:prstGeom>
          <a:solidFill>
            <a:srgbClr val="7C15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B89A5387-4013-43FA-B837-DC982E70CE00}"/>
              </a:ext>
            </a:extLst>
          </p:cNvPr>
          <p:cNvSpPr>
            <a:spLocks/>
          </p:cNvSpPr>
          <p:nvPr/>
        </p:nvSpPr>
        <p:spPr bwMode="gray">
          <a:xfrm>
            <a:off x="4655559" y="4632572"/>
            <a:ext cx="545576" cy="545576"/>
          </a:xfrm>
          <a:prstGeom prst="rect">
            <a:avLst/>
          </a:prstGeom>
          <a:solidFill>
            <a:srgbClr val="BB00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D7826555-DE47-454D-BF5C-9078DC8AED0A}"/>
              </a:ext>
            </a:extLst>
          </p:cNvPr>
          <p:cNvSpPr/>
          <p:nvPr/>
        </p:nvSpPr>
        <p:spPr bwMode="gray">
          <a:xfrm>
            <a:off x="6045482" y="4632572"/>
            <a:ext cx="545576" cy="545576"/>
          </a:xfrm>
          <a:prstGeom prst="rect">
            <a:avLst/>
          </a:prstGeom>
          <a:solidFill>
            <a:schemeClr val="bg1">
              <a:alpha val="45000"/>
            </a:schemeClr>
          </a:solidFill>
          <a:ln w="9525" cap="flat" cmpd="sng" algn="ctr">
            <a:solidFill>
              <a:srgbClr val="4B4B4D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ABF43CDE-3061-4FE8-BC1B-8A7DC946FEBC}"/>
              </a:ext>
            </a:extLst>
          </p:cNvPr>
          <p:cNvSpPr/>
          <p:nvPr/>
        </p:nvSpPr>
        <p:spPr bwMode="gray">
          <a:xfrm>
            <a:off x="6728771" y="4632572"/>
            <a:ext cx="545576" cy="545576"/>
          </a:xfrm>
          <a:prstGeom prst="rect">
            <a:avLst/>
          </a:prstGeom>
          <a:solidFill>
            <a:schemeClr val="bg1">
              <a:alpha val="45000"/>
            </a:schemeClr>
          </a:solidFill>
          <a:ln w="9525" cap="flat" cmpd="sng" algn="ctr">
            <a:solidFill>
              <a:srgbClr val="4B4B4D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C359D98B-957F-4902-B96A-81735D1A342D}"/>
              </a:ext>
            </a:extLst>
          </p:cNvPr>
          <p:cNvSpPr>
            <a:spLocks/>
          </p:cNvSpPr>
          <p:nvPr/>
        </p:nvSpPr>
        <p:spPr bwMode="gray">
          <a:xfrm>
            <a:off x="3960595" y="4632572"/>
            <a:ext cx="545576" cy="545576"/>
          </a:xfrm>
          <a:prstGeom prst="rect">
            <a:avLst/>
          </a:prstGeom>
          <a:solidFill>
            <a:srgbClr val="FDB9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46833CD-6B0C-4D02-96BA-BEE49745A915}"/>
              </a:ext>
            </a:extLst>
          </p:cNvPr>
          <p:cNvSpPr>
            <a:spLocks/>
          </p:cNvSpPr>
          <p:nvPr/>
        </p:nvSpPr>
        <p:spPr bwMode="gray">
          <a:xfrm>
            <a:off x="3278966" y="4632572"/>
            <a:ext cx="545576" cy="545576"/>
          </a:xfrm>
          <a:prstGeom prst="rect">
            <a:avLst/>
          </a:prstGeom>
          <a:solidFill>
            <a:srgbClr val="B2D23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416CF6A0-67BA-40FE-8C69-8DD5311273A6}"/>
              </a:ext>
            </a:extLst>
          </p:cNvPr>
          <p:cNvSpPr txBox="1"/>
          <p:nvPr/>
        </p:nvSpPr>
        <p:spPr bwMode="gray">
          <a:xfrm>
            <a:off x="7862718" y="1700213"/>
            <a:ext cx="3641636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200" b="1"/>
            </a:lvl1pPr>
            <a:lvl2pPr marL="180000" lvl="1" indent="-1800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3pPr>
            <a:lvl4pPr marL="540000" lvl="3" indent="-1800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4pPr>
            <a:lvl5pPr marL="720000" indent="-1800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sz="1600" b="0">
                <a:solidFill>
                  <a:schemeClr val="accent1"/>
                </a:solidFill>
                <a:latin typeface="+mj-lt"/>
              </a:rPr>
              <a:t>Farbreihenfolge in Diagrammen</a:t>
            </a:r>
            <a:endParaRPr lang="de-DE" sz="1600" b="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9EBC173-A0EA-4931-BF90-A1EF71AE1F9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983C92B0-C4DB-4334-BA2C-F120D20EEA8F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BA2A0F2-0616-41E9-9E54-FEEAC0D170E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068158C-937F-46F5-B819-7B126B4CF7B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195409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Grafik 27" descr="Ein Bild, das Gebäude, draußen, Himmel, Stadt enthält.&#10;&#10;Automatisch generierte Beschreibung">
            <a:extLst>
              <a:ext uri="{FF2B5EF4-FFF2-40B4-BE49-F238E27FC236}">
                <a16:creationId xmlns:a16="http://schemas.microsoft.com/office/drawing/2014/main" id="{08CC2A95-EA64-4A87-903B-0184D26FF7F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88236" y="1700213"/>
            <a:ext cx="2524339" cy="2183475"/>
          </a:xfrm>
          <a:prstGeom prst="rect">
            <a:avLst/>
          </a:prstGeom>
        </p:spPr>
      </p:pic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A6F092D-727C-44CD-BB0C-F1C722C503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1922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A6F092D-727C-44CD-BB0C-F1C722C503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83E5052C-74D3-4E8D-B5BD-60350328090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</p:spPr>
        <p:txBody>
          <a:bodyPr vert="horz"/>
          <a:lstStyle/>
          <a:p>
            <a:r>
              <a:rPr lang="de-DE"/>
              <a:t>Headline, Frutiger LT Com Bd, 24 pt, vierspaltig mit Text und Bildern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24F0B71-0210-46E0-9783-B7C6D6CA5B8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2000" dirty="0" err="1">
                <a:latin typeface="+mn-lt"/>
              </a:rPr>
              <a:t>Subline</a:t>
            </a:r>
            <a:r>
              <a:rPr lang="de-DE" sz="2000" dirty="0">
                <a:latin typeface="+mn-lt"/>
              </a:rPr>
              <a:t>, Frutiger LT </a:t>
            </a:r>
            <a:r>
              <a:rPr lang="de-DE" sz="2000" err="1">
                <a:latin typeface="+mn-lt"/>
              </a:rPr>
              <a:t>Com</a:t>
            </a:r>
            <a:r>
              <a:rPr lang="de-DE" sz="2000">
                <a:latin typeface="+mn-lt"/>
              </a:rPr>
              <a:t> Lt</a:t>
            </a:r>
            <a:r>
              <a:rPr lang="de-DE" sz="2000" dirty="0">
                <a:latin typeface="+mn-lt"/>
              </a:rPr>
              <a:t>, 20 </a:t>
            </a:r>
            <a:r>
              <a:rPr lang="de-DE" sz="2000" dirty="0" err="1">
                <a:latin typeface="+mn-lt"/>
              </a:rPr>
              <a:t>pt</a:t>
            </a:r>
            <a:endParaRPr lang="en-US" dirty="0"/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E170BC20-4930-4506-8470-6F45AE77F7D2}"/>
              </a:ext>
            </a:extLst>
          </p:cNvPr>
          <p:cNvSpPr txBox="1">
            <a:spLocks/>
          </p:cNvSpPr>
          <p:nvPr/>
        </p:nvSpPr>
        <p:spPr bwMode="gray">
          <a:xfrm>
            <a:off x="479425" y="4098437"/>
            <a:ext cx="2520950" cy="1645450"/>
          </a:xfrm>
          <a:prstGeom prst="rect">
            <a:avLst/>
          </a:prstGeom>
        </p:spPr>
        <p:txBody>
          <a:bodyPr wrap="square" lIns="0" tIns="0" rIns="0" bIns="0" numCol="1" spcCol="360000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lnSpc>
                <a:spcPct val="110000"/>
              </a:lnSpc>
            </a:pPr>
            <a:r>
              <a:rPr lang="de-DE" dirty="0"/>
              <a:t>Headline 14 </a:t>
            </a:r>
            <a:r>
              <a:rPr lang="de-DE" dirty="0" err="1"/>
              <a:t>pt</a:t>
            </a:r>
            <a:endParaRPr lang="de-DE" dirty="0"/>
          </a:p>
          <a:p>
            <a:pPr lvl="1">
              <a:lnSpc>
                <a:spcPct val="110000"/>
              </a:lnSpc>
            </a:pPr>
            <a:r>
              <a:rPr lang="de-DE" dirty="0"/>
              <a:t>Copy Frutiger LT </a:t>
            </a:r>
            <a:r>
              <a:rPr lang="de-DE" dirty="0" err="1"/>
              <a:t>Com</a:t>
            </a:r>
            <a:r>
              <a:rPr lang="de-DE" dirty="0"/>
              <a:t> </a:t>
            </a:r>
            <a:r>
              <a:rPr lang="de-DE" dirty="0" err="1"/>
              <a:t>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alusi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. 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64BB0F93-8532-49F6-B8B5-A0696FD2EB28}"/>
              </a:ext>
            </a:extLst>
          </p:cNvPr>
          <p:cNvSpPr txBox="1">
            <a:spLocks/>
          </p:cNvSpPr>
          <p:nvPr/>
        </p:nvSpPr>
        <p:spPr bwMode="gray">
          <a:xfrm>
            <a:off x="3395663" y="4098437"/>
            <a:ext cx="2520950" cy="1645450"/>
          </a:xfrm>
          <a:prstGeom prst="rect">
            <a:avLst/>
          </a:prstGeom>
        </p:spPr>
        <p:txBody>
          <a:bodyPr wrap="square" lIns="0" tIns="0" rIns="0" bIns="0" numCol="1" spcCol="360000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lnSpc>
                <a:spcPct val="110000"/>
              </a:lnSpc>
            </a:pPr>
            <a:r>
              <a:rPr lang="de-DE" dirty="0"/>
              <a:t>Headline 14 </a:t>
            </a:r>
            <a:r>
              <a:rPr lang="de-DE" dirty="0" err="1"/>
              <a:t>pt</a:t>
            </a:r>
            <a:endParaRPr lang="de-DE" dirty="0"/>
          </a:p>
          <a:p>
            <a:pPr lvl="1">
              <a:lnSpc>
                <a:spcPct val="110000"/>
              </a:lnSpc>
            </a:pPr>
            <a:r>
              <a:rPr lang="de-DE" dirty="0"/>
              <a:t>Copy Frutiger LT </a:t>
            </a:r>
            <a:r>
              <a:rPr lang="de-DE" dirty="0" err="1"/>
              <a:t>Com</a:t>
            </a:r>
            <a:r>
              <a:rPr lang="de-DE" dirty="0"/>
              <a:t> </a:t>
            </a:r>
            <a:r>
              <a:rPr lang="de-DE" dirty="0" err="1"/>
              <a:t>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alusi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. 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FFB20BA6-91F2-4FA3-8557-5EB7F2B876C8}"/>
              </a:ext>
            </a:extLst>
          </p:cNvPr>
          <p:cNvSpPr txBox="1">
            <a:spLocks/>
          </p:cNvSpPr>
          <p:nvPr/>
        </p:nvSpPr>
        <p:spPr bwMode="gray">
          <a:xfrm>
            <a:off x="6275388" y="4098437"/>
            <a:ext cx="2520950" cy="1645450"/>
          </a:xfrm>
          <a:prstGeom prst="rect">
            <a:avLst/>
          </a:prstGeom>
        </p:spPr>
        <p:txBody>
          <a:bodyPr wrap="square" lIns="0" tIns="0" rIns="0" bIns="0" numCol="1" spcCol="360000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lnSpc>
                <a:spcPct val="110000"/>
              </a:lnSpc>
            </a:pPr>
            <a:r>
              <a:rPr lang="de-DE" dirty="0"/>
              <a:t>Headline 14 </a:t>
            </a:r>
            <a:r>
              <a:rPr lang="de-DE" dirty="0" err="1"/>
              <a:t>pt</a:t>
            </a:r>
            <a:endParaRPr lang="de-DE" dirty="0"/>
          </a:p>
          <a:p>
            <a:pPr lvl="1">
              <a:lnSpc>
                <a:spcPct val="110000"/>
              </a:lnSpc>
            </a:pPr>
            <a:r>
              <a:rPr lang="de-DE" dirty="0"/>
              <a:t>Copy Frutiger LT </a:t>
            </a:r>
            <a:r>
              <a:rPr lang="de-DE" dirty="0" err="1"/>
              <a:t>Com</a:t>
            </a:r>
            <a:r>
              <a:rPr lang="de-DE" dirty="0"/>
              <a:t> </a:t>
            </a:r>
            <a:r>
              <a:rPr lang="de-DE" dirty="0" err="1"/>
              <a:t>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alusi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. 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B90EAB81-BFC4-49C0-B543-6991380BF12B}"/>
              </a:ext>
            </a:extLst>
          </p:cNvPr>
          <p:cNvSpPr txBox="1">
            <a:spLocks/>
          </p:cNvSpPr>
          <p:nvPr/>
        </p:nvSpPr>
        <p:spPr bwMode="gray">
          <a:xfrm>
            <a:off x="9191625" y="4098437"/>
            <a:ext cx="2520950" cy="1645450"/>
          </a:xfrm>
          <a:prstGeom prst="rect">
            <a:avLst/>
          </a:prstGeom>
        </p:spPr>
        <p:txBody>
          <a:bodyPr wrap="square" lIns="0" tIns="0" rIns="0" bIns="0" numCol="1" spcCol="360000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lnSpc>
                <a:spcPct val="110000"/>
              </a:lnSpc>
            </a:pPr>
            <a:r>
              <a:rPr lang="de-DE" dirty="0"/>
              <a:t>Headline 14 </a:t>
            </a:r>
            <a:r>
              <a:rPr lang="de-DE" dirty="0" err="1"/>
              <a:t>pt</a:t>
            </a:r>
            <a:endParaRPr lang="de-DE" dirty="0"/>
          </a:p>
          <a:p>
            <a:pPr lvl="1">
              <a:lnSpc>
                <a:spcPct val="110000"/>
              </a:lnSpc>
            </a:pPr>
            <a:r>
              <a:rPr lang="de-DE" dirty="0"/>
              <a:t>Copy Frutiger LT </a:t>
            </a:r>
            <a:r>
              <a:rPr lang="de-DE" dirty="0" err="1"/>
              <a:t>Com</a:t>
            </a:r>
            <a:r>
              <a:rPr lang="de-DE" dirty="0"/>
              <a:t> </a:t>
            </a:r>
            <a:r>
              <a:rPr lang="de-DE" dirty="0" err="1"/>
              <a:t>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.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alusi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. </a:t>
            </a:r>
          </a:p>
        </p:txBody>
      </p:sp>
      <p:pic>
        <p:nvPicPr>
          <p:cNvPr id="16" name="Grafik 15" descr="Ein Bild, das Gebäude, draußen, Himmel, Stadt enthält.&#10;&#10;Automatisch generierte Beschreibung">
            <a:extLst>
              <a:ext uri="{FF2B5EF4-FFF2-40B4-BE49-F238E27FC236}">
                <a16:creationId xmlns:a16="http://schemas.microsoft.com/office/drawing/2014/main" id="{66D8AFBB-5E5B-4358-AB4A-C95486A9BB4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6036" y="1700213"/>
            <a:ext cx="2524339" cy="2183475"/>
          </a:xfrm>
          <a:prstGeom prst="rect">
            <a:avLst/>
          </a:prstGeom>
        </p:spPr>
      </p:pic>
      <p:sp>
        <p:nvSpPr>
          <p:cNvPr id="24" name="Institutsname">
            <a:extLst>
              <a:ext uri="{FF2B5EF4-FFF2-40B4-BE49-F238E27FC236}">
                <a16:creationId xmlns:a16="http://schemas.microsoft.com/office/drawing/2014/main" id="{1D4B6A2D-1AF0-4EB1-BC81-BF0F538A47D5}"/>
              </a:ext>
            </a:extLst>
          </p:cNvPr>
          <p:cNvSpPr txBox="1">
            <a:spLocks noChangeArrowheads="1"/>
          </p:cNvSpPr>
          <p:nvPr/>
        </p:nvSpPr>
        <p:spPr bwMode="gray">
          <a:xfrm rot="16200000">
            <a:off x="-221846" y="2961047"/>
            <a:ext cx="159396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982663"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 sz="700"/>
              <a:t>© Markus Jürgens</a:t>
            </a:r>
            <a:endParaRPr lang="de-DE" sz="700" b="0" dirty="0"/>
          </a:p>
        </p:txBody>
      </p:sp>
      <p:pic>
        <p:nvPicPr>
          <p:cNvPr id="25" name="Grafik 24" descr="Ein Bild, das Gebäude, draußen, Himmel, Stadt enthält.&#10;&#10;Automatisch generierte Beschreibung">
            <a:extLst>
              <a:ext uri="{FF2B5EF4-FFF2-40B4-BE49-F238E27FC236}">
                <a16:creationId xmlns:a16="http://schemas.microsoft.com/office/drawing/2014/main" id="{C9A4BF35-0491-449B-930E-DFAE4EE5966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95663" y="1700213"/>
            <a:ext cx="2524339" cy="2183475"/>
          </a:xfrm>
          <a:prstGeom prst="rect">
            <a:avLst/>
          </a:prstGeom>
        </p:spPr>
      </p:pic>
      <p:pic>
        <p:nvPicPr>
          <p:cNvPr id="26" name="Grafik 25" descr="Ein Bild, das Gebäude, draußen, Himmel, Stadt enthält.&#10;&#10;Automatisch generierte Beschreibung">
            <a:extLst>
              <a:ext uri="{FF2B5EF4-FFF2-40B4-BE49-F238E27FC236}">
                <a16:creationId xmlns:a16="http://schemas.microsoft.com/office/drawing/2014/main" id="{69E4386B-D5F8-4C6A-BDBA-3531E1321438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427"/>
          <a:stretch/>
        </p:blipFill>
        <p:spPr>
          <a:xfrm>
            <a:off x="6275388" y="1700213"/>
            <a:ext cx="2520950" cy="2183475"/>
          </a:xfrm>
          <a:prstGeom prst="rect">
            <a:avLst/>
          </a:prstGeom>
        </p:spPr>
      </p:pic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282B144-AA6B-436E-BC06-B500CE1762C6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51BDC410-4C13-4806-8AC2-1DA20240D125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D9707E9-8FC0-4B57-AF42-CBB1141B09E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7E769C39-8B45-4BB5-8C4C-208E52BC8638}"/>
              </a:ext>
            </a:extLst>
          </p:cNvPr>
          <p:cNvSpPr txBox="1"/>
          <p:nvPr/>
        </p:nvSpPr>
        <p:spPr>
          <a:xfrm>
            <a:off x="10600774" y="1819594"/>
            <a:ext cx="993395" cy="296226"/>
          </a:xfrm>
          <a:prstGeom prst="rect">
            <a:avLst/>
          </a:prstGeom>
          <a:solidFill>
            <a:schemeClr val="tx2"/>
          </a:solidFill>
        </p:spPr>
        <p:txBody>
          <a:bodyPr wrap="none" lIns="72000" tIns="36000" rIns="72000" bIns="36000" rtlCol="0">
            <a:spAutoFit/>
          </a:bodyPr>
          <a:lstStyle>
            <a:defPPr>
              <a:defRPr lang="de-DE"/>
            </a:defPPr>
            <a:lvl1pPr algn="r">
              <a:lnSpc>
                <a:spcPct val="110000"/>
              </a:lnSpc>
              <a:buClr>
                <a:schemeClr val="accent1"/>
              </a:buClr>
              <a:defRPr sz="1400">
                <a:solidFill>
                  <a:schemeClr val="bg1"/>
                </a:solidFill>
              </a:defRPr>
            </a:lvl1pPr>
          </a:lstStyle>
          <a:p>
            <a:r>
              <a:rPr lang="de-DE"/>
              <a:t>Beispielbild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3BEF0C3B-DCF4-4D9A-8182-B7D70DE93AD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4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9033037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A6F092D-727C-44CD-BB0C-F1C722C503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8750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A6F092D-727C-44CD-BB0C-F1C722C503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83E5052C-74D3-4E8D-B5BD-60350328090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</p:spPr>
        <p:txBody>
          <a:bodyPr vert="horz"/>
          <a:lstStyle/>
          <a:p>
            <a:r>
              <a:rPr lang="de-DE"/>
              <a:t>Headline, Frutiger LT Com Bd, 24 pt, vierspaltig mit Text und Bildern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1BE8E5E-11BC-42C8-AF9C-9782F681B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2000" dirty="0" err="1">
                <a:latin typeface="+mn-lt"/>
              </a:rPr>
              <a:t>Subline</a:t>
            </a:r>
            <a:r>
              <a:rPr lang="de-DE" sz="2000" dirty="0">
                <a:latin typeface="+mn-lt"/>
              </a:rPr>
              <a:t>, Frutiger LT </a:t>
            </a:r>
            <a:r>
              <a:rPr lang="de-DE" sz="2000" err="1">
                <a:latin typeface="+mn-lt"/>
              </a:rPr>
              <a:t>Com</a:t>
            </a:r>
            <a:r>
              <a:rPr lang="de-DE" sz="2000">
                <a:latin typeface="+mn-lt"/>
              </a:rPr>
              <a:t> Lt</a:t>
            </a:r>
            <a:r>
              <a:rPr lang="de-DE" sz="2000" dirty="0">
                <a:latin typeface="+mn-lt"/>
              </a:rPr>
              <a:t>, 20 </a:t>
            </a:r>
            <a:r>
              <a:rPr lang="de-DE" sz="2000" dirty="0" err="1">
                <a:latin typeface="+mn-lt"/>
              </a:rPr>
              <a:t>pt</a:t>
            </a:r>
            <a:endParaRPr lang="en-US" dirty="0"/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E170BC20-4930-4506-8470-6F45AE77F7D2}"/>
              </a:ext>
            </a:extLst>
          </p:cNvPr>
          <p:cNvSpPr txBox="1">
            <a:spLocks/>
          </p:cNvSpPr>
          <p:nvPr/>
        </p:nvSpPr>
        <p:spPr bwMode="gray">
          <a:xfrm>
            <a:off x="479425" y="3863387"/>
            <a:ext cx="2520950" cy="2121488"/>
          </a:xfrm>
          <a:prstGeom prst="rect">
            <a:avLst/>
          </a:prstGeom>
          <a:solidFill>
            <a:srgbClr val="E5EEF2"/>
          </a:solidFill>
        </p:spPr>
        <p:txBody>
          <a:bodyPr wrap="square" lIns="108000" tIns="144000" rIns="108000" bIns="72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lnSpc>
                <a:spcPct val="110000"/>
              </a:lnSpc>
            </a:pPr>
            <a:r>
              <a:rPr lang="de-DE" dirty="0">
                <a:solidFill>
                  <a:schemeClr val="accent2"/>
                </a:solidFill>
              </a:rPr>
              <a:t>Headline 14 </a:t>
            </a:r>
            <a:r>
              <a:rPr lang="de-DE" dirty="0" err="1">
                <a:solidFill>
                  <a:schemeClr val="accent2"/>
                </a:solidFill>
              </a:rPr>
              <a:t>pt</a:t>
            </a:r>
            <a:endParaRPr lang="de-DE" dirty="0">
              <a:solidFill>
                <a:schemeClr val="accent2"/>
              </a:solidFill>
            </a:endParaRPr>
          </a:p>
          <a:p>
            <a:pPr lvl="1">
              <a:lnSpc>
                <a:spcPct val="110000"/>
              </a:lnSpc>
            </a:pPr>
            <a:r>
              <a:rPr lang="de-DE" dirty="0">
                <a:solidFill>
                  <a:schemeClr val="accent2"/>
                </a:solidFill>
              </a:rPr>
              <a:t>Copy Frutiger LT </a:t>
            </a:r>
            <a:r>
              <a:rPr lang="de-DE" err="1">
                <a:solidFill>
                  <a:schemeClr val="accent2"/>
                </a:solidFill>
              </a:rPr>
              <a:t>Com</a:t>
            </a:r>
            <a:r>
              <a:rPr lang="de-DE">
                <a:solidFill>
                  <a:schemeClr val="accent2"/>
                </a:solidFill>
              </a:rPr>
              <a:t> Lt, </a:t>
            </a:r>
            <a:br>
              <a:rPr lang="de-DE">
                <a:solidFill>
                  <a:schemeClr val="accent2"/>
                </a:solidFill>
              </a:rPr>
            </a:br>
            <a:r>
              <a:rPr lang="de-DE">
                <a:solidFill>
                  <a:schemeClr val="accent2"/>
                </a:solidFill>
              </a:rPr>
              <a:t>14 </a:t>
            </a:r>
            <a:r>
              <a:rPr lang="de-DE" dirty="0" err="1">
                <a:solidFill>
                  <a:schemeClr val="accent2"/>
                </a:solidFill>
              </a:rPr>
              <a:t>pt</a:t>
            </a:r>
            <a:r>
              <a:rPr lang="de-DE" dirty="0">
                <a:solidFill>
                  <a:schemeClr val="accent2"/>
                </a:solidFill>
              </a:rPr>
              <a:t>. </a:t>
            </a:r>
            <a:r>
              <a:rPr lang="de-DE" dirty="0" err="1">
                <a:solidFill>
                  <a:schemeClr val="accent2"/>
                </a:solidFill>
              </a:rPr>
              <a:t>Dolor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situs</a:t>
            </a:r>
            <a:r>
              <a:rPr lang="de-DE" dirty="0">
                <a:solidFill>
                  <a:schemeClr val="accent2"/>
                </a:solidFill>
              </a:rPr>
              <a:t> cum </a:t>
            </a:r>
            <a:r>
              <a:rPr lang="de-DE" dirty="0" err="1">
                <a:solidFill>
                  <a:schemeClr val="accent2"/>
                </a:solidFill>
              </a:rPr>
              <a:t>habilitarum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64BB0F93-8532-49F6-B8B5-A0696FD2EB28}"/>
              </a:ext>
            </a:extLst>
          </p:cNvPr>
          <p:cNvSpPr txBox="1">
            <a:spLocks/>
          </p:cNvSpPr>
          <p:nvPr/>
        </p:nvSpPr>
        <p:spPr bwMode="gray">
          <a:xfrm>
            <a:off x="3395663" y="3863387"/>
            <a:ext cx="2520950" cy="2121488"/>
          </a:xfrm>
          <a:prstGeom prst="rect">
            <a:avLst/>
          </a:prstGeom>
          <a:solidFill>
            <a:srgbClr val="E5EEF2"/>
          </a:solidFill>
        </p:spPr>
        <p:txBody>
          <a:bodyPr wrap="square" lIns="108000" tIns="144000" rIns="108000" bIns="72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lnSpc>
                <a:spcPct val="110000"/>
              </a:lnSpc>
            </a:pPr>
            <a:r>
              <a:rPr lang="de-DE" dirty="0">
                <a:solidFill>
                  <a:schemeClr val="accent2"/>
                </a:solidFill>
              </a:rPr>
              <a:t>Headline 14 </a:t>
            </a:r>
            <a:r>
              <a:rPr lang="de-DE" dirty="0" err="1">
                <a:solidFill>
                  <a:schemeClr val="accent2"/>
                </a:solidFill>
              </a:rPr>
              <a:t>pt</a:t>
            </a:r>
            <a:endParaRPr lang="de-DE" dirty="0">
              <a:solidFill>
                <a:schemeClr val="accent2"/>
              </a:solidFill>
            </a:endParaRPr>
          </a:p>
          <a:p>
            <a:pPr lvl="1">
              <a:lnSpc>
                <a:spcPct val="110000"/>
              </a:lnSpc>
            </a:pPr>
            <a:r>
              <a:rPr lang="de-DE" dirty="0">
                <a:solidFill>
                  <a:schemeClr val="accent2"/>
                </a:solidFill>
              </a:rPr>
              <a:t>Copy Frutiger LT </a:t>
            </a:r>
            <a:r>
              <a:rPr lang="de-DE" err="1">
                <a:solidFill>
                  <a:schemeClr val="accent2"/>
                </a:solidFill>
              </a:rPr>
              <a:t>Com</a:t>
            </a:r>
            <a:r>
              <a:rPr lang="de-DE">
                <a:solidFill>
                  <a:schemeClr val="accent2"/>
                </a:solidFill>
              </a:rPr>
              <a:t> Lt, </a:t>
            </a:r>
            <a:br>
              <a:rPr lang="de-DE">
                <a:solidFill>
                  <a:schemeClr val="accent2"/>
                </a:solidFill>
              </a:rPr>
            </a:br>
            <a:r>
              <a:rPr lang="de-DE">
                <a:solidFill>
                  <a:schemeClr val="accent2"/>
                </a:solidFill>
              </a:rPr>
              <a:t>14 </a:t>
            </a:r>
            <a:r>
              <a:rPr lang="de-DE" dirty="0" err="1">
                <a:solidFill>
                  <a:schemeClr val="accent2"/>
                </a:solidFill>
              </a:rPr>
              <a:t>pt</a:t>
            </a:r>
            <a:r>
              <a:rPr lang="de-DE" dirty="0">
                <a:solidFill>
                  <a:schemeClr val="accent2"/>
                </a:solidFill>
              </a:rPr>
              <a:t>. </a:t>
            </a:r>
            <a:r>
              <a:rPr lang="de-DE" dirty="0" err="1">
                <a:solidFill>
                  <a:schemeClr val="accent2"/>
                </a:solidFill>
              </a:rPr>
              <a:t>Dolor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situs</a:t>
            </a:r>
            <a:r>
              <a:rPr lang="de-DE" dirty="0">
                <a:solidFill>
                  <a:schemeClr val="accent2"/>
                </a:solidFill>
              </a:rPr>
              <a:t> cum </a:t>
            </a:r>
            <a:r>
              <a:rPr lang="de-DE" dirty="0" err="1">
                <a:solidFill>
                  <a:schemeClr val="accent2"/>
                </a:solidFill>
              </a:rPr>
              <a:t>habilitarum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FFB20BA6-91F2-4FA3-8557-5EB7F2B876C8}"/>
              </a:ext>
            </a:extLst>
          </p:cNvPr>
          <p:cNvSpPr txBox="1">
            <a:spLocks/>
          </p:cNvSpPr>
          <p:nvPr/>
        </p:nvSpPr>
        <p:spPr bwMode="gray">
          <a:xfrm>
            <a:off x="6275388" y="3863387"/>
            <a:ext cx="2520950" cy="2121488"/>
          </a:xfrm>
          <a:prstGeom prst="rect">
            <a:avLst/>
          </a:prstGeom>
          <a:solidFill>
            <a:srgbClr val="E5EEF2"/>
          </a:solidFill>
        </p:spPr>
        <p:txBody>
          <a:bodyPr wrap="square" lIns="108000" tIns="144000" rIns="108000" bIns="72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lnSpc>
                <a:spcPct val="110000"/>
              </a:lnSpc>
            </a:pPr>
            <a:r>
              <a:rPr lang="de-DE" dirty="0">
                <a:solidFill>
                  <a:schemeClr val="accent2"/>
                </a:solidFill>
              </a:rPr>
              <a:t>Headline 14 </a:t>
            </a:r>
            <a:r>
              <a:rPr lang="de-DE" dirty="0" err="1">
                <a:solidFill>
                  <a:schemeClr val="accent2"/>
                </a:solidFill>
              </a:rPr>
              <a:t>pt</a:t>
            </a:r>
            <a:endParaRPr lang="de-DE" dirty="0">
              <a:solidFill>
                <a:schemeClr val="accent2"/>
              </a:solidFill>
            </a:endParaRPr>
          </a:p>
          <a:p>
            <a:pPr lvl="1">
              <a:lnSpc>
                <a:spcPct val="110000"/>
              </a:lnSpc>
            </a:pPr>
            <a:r>
              <a:rPr lang="de-DE" dirty="0">
                <a:solidFill>
                  <a:schemeClr val="accent2"/>
                </a:solidFill>
              </a:rPr>
              <a:t>Copy Frutiger LT </a:t>
            </a:r>
            <a:r>
              <a:rPr lang="de-DE" err="1">
                <a:solidFill>
                  <a:schemeClr val="accent2"/>
                </a:solidFill>
              </a:rPr>
              <a:t>Com</a:t>
            </a:r>
            <a:r>
              <a:rPr lang="de-DE">
                <a:solidFill>
                  <a:schemeClr val="accent2"/>
                </a:solidFill>
              </a:rPr>
              <a:t> Lt, </a:t>
            </a:r>
            <a:br>
              <a:rPr lang="de-DE">
                <a:solidFill>
                  <a:schemeClr val="accent2"/>
                </a:solidFill>
              </a:rPr>
            </a:br>
            <a:r>
              <a:rPr lang="de-DE">
                <a:solidFill>
                  <a:schemeClr val="accent2"/>
                </a:solidFill>
              </a:rPr>
              <a:t>14 </a:t>
            </a:r>
            <a:r>
              <a:rPr lang="de-DE" dirty="0" err="1">
                <a:solidFill>
                  <a:schemeClr val="accent2"/>
                </a:solidFill>
              </a:rPr>
              <a:t>pt</a:t>
            </a:r>
            <a:r>
              <a:rPr lang="de-DE" dirty="0">
                <a:solidFill>
                  <a:schemeClr val="accent2"/>
                </a:solidFill>
              </a:rPr>
              <a:t>. </a:t>
            </a:r>
            <a:r>
              <a:rPr lang="de-DE" dirty="0" err="1">
                <a:solidFill>
                  <a:schemeClr val="accent2"/>
                </a:solidFill>
              </a:rPr>
              <a:t>Dolor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situs</a:t>
            </a:r>
            <a:r>
              <a:rPr lang="de-DE" dirty="0">
                <a:solidFill>
                  <a:schemeClr val="accent2"/>
                </a:solidFill>
              </a:rPr>
              <a:t> cum </a:t>
            </a:r>
            <a:r>
              <a:rPr lang="de-DE" dirty="0" err="1">
                <a:solidFill>
                  <a:schemeClr val="accent2"/>
                </a:solidFill>
              </a:rPr>
              <a:t>habilitarum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B90EAB81-BFC4-49C0-B543-6991380BF12B}"/>
              </a:ext>
            </a:extLst>
          </p:cNvPr>
          <p:cNvSpPr txBox="1">
            <a:spLocks/>
          </p:cNvSpPr>
          <p:nvPr/>
        </p:nvSpPr>
        <p:spPr bwMode="gray">
          <a:xfrm>
            <a:off x="9191625" y="3863387"/>
            <a:ext cx="2520950" cy="2121488"/>
          </a:xfrm>
          <a:prstGeom prst="rect">
            <a:avLst/>
          </a:prstGeom>
          <a:solidFill>
            <a:srgbClr val="E5EEF2"/>
          </a:solidFill>
        </p:spPr>
        <p:txBody>
          <a:bodyPr wrap="square" lIns="108000" tIns="144000" rIns="108000" bIns="72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lnSpc>
                <a:spcPct val="110000"/>
              </a:lnSpc>
            </a:pPr>
            <a:r>
              <a:rPr lang="de-DE" dirty="0">
                <a:solidFill>
                  <a:schemeClr val="accent2"/>
                </a:solidFill>
              </a:rPr>
              <a:t>Headline 14 </a:t>
            </a:r>
            <a:r>
              <a:rPr lang="de-DE" dirty="0" err="1">
                <a:solidFill>
                  <a:schemeClr val="accent2"/>
                </a:solidFill>
              </a:rPr>
              <a:t>pt</a:t>
            </a:r>
            <a:endParaRPr lang="de-DE" dirty="0">
              <a:solidFill>
                <a:schemeClr val="accent2"/>
              </a:solidFill>
            </a:endParaRPr>
          </a:p>
          <a:p>
            <a:pPr lvl="1">
              <a:lnSpc>
                <a:spcPct val="110000"/>
              </a:lnSpc>
            </a:pPr>
            <a:r>
              <a:rPr lang="de-DE" dirty="0">
                <a:solidFill>
                  <a:schemeClr val="accent2"/>
                </a:solidFill>
              </a:rPr>
              <a:t>Copy Frutiger LT </a:t>
            </a:r>
            <a:r>
              <a:rPr lang="de-DE" err="1">
                <a:solidFill>
                  <a:schemeClr val="accent2"/>
                </a:solidFill>
              </a:rPr>
              <a:t>Com</a:t>
            </a:r>
            <a:r>
              <a:rPr lang="de-DE">
                <a:solidFill>
                  <a:schemeClr val="accent2"/>
                </a:solidFill>
              </a:rPr>
              <a:t> Lt, </a:t>
            </a:r>
            <a:br>
              <a:rPr lang="de-DE">
                <a:solidFill>
                  <a:schemeClr val="accent2"/>
                </a:solidFill>
              </a:rPr>
            </a:br>
            <a:r>
              <a:rPr lang="de-DE">
                <a:solidFill>
                  <a:schemeClr val="accent2"/>
                </a:solidFill>
              </a:rPr>
              <a:t>14 </a:t>
            </a:r>
            <a:r>
              <a:rPr lang="de-DE" dirty="0" err="1">
                <a:solidFill>
                  <a:schemeClr val="accent2"/>
                </a:solidFill>
              </a:rPr>
              <a:t>pt</a:t>
            </a:r>
            <a:r>
              <a:rPr lang="de-DE" dirty="0">
                <a:solidFill>
                  <a:schemeClr val="accent2"/>
                </a:solidFill>
              </a:rPr>
              <a:t>. </a:t>
            </a:r>
            <a:r>
              <a:rPr lang="de-DE" dirty="0" err="1">
                <a:solidFill>
                  <a:schemeClr val="accent2"/>
                </a:solidFill>
              </a:rPr>
              <a:t>Dolor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situs</a:t>
            </a:r>
            <a:r>
              <a:rPr lang="de-DE" dirty="0">
                <a:solidFill>
                  <a:schemeClr val="accent2"/>
                </a:solidFill>
              </a:rPr>
              <a:t> cum </a:t>
            </a:r>
            <a:r>
              <a:rPr lang="de-DE" dirty="0" err="1">
                <a:solidFill>
                  <a:schemeClr val="accent2"/>
                </a:solidFill>
              </a:rPr>
              <a:t>habilitarum</a:t>
            </a:r>
            <a:endParaRPr lang="de-DE" dirty="0">
              <a:solidFill>
                <a:schemeClr val="accent2"/>
              </a:solidFill>
            </a:endParaRPr>
          </a:p>
        </p:txBody>
      </p:sp>
      <p:pic>
        <p:nvPicPr>
          <p:cNvPr id="16" name="Grafik 15" descr="Ein Bild, das Gebäude, draußen, Himmel, Stadt enthält.&#10;&#10;Automatisch generierte Beschreibung">
            <a:extLst>
              <a:ext uri="{FF2B5EF4-FFF2-40B4-BE49-F238E27FC236}">
                <a16:creationId xmlns:a16="http://schemas.microsoft.com/office/drawing/2014/main" id="{891F5616-DA4E-4DD5-9CEF-225352DCEB7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88236" y="1700213"/>
            <a:ext cx="2524339" cy="2183475"/>
          </a:xfrm>
          <a:prstGeom prst="rect">
            <a:avLst/>
          </a:prstGeom>
        </p:spPr>
      </p:pic>
      <p:pic>
        <p:nvPicPr>
          <p:cNvPr id="19" name="Grafik 18" descr="Ein Bild, das Gebäude, draußen, Himmel, Stadt enthält.&#10;&#10;Automatisch generierte Beschreibung">
            <a:extLst>
              <a:ext uri="{FF2B5EF4-FFF2-40B4-BE49-F238E27FC236}">
                <a16:creationId xmlns:a16="http://schemas.microsoft.com/office/drawing/2014/main" id="{8091DF32-5E16-4432-AB6F-9476832517B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6036" y="1700213"/>
            <a:ext cx="2524339" cy="2183475"/>
          </a:xfrm>
          <a:prstGeom prst="rect">
            <a:avLst/>
          </a:prstGeom>
        </p:spPr>
      </p:pic>
      <p:sp>
        <p:nvSpPr>
          <p:cNvPr id="25" name="Institutsname">
            <a:extLst>
              <a:ext uri="{FF2B5EF4-FFF2-40B4-BE49-F238E27FC236}">
                <a16:creationId xmlns:a16="http://schemas.microsoft.com/office/drawing/2014/main" id="{51674821-0479-46C1-B0F6-D900C063C45A}"/>
              </a:ext>
            </a:extLst>
          </p:cNvPr>
          <p:cNvSpPr txBox="1">
            <a:spLocks noChangeArrowheads="1"/>
          </p:cNvSpPr>
          <p:nvPr/>
        </p:nvSpPr>
        <p:spPr bwMode="gray">
          <a:xfrm rot="16200000">
            <a:off x="-221846" y="2961047"/>
            <a:ext cx="159396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982663"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 sz="700"/>
              <a:t>© Markus Jürgens</a:t>
            </a:r>
            <a:endParaRPr lang="de-DE" sz="700" b="0" dirty="0"/>
          </a:p>
        </p:txBody>
      </p:sp>
      <p:pic>
        <p:nvPicPr>
          <p:cNvPr id="26" name="Grafik 25" descr="Ein Bild, das Gebäude, draußen, Himmel, Stadt enthält.&#10;&#10;Automatisch generierte Beschreibung">
            <a:extLst>
              <a:ext uri="{FF2B5EF4-FFF2-40B4-BE49-F238E27FC236}">
                <a16:creationId xmlns:a16="http://schemas.microsoft.com/office/drawing/2014/main" id="{39476098-ACEA-482F-947B-FE18EDE5DFFD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95663" y="1700213"/>
            <a:ext cx="2524339" cy="2183475"/>
          </a:xfrm>
          <a:prstGeom prst="rect">
            <a:avLst/>
          </a:prstGeom>
        </p:spPr>
      </p:pic>
      <p:pic>
        <p:nvPicPr>
          <p:cNvPr id="27" name="Grafik 26" descr="Ein Bild, das Gebäude, draußen, Himmel, Stadt enthält.&#10;&#10;Automatisch generierte Beschreibung">
            <a:extLst>
              <a:ext uri="{FF2B5EF4-FFF2-40B4-BE49-F238E27FC236}">
                <a16:creationId xmlns:a16="http://schemas.microsoft.com/office/drawing/2014/main" id="{636BF3D1-A08C-4E29-A666-45D0B8DFF88F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427"/>
          <a:stretch/>
        </p:blipFill>
        <p:spPr>
          <a:xfrm>
            <a:off x="6275388" y="1700213"/>
            <a:ext cx="2520950" cy="2183475"/>
          </a:xfrm>
          <a:prstGeom prst="rect">
            <a:avLst/>
          </a:prstGeom>
        </p:spPr>
      </p:pic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D5AC737-E6B6-41B1-B4D2-5C43522D5073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680829FE-F72C-4340-B886-7A1597978936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81A7CC9-293B-4BA4-91A2-A3C12C465CF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56CFF872-62FD-458F-AF1D-B6AFB37E6AA9}"/>
              </a:ext>
            </a:extLst>
          </p:cNvPr>
          <p:cNvSpPr txBox="1"/>
          <p:nvPr/>
        </p:nvSpPr>
        <p:spPr>
          <a:xfrm>
            <a:off x="10600774" y="1819594"/>
            <a:ext cx="993395" cy="296226"/>
          </a:xfrm>
          <a:prstGeom prst="rect">
            <a:avLst/>
          </a:prstGeom>
          <a:solidFill>
            <a:schemeClr val="tx2"/>
          </a:solidFill>
        </p:spPr>
        <p:txBody>
          <a:bodyPr wrap="none" lIns="72000" tIns="36000" rIns="72000" bIns="36000" rtlCol="0">
            <a:spAutoFit/>
          </a:bodyPr>
          <a:lstStyle>
            <a:defPPr>
              <a:defRPr lang="de-DE"/>
            </a:defPPr>
            <a:lvl1pPr algn="r">
              <a:lnSpc>
                <a:spcPct val="110000"/>
              </a:lnSpc>
              <a:buClr>
                <a:schemeClr val="accent1"/>
              </a:buClr>
              <a:defRPr sz="1400">
                <a:solidFill>
                  <a:schemeClr val="bg1"/>
                </a:solidFill>
              </a:defRPr>
            </a:lvl1pPr>
          </a:lstStyle>
          <a:p>
            <a:r>
              <a:rPr lang="de-DE"/>
              <a:t>Beispielbild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CAEDC057-106E-49BD-9BFF-565ABFBFA2A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4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372230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63F7281-E82C-4852-8CAA-8A3A74EAA7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3918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5E4388A6-93FF-4571-952B-B35508AF3E8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</p:spPr>
        <p:txBody>
          <a:bodyPr vert="horz"/>
          <a:lstStyle/>
          <a:p>
            <a:pPr lvl="0"/>
            <a:r>
              <a:rPr lang="de-DE"/>
              <a:t>Headline, Frutiger LT Com Bd, 24 pt, Ring- und Balkendiagramm, 24 pt</a:t>
            </a:r>
            <a:endParaRPr lang="de-DE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D3056D09-0549-445C-832D-A9F7CC8BCB1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2000" dirty="0" err="1">
                <a:latin typeface="+mn-lt"/>
              </a:rPr>
              <a:t>Subline</a:t>
            </a:r>
            <a:r>
              <a:rPr lang="de-DE" sz="2000" dirty="0">
                <a:latin typeface="+mn-lt"/>
              </a:rPr>
              <a:t>, Frutiger LT </a:t>
            </a:r>
            <a:r>
              <a:rPr lang="de-DE" sz="2000" err="1">
                <a:latin typeface="+mn-lt"/>
              </a:rPr>
              <a:t>Com</a:t>
            </a:r>
            <a:r>
              <a:rPr lang="de-DE" sz="2000">
                <a:latin typeface="+mn-lt"/>
              </a:rPr>
              <a:t> Lt</a:t>
            </a:r>
            <a:r>
              <a:rPr lang="de-DE" sz="2000" dirty="0">
                <a:latin typeface="+mn-lt"/>
              </a:rPr>
              <a:t>, 20 </a:t>
            </a:r>
            <a:r>
              <a:rPr lang="de-DE" sz="2000" dirty="0" err="1">
                <a:latin typeface="+mn-lt"/>
              </a:rPr>
              <a:t>pt</a:t>
            </a:r>
            <a:endParaRPr lang="en-US" dirty="0"/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F744536C-8113-496F-943B-9421EBD1581D}"/>
              </a:ext>
            </a:extLst>
          </p:cNvPr>
          <p:cNvSpPr txBox="1">
            <a:spLocks/>
          </p:cNvSpPr>
          <p:nvPr/>
        </p:nvSpPr>
        <p:spPr bwMode="gray">
          <a:xfrm>
            <a:off x="479425" y="1700213"/>
            <a:ext cx="3492500" cy="4284662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de-DE">
                <a:solidFill>
                  <a:schemeClr val="accent2"/>
                </a:solidFill>
              </a:rPr>
              <a:t>Frutiger </a:t>
            </a:r>
            <a:r>
              <a:rPr lang="de-DE" dirty="0">
                <a:solidFill>
                  <a:schemeClr val="accent2"/>
                </a:solidFill>
              </a:rPr>
              <a:t>LT </a:t>
            </a:r>
            <a:r>
              <a:rPr lang="de-DE" err="1">
                <a:solidFill>
                  <a:schemeClr val="accent2"/>
                </a:solidFill>
              </a:rPr>
              <a:t>Com</a:t>
            </a:r>
            <a:r>
              <a:rPr lang="de-DE">
                <a:solidFill>
                  <a:schemeClr val="accent2"/>
                </a:solidFill>
              </a:rPr>
              <a:t> Bd, </a:t>
            </a:r>
            <a:r>
              <a:rPr lang="de-DE" dirty="0">
                <a:solidFill>
                  <a:schemeClr val="accent2"/>
                </a:solidFill>
              </a:rPr>
              <a:t>16 </a:t>
            </a:r>
            <a:r>
              <a:rPr lang="de-DE" dirty="0" err="1">
                <a:solidFill>
                  <a:schemeClr val="accent2"/>
                </a:solidFill>
              </a:rPr>
              <a:t>pt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Dolor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situs</a:t>
            </a:r>
            <a:r>
              <a:rPr lang="de-DE" dirty="0">
                <a:solidFill>
                  <a:schemeClr val="accent2"/>
                </a:solidFill>
              </a:rPr>
              <a:t> cum </a:t>
            </a:r>
            <a:r>
              <a:rPr lang="de-DE" dirty="0" err="1">
                <a:solidFill>
                  <a:schemeClr val="accent2"/>
                </a:solidFill>
              </a:rPr>
              <a:t>habilitarum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itum</a:t>
            </a:r>
            <a:r>
              <a:rPr lang="de-DE" dirty="0">
                <a:solidFill>
                  <a:schemeClr val="accent2"/>
                </a:solidFill>
              </a:rPr>
              <a:t>.</a:t>
            </a:r>
          </a:p>
          <a:p>
            <a:pPr lvl="1"/>
            <a:r>
              <a:rPr lang="de-DE" dirty="0">
                <a:solidFill>
                  <a:schemeClr val="accent2"/>
                </a:solidFill>
              </a:rPr>
              <a:t>—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C931D430-FFB2-4E5E-94E9-3AED8C6363A3}"/>
              </a:ext>
            </a:extLst>
          </p:cNvPr>
          <p:cNvSpPr txBox="1">
            <a:spLocks/>
          </p:cNvSpPr>
          <p:nvPr/>
        </p:nvSpPr>
        <p:spPr bwMode="gray">
          <a:xfrm>
            <a:off x="4332287" y="1700213"/>
            <a:ext cx="7380287" cy="4284662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de-DE">
                <a:solidFill>
                  <a:schemeClr val="accent2"/>
                </a:solidFill>
              </a:rPr>
              <a:t>Frutiger </a:t>
            </a:r>
            <a:r>
              <a:rPr lang="de-DE" dirty="0">
                <a:solidFill>
                  <a:schemeClr val="accent2"/>
                </a:solidFill>
              </a:rPr>
              <a:t>LT </a:t>
            </a:r>
            <a:r>
              <a:rPr lang="de-DE" err="1">
                <a:solidFill>
                  <a:schemeClr val="accent2"/>
                </a:solidFill>
              </a:rPr>
              <a:t>Com</a:t>
            </a:r>
            <a:r>
              <a:rPr lang="de-DE">
                <a:solidFill>
                  <a:schemeClr val="accent2"/>
                </a:solidFill>
              </a:rPr>
              <a:t> Bd, </a:t>
            </a:r>
            <a:r>
              <a:rPr lang="de-DE" dirty="0">
                <a:solidFill>
                  <a:schemeClr val="accent2"/>
                </a:solidFill>
              </a:rPr>
              <a:t>16 </a:t>
            </a:r>
            <a:r>
              <a:rPr lang="de-DE" dirty="0" err="1">
                <a:solidFill>
                  <a:schemeClr val="accent2"/>
                </a:solidFill>
              </a:rPr>
              <a:t>pt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br>
              <a:rPr lang="de-DE" dirty="0">
                <a:solidFill>
                  <a:schemeClr val="accent2"/>
                </a:solidFill>
              </a:rPr>
            </a:br>
            <a:r>
              <a:rPr lang="de-DE" dirty="0" err="1">
                <a:solidFill>
                  <a:schemeClr val="accent2"/>
                </a:solidFill>
              </a:rPr>
              <a:t>Dolor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situs</a:t>
            </a:r>
            <a:r>
              <a:rPr lang="de-DE" dirty="0">
                <a:solidFill>
                  <a:schemeClr val="accent2"/>
                </a:solidFill>
              </a:rPr>
              <a:t> cum </a:t>
            </a:r>
            <a:r>
              <a:rPr lang="de-DE" dirty="0" err="1">
                <a:solidFill>
                  <a:schemeClr val="accent2"/>
                </a:solidFill>
              </a:rPr>
              <a:t>habilitarum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itum</a:t>
            </a:r>
            <a:r>
              <a:rPr lang="de-DE" dirty="0">
                <a:solidFill>
                  <a:schemeClr val="accent2"/>
                </a:solidFill>
              </a:rPr>
              <a:t>.</a:t>
            </a:r>
          </a:p>
          <a:p>
            <a:pPr lvl="1"/>
            <a:r>
              <a:rPr lang="de-DE" dirty="0">
                <a:solidFill>
                  <a:schemeClr val="accent2"/>
                </a:solidFill>
              </a:rPr>
              <a:t>—</a:t>
            </a:r>
          </a:p>
        </p:txBody>
      </p:sp>
      <p:graphicFrame>
        <p:nvGraphicFramePr>
          <p:cNvPr id="17" name="Diagramm 16">
            <a:extLst>
              <a:ext uri="{FF2B5EF4-FFF2-40B4-BE49-F238E27FC236}">
                <a16:creationId xmlns:a16="http://schemas.microsoft.com/office/drawing/2014/main" id="{3DD1E94F-07A3-4426-A547-082B51BBC54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93255448"/>
              </p:ext>
            </p:extLst>
          </p:nvPr>
        </p:nvGraphicFramePr>
        <p:xfrm>
          <a:off x="479425" y="2449511"/>
          <a:ext cx="3492500" cy="35353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8" name="Diagramm 17">
            <a:extLst>
              <a:ext uri="{FF2B5EF4-FFF2-40B4-BE49-F238E27FC236}">
                <a16:creationId xmlns:a16="http://schemas.microsoft.com/office/drawing/2014/main" id="{FA47CE44-39F7-4627-8923-CC1C3F9DA54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15337667"/>
              </p:ext>
            </p:extLst>
          </p:nvPr>
        </p:nvGraphicFramePr>
        <p:xfrm>
          <a:off x="4332287" y="2587925"/>
          <a:ext cx="7308850" cy="31513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2C68783-F4F6-49AD-AB63-EB15F6E7D486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06466F9B-8CD1-452C-8C86-E8E5E89B731D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A62B4EC-9219-44C1-9E74-5B293662377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87C8E479-B109-45A9-AD64-05E827D4E22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4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625565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63F7281-E82C-4852-8CAA-8A3A74EAA7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6210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63F7281-E82C-4852-8CAA-8A3A74EAA7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5E4388A6-93FF-4571-952B-B35508AF3E8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</p:spPr>
        <p:txBody>
          <a:bodyPr vert="horz"/>
          <a:lstStyle/>
          <a:p>
            <a:pPr lvl="0"/>
            <a:r>
              <a:rPr lang="de-DE"/>
              <a:t>Headline, Frutiger LT Com Bd, 24 pt, Balkendiagramm </a:t>
            </a:r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E6FA5147-44B6-44FC-9322-90827DC5C29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2000" dirty="0" err="1">
                <a:latin typeface="+mn-lt"/>
              </a:rPr>
              <a:t>Subline</a:t>
            </a:r>
            <a:r>
              <a:rPr lang="de-DE" sz="2000" dirty="0">
                <a:latin typeface="+mn-lt"/>
              </a:rPr>
              <a:t>, Frutiger LT </a:t>
            </a:r>
            <a:r>
              <a:rPr lang="de-DE" sz="2000" err="1">
                <a:latin typeface="+mn-lt"/>
              </a:rPr>
              <a:t>Com</a:t>
            </a:r>
            <a:r>
              <a:rPr lang="de-DE" sz="2000">
                <a:latin typeface="+mn-lt"/>
              </a:rPr>
              <a:t> Lt</a:t>
            </a:r>
            <a:r>
              <a:rPr lang="de-DE" sz="2000" dirty="0">
                <a:latin typeface="+mn-lt"/>
              </a:rPr>
              <a:t>, 20 </a:t>
            </a:r>
            <a:r>
              <a:rPr lang="de-DE" sz="2000" dirty="0" err="1">
                <a:latin typeface="+mn-lt"/>
              </a:rPr>
              <a:t>pt</a:t>
            </a:r>
            <a:endParaRPr lang="en-US" dirty="0"/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11AA381C-395A-4394-B20E-0B88220361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46568652"/>
              </p:ext>
            </p:extLst>
          </p:nvPr>
        </p:nvGraphicFramePr>
        <p:xfrm>
          <a:off x="478199" y="1700213"/>
          <a:ext cx="11234376" cy="42846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35A470-78E5-4272-8CB9-3119B45CB30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F57901D0-179F-4CAD-AABA-7723B9478EC4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E339A0A-F9DC-4E05-91B1-77C8180A05C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1ED829B2-540F-44DA-BA3A-A4460BA6EE8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4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082388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63F7281-E82C-4852-8CAA-8A3A74EAA7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373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63F7281-E82C-4852-8CAA-8A3A74EAA7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5E4388A6-93FF-4571-952B-B35508AF3E8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</p:spPr>
        <p:txBody>
          <a:bodyPr vert="horz"/>
          <a:lstStyle/>
          <a:p>
            <a:pPr lvl="0"/>
            <a:r>
              <a:rPr lang="de-DE"/>
              <a:t>Headline, Frutiger LT Com Bd, 24 pt, Balkendiagramm </a:t>
            </a:r>
            <a:endParaRPr lang="de-DE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78E1D880-C516-4077-94F7-29AC8A0BB2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8933"/>
          </a:xfrm>
        </p:spPr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75D1055-49BF-421B-8FE7-138605EF745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7838" y="1703388"/>
            <a:ext cx="11233150" cy="460511"/>
          </a:xfrm>
        </p:spPr>
        <p:txBody>
          <a:bodyPr/>
          <a:lstStyle/>
          <a:p>
            <a:pPr lvl="1"/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 </a:t>
            </a:r>
            <a:r>
              <a:rPr lang="de-DE" dirty="0"/>
              <a:t>1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em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.</a:t>
            </a:r>
          </a:p>
        </p:txBody>
      </p:sp>
      <p:graphicFrame>
        <p:nvGraphicFramePr>
          <p:cNvPr id="10" name="Diagramm 9">
            <a:extLst>
              <a:ext uri="{FF2B5EF4-FFF2-40B4-BE49-F238E27FC236}">
                <a16:creationId xmlns:a16="http://schemas.microsoft.com/office/drawing/2014/main" id="{D5B57749-3A5E-4560-8F58-5E8F4610343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11741498"/>
              </p:ext>
            </p:extLst>
          </p:nvPr>
        </p:nvGraphicFramePr>
        <p:xfrm>
          <a:off x="479425" y="2346158"/>
          <a:ext cx="11233149" cy="3792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351511E-343C-4F2C-8A94-5B04734BA366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1846FFD1-ED93-4693-B2E4-6BDAF61D9490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F3D1124-C55C-4758-861F-62BB3EE9C4E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7807FEB0-F742-490B-979C-64E3EF37104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4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952534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63F7281-E82C-4852-8CAA-8A3A74EAA7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8206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63F7281-E82C-4852-8CAA-8A3A74EAA7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5E4388A6-93FF-4571-952B-B35508AF3E8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</p:spPr>
        <p:txBody>
          <a:bodyPr vert="horz"/>
          <a:lstStyle/>
          <a:p>
            <a:r>
              <a:rPr lang="de-DE"/>
              <a:t>Headline, Frutiger LT Com Bd, 24 pt, Tabelle</a:t>
            </a:r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763B563-5C41-4BC9-808C-D87F16FA02C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2000" dirty="0" err="1">
                <a:latin typeface="+mn-lt"/>
              </a:rPr>
              <a:t>Subline</a:t>
            </a:r>
            <a:r>
              <a:rPr lang="de-DE" sz="2000" dirty="0">
                <a:latin typeface="+mn-lt"/>
              </a:rPr>
              <a:t>, Frutiger LT </a:t>
            </a:r>
            <a:r>
              <a:rPr lang="de-DE" sz="2000" err="1">
                <a:latin typeface="+mn-lt"/>
              </a:rPr>
              <a:t>Com</a:t>
            </a:r>
            <a:r>
              <a:rPr lang="de-DE" sz="2000">
                <a:latin typeface="+mn-lt"/>
              </a:rPr>
              <a:t> Lt</a:t>
            </a:r>
            <a:r>
              <a:rPr lang="de-DE" sz="2000" dirty="0">
                <a:latin typeface="+mn-lt"/>
              </a:rPr>
              <a:t>, 20 </a:t>
            </a:r>
            <a:r>
              <a:rPr lang="de-DE" sz="2000" dirty="0" err="1">
                <a:latin typeface="+mn-lt"/>
              </a:rPr>
              <a:t>pt</a:t>
            </a:r>
            <a:endParaRPr lang="en-US" dirty="0"/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36F9272B-2D3E-4CD3-A407-423E3C53CE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3794630"/>
              </p:ext>
            </p:extLst>
          </p:nvPr>
        </p:nvGraphicFramePr>
        <p:xfrm>
          <a:off x="478199" y="1700213"/>
          <a:ext cx="7346588" cy="3813902"/>
        </p:xfrm>
        <a:graphic>
          <a:graphicData uri="http://schemas.openxmlformats.org/drawingml/2006/table">
            <a:tbl>
              <a:tblPr firstRow="1" bandRow="1">
                <a:tableStyleId>{E8B1032C-EA38-4F05-BA0D-38AFFFC7BED3}</a:tableStyleId>
              </a:tblPr>
              <a:tblGrid>
                <a:gridCol w="1849847">
                  <a:extLst>
                    <a:ext uri="{9D8B030D-6E8A-4147-A177-3AD203B41FA5}">
                      <a16:colId xmlns:a16="http://schemas.microsoft.com/office/drawing/2014/main" val="2366848660"/>
                    </a:ext>
                  </a:extLst>
                </a:gridCol>
                <a:gridCol w="251180">
                  <a:extLst>
                    <a:ext uri="{9D8B030D-6E8A-4147-A177-3AD203B41FA5}">
                      <a16:colId xmlns:a16="http://schemas.microsoft.com/office/drawing/2014/main" val="3386461628"/>
                    </a:ext>
                  </a:extLst>
                </a:gridCol>
                <a:gridCol w="1581067">
                  <a:extLst>
                    <a:ext uri="{9D8B030D-6E8A-4147-A177-3AD203B41FA5}">
                      <a16:colId xmlns:a16="http://schemas.microsoft.com/office/drawing/2014/main" val="96258051"/>
                    </a:ext>
                  </a:extLst>
                </a:gridCol>
                <a:gridCol w="251180">
                  <a:extLst>
                    <a:ext uri="{9D8B030D-6E8A-4147-A177-3AD203B41FA5}">
                      <a16:colId xmlns:a16="http://schemas.microsoft.com/office/drawing/2014/main" val="2123565184"/>
                    </a:ext>
                  </a:extLst>
                </a:gridCol>
                <a:gridCol w="1581067">
                  <a:extLst>
                    <a:ext uri="{9D8B030D-6E8A-4147-A177-3AD203B41FA5}">
                      <a16:colId xmlns:a16="http://schemas.microsoft.com/office/drawing/2014/main" val="893677228"/>
                    </a:ext>
                  </a:extLst>
                </a:gridCol>
                <a:gridCol w="251180">
                  <a:extLst>
                    <a:ext uri="{9D8B030D-6E8A-4147-A177-3AD203B41FA5}">
                      <a16:colId xmlns:a16="http://schemas.microsoft.com/office/drawing/2014/main" val="630334555"/>
                    </a:ext>
                  </a:extLst>
                </a:gridCol>
                <a:gridCol w="1581067">
                  <a:extLst>
                    <a:ext uri="{9D8B030D-6E8A-4147-A177-3AD203B41FA5}">
                      <a16:colId xmlns:a16="http://schemas.microsoft.com/office/drawing/2014/main" val="938932017"/>
                    </a:ext>
                  </a:extLst>
                </a:gridCol>
              </a:tblGrid>
              <a:tr h="293792">
                <a:tc gridSpan="7">
                  <a:txBody>
                    <a:bodyPr/>
                    <a:lstStyle/>
                    <a:p>
                      <a:pPr marL="0" marR="0" lvl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kern="1200" dirty="0">
                          <a:solidFill>
                            <a:schemeClr val="accent2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Headline, </a:t>
                      </a:r>
                      <a:r>
                        <a:rPr lang="de-DE" sz="1400" b="0" i="0" kern="1200">
                          <a:solidFill>
                            <a:schemeClr val="accent2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Frutiger Bd</a:t>
                      </a:r>
                      <a:r>
                        <a:rPr lang="de-DE" sz="1400" b="0" i="0" kern="1200" dirty="0">
                          <a:solidFill>
                            <a:schemeClr val="accent2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, 14 </a:t>
                      </a:r>
                      <a:r>
                        <a:rPr lang="de-DE" sz="1400" b="0" i="0" kern="1200" dirty="0" err="1">
                          <a:solidFill>
                            <a:schemeClr val="accent2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pt</a:t>
                      </a:r>
                      <a:r>
                        <a:rPr lang="de-DE" sz="1400" b="0" i="0" kern="1200" dirty="0">
                          <a:solidFill>
                            <a:schemeClr val="accent2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, </a:t>
                      </a:r>
                      <a:r>
                        <a:rPr lang="de-DE" sz="1400" b="0" i="0" kern="1200" dirty="0" err="1">
                          <a:solidFill>
                            <a:schemeClr val="accent2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Sitiorepudae</a:t>
                      </a:r>
                      <a:r>
                        <a:rPr lang="de-DE" sz="1400" b="0" i="0" kern="1200" dirty="0">
                          <a:solidFill>
                            <a:schemeClr val="accent2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b="0" i="0" kern="1200" dirty="0" err="1">
                          <a:solidFill>
                            <a:schemeClr val="accent2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ommos</a:t>
                      </a:r>
                      <a:r>
                        <a:rPr lang="de-DE" sz="1400" b="0" i="0" kern="1200" dirty="0">
                          <a:solidFill>
                            <a:schemeClr val="accent2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b="0" i="0" kern="1200" dirty="0" err="1">
                          <a:solidFill>
                            <a:schemeClr val="accent2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voloraum</a:t>
                      </a:r>
                      <a:endParaRPr lang="de-DE" sz="1400" b="0" i="0" kern="1200" dirty="0">
                        <a:solidFill>
                          <a:schemeClr val="accent2"/>
                        </a:solidFill>
                        <a:effectLst/>
                        <a:latin typeface="Frutiger LT Com 65 Bold" panose="020B0803030504020204" pitchFamily="34" charset="0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42141210"/>
                  </a:ext>
                </a:extLst>
              </a:tr>
              <a:tr h="401907">
                <a:tc>
                  <a:txBody>
                    <a:bodyPr/>
                    <a:lstStyle/>
                    <a:p>
                      <a:pPr marL="0" marR="0" lvl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i="0" kern="1200" dirty="0">
                          <a:solidFill>
                            <a:schemeClr val="tx1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Headline</a:t>
                      </a:r>
                    </a:p>
                  </a:txBody>
                  <a:tcPr marL="0" marT="21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10"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solidFill>
                          <a:schemeClr val="tx1"/>
                        </a:solidFill>
                        <a:latin typeface="Frutiger LT Com 65 Bold" panose="020B0803030504020204" pitchFamily="34" charset="0"/>
                      </a:endParaRPr>
                    </a:p>
                  </a:txBody>
                  <a:tcPr marT="21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400" b="1" i="0" kern="1200">
                          <a:solidFill>
                            <a:schemeClr val="tx1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Fakt 1</a:t>
                      </a:r>
                      <a:endParaRPr lang="de-DE" sz="1400" b="1" i="0" kern="1200" dirty="0">
                        <a:solidFill>
                          <a:schemeClr val="tx1"/>
                        </a:solidFill>
                        <a:effectLst/>
                        <a:latin typeface="Frutiger LT Com 65 Bold" panose="020B0803030504020204" pitchFamily="34" charset="0"/>
                        <a:ea typeface="+mn-ea"/>
                        <a:cs typeface="+mn-cs"/>
                      </a:endParaRPr>
                    </a:p>
                  </a:txBody>
                  <a:tcPr marR="0" marT="21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10"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solidFill>
                          <a:schemeClr val="tx1"/>
                        </a:solidFill>
                        <a:latin typeface="Frutiger LT Com 65 Bold" panose="020B0803030504020204" pitchFamily="34" charset="0"/>
                      </a:endParaRPr>
                    </a:p>
                  </a:txBody>
                  <a:tcPr marT="21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Fakt 2</a:t>
                      </a:r>
                      <a:endParaRPr kumimoji="0" lang="de-DE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Frutiger LT Com 65 Bold" panose="020B0803030504020204" pitchFamily="34" charset="0"/>
                        <a:ea typeface="+mn-ea"/>
                        <a:cs typeface="+mn-cs"/>
                      </a:endParaRPr>
                    </a:p>
                  </a:txBody>
                  <a:tcPr marR="0" marT="21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10"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solidFill>
                          <a:schemeClr val="tx1"/>
                        </a:solidFill>
                        <a:latin typeface="Frutiger LT Com 65 Bold" panose="020B0803030504020204" pitchFamily="34" charset="0"/>
                      </a:endParaRPr>
                    </a:p>
                  </a:txBody>
                  <a:tcPr marT="21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Fakt 3</a:t>
                      </a:r>
                      <a:endParaRPr kumimoji="0" lang="de-DE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Frutiger LT Com 65 Bold" panose="020B0803030504020204" pitchFamily="34" charset="0"/>
                        <a:ea typeface="+mn-ea"/>
                        <a:cs typeface="+mn-cs"/>
                      </a:endParaRPr>
                    </a:p>
                  </a:txBody>
                  <a:tcPr marR="0" marT="21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2396463"/>
                  </a:ext>
                </a:extLst>
              </a:tr>
              <a:tr h="336472">
                <a:tc>
                  <a:txBody>
                    <a:bodyPr/>
                    <a:lstStyle/>
                    <a:p>
                      <a:pPr marL="0" marR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Copy</a:t>
                      </a:r>
                      <a:endParaRPr lang="de-DE" sz="1400" b="0" i="0" dirty="0">
                        <a:solidFill>
                          <a:schemeClr val="tx1"/>
                        </a:solidFill>
                        <a:latin typeface="Frutiger LT Com 45 Light" panose="020B0303030504020204" pitchFamily="34" charset="77"/>
                      </a:endParaRPr>
                    </a:p>
                  </a:txBody>
                  <a:tcPr marL="0" marR="10800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T w="127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4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4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4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0377489"/>
                  </a:ext>
                </a:extLst>
              </a:tr>
              <a:tr h="336472">
                <a:tc>
                  <a:txBody>
                    <a:bodyPr/>
                    <a:lstStyle/>
                    <a:p>
                      <a:pPr marL="0" marR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Copy</a:t>
                      </a:r>
                      <a:endParaRPr lang="de-DE" sz="1400" dirty="0">
                        <a:solidFill>
                          <a:schemeClr val="tx1"/>
                        </a:solidFill>
                      </a:endParaRPr>
                    </a:p>
                  </a:txBody>
                  <a:tcPr marL="0" marR="10800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T w="127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4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7916555"/>
                  </a:ext>
                </a:extLst>
              </a:tr>
              <a:tr h="336472">
                <a:tc>
                  <a:txBody>
                    <a:bodyPr/>
                    <a:lstStyle/>
                    <a:p>
                      <a:pPr marL="0" marR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Copy</a:t>
                      </a:r>
                      <a:endParaRPr lang="de-DE" sz="1400" dirty="0">
                        <a:solidFill>
                          <a:schemeClr val="tx1"/>
                        </a:solidFill>
                      </a:endParaRPr>
                    </a:p>
                  </a:txBody>
                  <a:tcPr marL="0" marR="10800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4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43212442"/>
                  </a:ext>
                </a:extLst>
              </a:tr>
              <a:tr h="336472">
                <a:tc>
                  <a:txBody>
                    <a:bodyPr/>
                    <a:lstStyle/>
                    <a:p>
                      <a:pPr marL="0" marR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Copy</a:t>
                      </a:r>
                      <a:endParaRPr lang="de-DE" sz="1400" dirty="0">
                        <a:solidFill>
                          <a:schemeClr val="tx1"/>
                        </a:solidFill>
                      </a:endParaRPr>
                    </a:p>
                  </a:txBody>
                  <a:tcPr marL="0" marR="10800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400" b="0" i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0 000 000</a:t>
                      </a:r>
                      <a:endParaRPr lang="de-DE" sz="1400" b="0" i="0" dirty="0">
                        <a:solidFill>
                          <a:schemeClr val="tx1"/>
                        </a:solidFill>
                        <a:effectLst/>
                        <a:latin typeface="Frutiger LT Com 45 Light" panose="020B0303030504020204" pitchFamily="34" charset="77"/>
                      </a:endParaRP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3802340"/>
                  </a:ext>
                </a:extLst>
              </a:tr>
              <a:tr h="336472">
                <a:tc>
                  <a:txBody>
                    <a:bodyPr/>
                    <a:lstStyle/>
                    <a:p>
                      <a:pPr marL="0" marR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Copy</a:t>
                      </a:r>
                      <a:endParaRPr lang="de-DE" sz="1400" dirty="0">
                        <a:solidFill>
                          <a:schemeClr val="tx1"/>
                        </a:solidFill>
                      </a:endParaRPr>
                    </a:p>
                  </a:txBody>
                  <a:tcPr marL="0" marR="10800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4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4036468"/>
                  </a:ext>
                </a:extLst>
              </a:tr>
              <a:tr h="336472">
                <a:tc>
                  <a:txBody>
                    <a:bodyPr/>
                    <a:lstStyle/>
                    <a:p>
                      <a:pPr marL="0" marR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Copy</a:t>
                      </a:r>
                      <a:endParaRPr lang="de-DE" sz="1400" dirty="0">
                        <a:solidFill>
                          <a:schemeClr val="tx1"/>
                        </a:solidFill>
                      </a:endParaRPr>
                    </a:p>
                  </a:txBody>
                  <a:tcPr marL="0" marR="10800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2147051"/>
                  </a:ext>
                </a:extLst>
              </a:tr>
              <a:tr h="336472">
                <a:tc>
                  <a:txBody>
                    <a:bodyPr/>
                    <a:lstStyle/>
                    <a:p>
                      <a:pPr marL="0" marR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Copy</a:t>
                      </a:r>
                      <a:endParaRPr lang="de-DE" sz="1400" dirty="0">
                        <a:solidFill>
                          <a:schemeClr val="tx1"/>
                        </a:solidFill>
                      </a:endParaRPr>
                    </a:p>
                  </a:txBody>
                  <a:tcPr marL="0" marR="10800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006680"/>
                  </a:ext>
                </a:extLst>
              </a:tr>
              <a:tr h="336472">
                <a:tc>
                  <a:txBody>
                    <a:bodyPr/>
                    <a:lstStyle/>
                    <a:p>
                      <a:pPr marL="0" marR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Copy</a:t>
                      </a:r>
                      <a:endParaRPr lang="de-DE" sz="1400" dirty="0">
                        <a:solidFill>
                          <a:schemeClr val="tx1"/>
                        </a:solidFill>
                      </a:endParaRPr>
                    </a:p>
                  </a:txBody>
                  <a:tcPr marL="0" marR="10800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8519699"/>
                  </a:ext>
                </a:extLst>
              </a:tr>
              <a:tr h="336472">
                <a:tc>
                  <a:txBody>
                    <a:bodyPr/>
                    <a:lstStyle/>
                    <a:p>
                      <a:pPr marL="0" marR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Sum</a:t>
                      </a:r>
                      <a:endParaRPr lang="de-DE" sz="1400" dirty="0">
                        <a:solidFill>
                          <a:schemeClr val="tx1"/>
                        </a:solidFill>
                        <a:latin typeface="Frutiger LT Com 65 Bold" panose="020B0803030504020204" pitchFamily="34" charset="0"/>
                      </a:endParaRPr>
                    </a:p>
                  </a:txBody>
                  <a:tcPr marL="0" marR="10800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7358753"/>
                  </a:ext>
                </a:extLst>
              </a:tr>
            </a:tbl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CA47E7F-303A-4B91-BA6E-B16E090670DD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8CDB8FED-DE0C-442B-A303-EC7BA59D2F29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3AEFE3-5476-430A-8C96-5A242B21F98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CEBFFE0-E175-40E2-A982-C2CFED6F918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4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83317883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63F7281-E82C-4852-8CAA-8A3A74EAA7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2602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63F7281-E82C-4852-8CAA-8A3A74EAA7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5E4388A6-93FF-4571-952B-B35508AF3E8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</p:spPr>
        <p:txBody>
          <a:bodyPr vert="horz"/>
          <a:lstStyle/>
          <a:p>
            <a:r>
              <a:rPr lang="de-DE"/>
              <a:t>Headline, Frutiger LT Com Bd, 24 pt, Tabelle</a:t>
            </a:r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F551A905-EA7D-48B2-88BF-2228FF879A7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2000" dirty="0" err="1">
                <a:latin typeface="+mn-lt"/>
              </a:rPr>
              <a:t>Subline</a:t>
            </a:r>
            <a:r>
              <a:rPr lang="de-DE" sz="2000" dirty="0">
                <a:latin typeface="+mn-lt"/>
              </a:rPr>
              <a:t>, Frutiger LT </a:t>
            </a:r>
            <a:r>
              <a:rPr lang="de-DE" sz="2000" err="1">
                <a:latin typeface="+mn-lt"/>
              </a:rPr>
              <a:t>Com</a:t>
            </a:r>
            <a:r>
              <a:rPr lang="de-DE" sz="2000">
                <a:latin typeface="+mn-lt"/>
              </a:rPr>
              <a:t> Lt</a:t>
            </a:r>
            <a:r>
              <a:rPr lang="de-DE" sz="2000" dirty="0">
                <a:latin typeface="+mn-lt"/>
              </a:rPr>
              <a:t>, 20 </a:t>
            </a:r>
            <a:r>
              <a:rPr lang="de-DE" sz="2000" dirty="0" err="1">
                <a:latin typeface="+mn-lt"/>
              </a:rPr>
              <a:t>pt</a:t>
            </a:r>
            <a:endParaRPr lang="en-US" dirty="0"/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23732D05-0DEF-47DF-BED4-6938D3B467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2117687"/>
              </p:ext>
            </p:extLst>
          </p:nvPr>
        </p:nvGraphicFramePr>
        <p:xfrm>
          <a:off x="478199" y="1700213"/>
          <a:ext cx="11234378" cy="3813902"/>
        </p:xfrm>
        <a:graphic>
          <a:graphicData uri="http://schemas.openxmlformats.org/drawingml/2006/table">
            <a:tbl>
              <a:tblPr firstRow="1" bandRow="1">
                <a:tableStyleId>{E8B1032C-EA38-4F05-BA0D-38AFFFC7BED3}</a:tableStyleId>
              </a:tblPr>
              <a:tblGrid>
                <a:gridCol w="1887145">
                  <a:extLst>
                    <a:ext uri="{9D8B030D-6E8A-4147-A177-3AD203B41FA5}">
                      <a16:colId xmlns:a16="http://schemas.microsoft.com/office/drawing/2014/main" val="2366848660"/>
                    </a:ext>
                  </a:extLst>
                </a:gridCol>
                <a:gridCol w="256245">
                  <a:extLst>
                    <a:ext uri="{9D8B030D-6E8A-4147-A177-3AD203B41FA5}">
                      <a16:colId xmlns:a16="http://schemas.microsoft.com/office/drawing/2014/main" val="3386461628"/>
                    </a:ext>
                  </a:extLst>
                </a:gridCol>
                <a:gridCol w="1612946">
                  <a:extLst>
                    <a:ext uri="{9D8B030D-6E8A-4147-A177-3AD203B41FA5}">
                      <a16:colId xmlns:a16="http://schemas.microsoft.com/office/drawing/2014/main" val="96258051"/>
                    </a:ext>
                  </a:extLst>
                </a:gridCol>
                <a:gridCol w="256245">
                  <a:extLst>
                    <a:ext uri="{9D8B030D-6E8A-4147-A177-3AD203B41FA5}">
                      <a16:colId xmlns:a16="http://schemas.microsoft.com/office/drawing/2014/main" val="2123565184"/>
                    </a:ext>
                  </a:extLst>
                </a:gridCol>
                <a:gridCol w="1612946">
                  <a:extLst>
                    <a:ext uri="{9D8B030D-6E8A-4147-A177-3AD203B41FA5}">
                      <a16:colId xmlns:a16="http://schemas.microsoft.com/office/drawing/2014/main" val="893677228"/>
                    </a:ext>
                  </a:extLst>
                </a:gridCol>
                <a:gridCol w="256245">
                  <a:extLst>
                    <a:ext uri="{9D8B030D-6E8A-4147-A177-3AD203B41FA5}">
                      <a16:colId xmlns:a16="http://schemas.microsoft.com/office/drawing/2014/main" val="630334555"/>
                    </a:ext>
                  </a:extLst>
                </a:gridCol>
                <a:gridCol w="1612946">
                  <a:extLst>
                    <a:ext uri="{9D8B030D-6E8A-4147-A177-3AD203B41FA5}">
                      <a16:colId xmlns:a16="http://schemas.microsoft.com/office/drawing/2014/main" val="938932017"/>
                    </a:ext>
                  </a:extLst>
                </a:gridCol>
                <a:gridCol w="256884">
                  <a:extLst>
                    <a:ext uri="{9D8B030D-6E8A-4147-A177-3AD203B41FA5}">
                      <a16:colId xmlns:a16="http://schemas.microsoft.com/office/drawing/2014/main" val="939139055"/>
                    </a:ext>
                  </a:extLst>
                </a:gridCol>
                <a:gridCol w="1612946">
                  <a:extLst>
                    <a:ext uri="{9D8B030D-6E8A-4147-A177-3AD203B41FA5}">
                      <a16:colId xmlns:a16="http://schemas.microsoft.com/office/drawing/2014/main" val="4102740696"/>
                    </a:ext>
                  </a:extLst>
                </a:gridCol>
                <a:gridCol w="256884">
                  <a:extLst>
                    <a:ext uri="{9D8B030D-6E8A-4147-A177-3AD203B41FA5}">
                      <a16:colId xmlns:a16="http://schemas.microsoft.com/office/drawing/2014/main" val="63590803"/>
                    </a:ext>
                  </a:extLst>
                </a:gridCol>
                <a:gridCol w="1612946">
                  <a:extLst>
                    <a:ext uri="{9D8B030D-6E8A-4147-A177-3AD203B41FA5}">
                      <a16:colId xmlns:a16="http://schemas.microsoft.com/office/drawing/2014/main" val="626578320"/>
                    </a:ext>
                  </a:extLst>
                </a:gridCol>
              </a:tblGrid>
              <a:tr h="293792">
                <a:tc gridSpan="7">
                  <a:txBody>
                    <a:bodyPr/>
                    <a:lstStyle/>
                    <a:p>
                      <a:pPr marL="0" marR="0" lvl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kern="1200" dirty="0">
                          <a:solidFill>
                            <a:schemeClr val="accent2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Headline, </a:t>
                      </a:r>
                      <a:r>
                        <a:rPr lang="de-DE" sz="1400" b="0" i="0" kern="1200">
                          <a:solidFill>
                            <a:schemeClr val="accent2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Frutiger Bd</a:t>
                      </a:r>
                      <a:r>
                        <a:rPr lang="de-DE" sz="1400" b="0" i="0" kern="1200" dirty="0">
                          <a:solidFill>
                            <a:schemeClr val="accent2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, 14 </a:t>
                      </a:r>
                      <a:r>
                        <a:rPr lang="de-DE" sz="1400" b="0" i="0" kern="1200" dirty="0" err="1">
                          <a:solidFill>
                            <a:schemeClr val="accent2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pt</a:t>
                      </a:r>
                      <a:r>
                        <a:rPr lang="de-DE" sz="1400" b="0" i="0" kern="1200" dirty="0">
                          <a:solidFill>
                            <a:schemeClr val="accent2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, </a:t>
                      </a:r>
                      <a:r>
                        <a:rPr lang="de-DE" sz="1400" b="0" i="0" kern="1200" dirty="0" err="1">
                          <a:solidFill>
                            <a:schemeClr val="accent2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Sitiorepudae</a:t>
                      </a:r>
                      <a:r>
                        <a:rPr lang="de-DE" sz="1400" b="0" i="0" kern="1200" dirty="0">
                          <a:solidFill>
                            <a:schemeClr val="accent2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b="0" i="0" kern="1200" dirty="0" err="1">
                          <a:solidFill>
                            <a:schemeClr val="accent2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ommos</a:t>
                      </a:r>
                      <a:r>
                        <a:rPr lang="de-DE" sz="1400" b="0" i="0" kern="1200" dirty="0">
                          <a:solidFill>
                            <a:schemeClr val="accent2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b="0" i="0" kern="1200" dirty="0" err="1">
                          <a:solidFill>
                            <a:schemeClr val="accent2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voloraum</a:t>
                      </a:r>
                      <a:endParaRPr lang="de-DE" sz="1400" b="0" i="0" kern="1200" dirty="0">
                        <a:solidFill>
                          <a:schemeClr val="accent2"/>
                        </a:solidFill>
                        <a:effectLst/>
                        <a:latin typeface="Frutiger LT Com 65 Bold" panose="020B0803030504020204" pitchFamily="34" charset="0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400" b="0" i="0" kern="1200" dirty="0">
                        <a:solidFill>
                          <a:schemeClr val="tx2"/>
                        </a:solidFill>
                        <a:effectLst/>
                        <a:latin typeface="Frutiger LT Com 65 Bold" panose="020B0803030504020204" pitchFamily="34" charset="0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400" b="0" i="0" kern="1200" dirty="0">
                        <a:solidFill>
                          <a:schemeClr val="tx2"/>
                        </a:solidFill>
                        <a:effectLst/>
                        <a:latin typeface="Frutiger LT Com 65 Bold" panose="020B0803030504020204" pitchFamily="34" charset="0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400" b="0" i="0" kern="1200" dirty="0">
                        <a:solidFill>
                          <a:schemeClr val="tx2"/>
                        </a:solidFill>
                        <a:effectLst/>
                        <a:latin typeface="Frutiger LT Com 65 Bold" panose="020B0803030504020204" pitchFamily="34" charset="0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400" b="0" i="0" kern="1200" dirty="0">
                        <a:solidFill>
                          <a:schemeClr val="tx2"/>
                        </a:solidFill>
                        <a:effectLst/>
                        <a:latin typeface="Frutiger LT Com 65 Bold" panose="020B0803030504020204" pitchFamily="34" charset="0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2141210"/>
                  </a:ext>
                </a:extLst>
              </a:tr>
              <a:tr h="401907">
                <a:tc>
                  <a:txBody>
                    <a:bodyPr/>
                    <a:lstStyle/>
                    <a:p>
                      <a:pPr marL="0" marR="0" lvl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i="0" kern="1200" dirty="0">
                          <a:solidFill>
                            <a:schemeClr val="tx1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Headline</a:t>
                      </a:r>
                    </a:p>
                  </a:txBody>
                  <a:tcPr marL="0" marT="21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10"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solidFill>
                          <a:schemeClr val="tx1"/>
                        </a:solidFill>
                        <a:latin typeface="Frutiger LT Com 65 Bold" panose="020B0803030504020204" pitchFamily="34" charset="0"/>
                      </a:endParaRPr>
                    </a:p>
                  </a:txBody>
                  <a:tcPr marT="21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400" b="1" i="0" kern="1200">
                          <a:solidFill>
                            <a:schemeClr val="tx1"/>
                          </a:solidFill>
                          <a:effectLst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Fakt 1</a:t>
                      </a:r>
                      <a:endParaRPr lang="de-DE" sz="1400" b="1" i="0" kern="1200" dirty="0">
                        <a:solidFill>
                          <a:schemeClr val="tx1"/>
                        </a:solidFill>
                        <a:effectLst/>
                        <a:latin typeface="Frutiger LT Com 65 Bold" panose="020B0803030504020204" pitchFamily="34" charset="0"/>
                        <a:ea typeface="+mn-ea"/>
                        <a:cs typeface="+mn-cs"/>
                      </a:endParaRPr>
                    </a:p>
                  </a:txBody>
                  <a:tcPr marR="0" marT="21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10"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solidFill>
                          <a:schemeClr val="tx1"/>
                        </a:solidFill>
                        <a:latin typeface="Frutiger LT Com 65 Bold" panose="020B0803030504020204" pitchFamily="34" charset="0"/>
                      </a:endParaRPr>
                    </a:p>
                  </a:txBody>
                  <a:tcPr marT="21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Fakt 2</a:t>
                      </a:r>
                      <a:endParaRPr kumimoji="0" lang="de-DE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Frutiger LT Com 65 Bold" panose="020B0803030504020204" pitchFamily="34" charset="0"/>
                        <a:ea typeface="+mn-ea"/>
                        <a:cs typeface="+mn-cs"/>
                      </a:endParaRPr>
                    </a:p>
                  </a:txBody>
                  <a:tcPr marR="0" marT="21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10"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solidFill>
                          <a:schemeClr val="tx1"/>
                        </a:solidFill>
                        <a:latin typeface="Frutiger LT Com 65 Bold" panose="020B0803030504020204" pitchFamily="34" charset="0"/>
                      </a:endParaRPr>
                    </a:p>
                  </a:txBody>
                  <a:tcPr marT="21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Fakt 3</a:t>
                      </a:r>
                      <a:endParaRPr kumimoji="0" lang="de-DE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Frutiger LT Com 65 Bold" panose="020B0803030504020204" pitchFamily="34" charset="0"/>
                        <a:ea typeface="+mn-ea"/>
                        <a:cs typeface="+mn-cs"/>
                      </a:endParaRPr>
                    </a:p>
                  </a:txBody>
                  <a:tcPr marR="0" marT="21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10"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solidFill>
                          <a:schemeClr val="tx1"/>
                        </a:solidFill>
                        <a:latin typeface="Frutiger LT Com 65 Bold" panose="020B0803030504020204" pitchFamily="34" charset="0"/>
                      </a:endParaRPr>
                    </a:p>
                  </a:txBody>
                  <a:tcPr marT="21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Fakt 4</a:t>
                      </a:r>
                      <a:endParaRPr kumimoji="0" lang="de-DE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Frutiger LT Com 65 Bold" panose="020B0803030504020204" pitchFamily="34" charset="0"/>
                        <a:ea typeface="+mn-ea"/>
                        <a:cs typeface="+mn-cs"/>
                      </a:endParaRPr>
                    </a:p>
                  </a:txBody>
                  <a:tcPr marR="0" marT="21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10"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solidFill>
                          <a:schemeClr val="tx1"/>
                        </a:solidFill>
                        <a:latin typeface="Frutiger LT Com 65 Bold" panose="020B0803030504020204" pitchFamily="34" charset="0"/>
                      </a:endParaRPr>
                    </a:p>
                  </a:txBody>
                  <a:tcPr marT="21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Fakt 5</a:t>
                      </a:r>
                      <a:endParaRPr kumimoji="0" lang="de-DE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Frutiger LT Com 65 Bold" panose="020B0803030504020204" pitchFamily="34" charset="0"/>
                        <a:ea typeface="+mn-ea"/>
                        <a:cs typeface="+mn-cs"/>
                      </a:endParaRPr>
                    </a:p>
                  </a:txBody>
                  <a:tcPr marR="0" marT="21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2396463"/>
                  </a:ext>
                </a:extLst>
              </a:tr>
              <a:tr h="336472">
                <a:tc>
                  <a:txBody>
                    <a:bodyPr/>
                    <a:lstStyle/>
                    <a:p>
                      <a:pPr marL="0" marR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Copy</a:t>
                      </a:r>
                      <a:endParaRPr lang="de-DE" sz="1400" b="0" i="0" dirty="0">
                        <a:solidFill>
                          <a:schemeClr val="tx1"/>
                        </a:solidFill>
                        <a:latin typeface="Frutiger LT Com 45 Light" panose="020B0303030504020204" pitchFamily="34" charset="77"/>
                      </a:endParaRPr>
                    </a:p>
                  </a:txBody>
                  <a:tcPr marL="0" marR="10800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T w="127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4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4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4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4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4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0377489"/>
                  </a:ext>
                </a:extLst>
              </a:tr>
              <a:tr h="336472">
                <a:tc>
                  <a:txBody>
                    <a:bodyPr/>
                    <a:lstStyle/>
                    <a:p>
                      <a:pPr marL="0" marR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Copy</a:t>
                      </a:r>
                      <a:endParaRPr lang="de-DE" sz="1400" dirty="0">
                        <a:solidFill>
                          <a:schemeClr val="tx1"/>
                        </a:solidFill>
                      </a:endParaRPr>
                    </a:p>
                  </a:txBody>
                  <a:tcPr marL="0" marR="10800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T w="127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4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7916555"/>
                  </a:ext>
                </a:extLst>
              </a:tr>
              <a:tr h="336472">
                <a:tc>
                  <a:txBody>
                    <a:bodyPr/>
                    <a:lstStyle/>
                    <a:p>
                      <a:pPr marL="0" marR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Copy</a:t>
                      </a:r>
                      <a:endParaRPr lang="de-DE" sz="1400" dirty="0">
                        <a:solidFill>
                          <a:schemeClr val="tx1"/>
                        </a:solidFill>
                      </a:endParaRPr>
                    </a:p>
                  </a:txBody>
                  <a:tcPr marL="0" marR="10800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4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43212442"/>
                  </a:ext>
                </a:extLst>
              </a:tr>
              <a:tr h="336472">
                <a:tc>
                  <a:txBody>
                    <a:bodyPr/>
                    <a:lstStyle/>
                    <a:p>
                      <a:pPr marL="0" marR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Copy</a:t>
                      </a:r>
                      <a:endParaRPr lang="de-DE" sz="1400" dirty="0">
                        <a:solidFill>
                          <a:schemeClr val="tx1"/>
                        </a:solidFill>
                      </a:endParaRPr>
                    </a:p>
                  </a:txBody>
                  <a:tcPr marL="0" marR="10800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4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3802340"/>
                  </a:ext>
                </a:extLst>
              </a:tr>
              <a:tr h="336472">
                <a:tc>
                  <a:txBody>
                    <a:bodyPr/>
                    <a:lstStyle/>
                    <a:p>
                      <a:pPr marL="0" marR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Copy</a:t>
                      </a:r>
                      <a:endParaRPr lang="de-DE" sz="1400" dirty="0">
                        <a:solidFill>
                          <a:schemeClr val="tx1"/>
                        </a:solidFill>
                      </a:endParaRPr>
                    </a:p>
                  </a:txBody>
                  <a:tcPr marL="0" marR="10800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</a:pPr>
                      <a:r>
                        <a:rPr lang="de-DE" sz="1400" b="0" i="0" dirty="0">
                          <a:solidFill>
                            <a:schemeClr val="tx1"/>
                          </a:solidFill>
                          <a:effectLst/>
                          <a:latin typeface="Frutiger LT Com 45 Light" panose="020B0303030504020204" pitchFamily="34" charset="77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4036468"/>
                  </a:ext>
                </a:extLst>
              </a:tr>
              <a:tr h="336472">
                <a:tc>
                  <a:txBody>
                    <a:bodyPr/>
                    <a:lstStyle/>
                    <a:p>
                      <a:pPr marL="0" marR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Copy</a:t>
                      </a:r>
                      <a:endParaRPr lang="de-DE" sz="1400" dirty="0">
                        <a:solidFill>
                          <a:schemeClr val="tx1"/>
                        </a:solidFill>
                      </a:endParaRPr>
                    </a:p>
                  </a:txBody>
                  <a:tcPr marL="0" marR="10800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2147051"/>
                  </a:ext>
                </a:extLst>
              </a:tr>
              <a:tr h="336472">
                <a:tc>
                  <a:txBody>
                    <a:bodyPr/>
                    <a:lstStyle/>
                    <a:p>
                      <a:pPr marL="0" marR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Copy</a:t>
                      </a:r>
                      <a:endParaRPr lang="de-DE" sz="1400" dirty="0">
                        <a:solidFill>
                          <a:schemeClr val="tx1"/>
                        </a:solidFill>
                      </a:endParaRPr>
                    </a:p>
                  </a:txBody>
                  <a:tcPr marL="0" marR="10800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006680"/>
                  </a:ext>
                </a:extLst>
              </a:tr>
              <a:tr h="336472">
                <a:tc>
                  <a:txBody>
                    <a:bodyPr/>
                    <a:lstStyle/>
                    <a:p>
                      <a:pPr marL="0" marR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Copy</a:t>
                      </a:r>
                      <a:endParaRPr lang="de-DE" sz="1400" dirty="0">
                        <a:solidFill>
                          <a:schemeClr val="tx1"/>
                        </a:solidFill>
                      </a:endParaRPr>
                    </a:p>
                  </a:txBody>
                  <a:tcPr marL="0" marR="10800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45 Light" panose="020B0303030504020204" pitchFamily="34" charset="77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8519699"/>
                  </a:ext>
                </a:extLst>
              </a:tr>
              <a:tr h="336472">
                <a:tc>
                  <a:txBody>
                    <a:bodyPr/>
                    <a:lstStyle/>
                    <a:p>
                      <a:pPr marL="0" marR="0" indent="0" algn="l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Sum</a:t>
                      </a:r>
                      <a:endParaRPr lang="de-DE" sz="1400" dirty="0">
                        <a:solidFill>
                          <a:schemeClr val="tx1"/>
                        </a:solidFill>
                        <a:latin typeface="Frutiger LT Com 65 Bold" panose="020B0803030504020204" pitchFamily="34" charset="0"/>
                      </a:endParaRPr>
                    </a:p>
                  </a:txBody>
                  <a:tcPr marL="0" marR="10800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0367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utiger LT Com 65 Bold" panose="020B0803030504020204" pitchFamily="34" charset="0"/>
                          <a:ea typeface="+mn-ea"/>
                          <a:cs typeface="+mn-cs"/>
                        </a:rPr>
                        <a:t>0 000 000</a:t>
                      </a:r>
                    </a:p>
                  </a:txBody>
                  <a:tcPr marL="108000" marR="0" marT="72000" marB="3600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7358753"/>
                  </a:ext>
                </a:extLst>
              </a:tr>
            </a:tbl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F63F51C-BE86-46F4-952E-FB1DED10131E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E6AE7583-4CDE-45BE-9FEB-7A0F85D21086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CB61B63-302B-4F82-B15C-C182A809D10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82468709-C8C8-47E8-843B-87D7C340AD6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4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326957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1F7A04A-71D1-45B6-B350-5FA7CAE858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7830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B520085-9194-4F0F-ABC7-184C219C556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</p:spPr>
        <p:txBody>
          <a:bodyPr vert="horz"/>
          <a:lstStyle/>
          <a:p>
            <a:pPr lvl="0"/>
            <a:r>
              <a:rPr lang="de-DE"/>
              <a:t>Headline, Frutiger LT Com Bd, 24 pt, 4-teiliges Kreisdiagramm</a:t>
            </a:r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E93CC14C-F8F5-435A-9FDF-27071DF891F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2000" dirty="0" err="1">
                <a:latin typeface="+mn-lt"/>
              </a:rPr>
              <a:t>Subline</a:t>
            </a:r>
            <a:r>
              <a:rPr lang="de-DE" sz="2000" dirty="0">
                <a:latin typeface="+mn-lt"/>
              </a:rPr>
              <a:t>, Frutiger LT </a:t>
            </a:r>
            <a:r>
              <a:rPr lang="de-DE" sz="2000" err="1">
                <a:latin typeface="+mn-lt"/>
              </a:rPr>
              <a:t>Com</a:t>
            </a:r>
            <a:r>
              <a:rPr lang="de-DE" sz="2000">
                <a:latin typeface="+mn-lt"/>
              </a:rPr>
              <a:t> Lt</a:t>
            </a:r>
            <a:r>
              <a:rPr lang="de-DE" sz="2000" dirty="0">
                <a:latin typeface="+mn-lt"/>
              </a:rPr>
              <a:t>, 20 </a:t>
            </a:r>
            <a:r>
              <a:rPr lang="de-DE" sz="2000" dirty="0" err="1">
                <a:latin typeface="+mn-lt"/>
              </a:rPr>
              <a:t>pt</a:t>
            </a:r>
            <a:endParaRPr lang="en-US" dirty="0"/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422B2CF4-3A3F-4531-B739-6F5A9BD38398}"/>
              </a:ext>
            </a:extLst>
          </p:cNvPr>
          <p:cNvSpPr txBox="1">
            <a:spLocks/>
          </p:cNvSpPr>
          <p:nvPr/>
        </p:nvSpPr>
        <p:spPr bwMode="gray">
          <a:xfrm>
            <a:off x="479424" y="1700808"/>
            <a:ext cx="11233149" cy="4284662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>
              <a:solidFill>
                <a:schemeClr val="accent2"/>
              </a:solidFill>
            </a:endParaRPr>
          </a:p>
        </p:txBody>
      </p:sp>
      <p:grpSp>
        <p:nvGrpSpPr>
          <p:cNvPr id="18" name="Group 31">
            <a:extLst>
              <a:ext uri="{FF2B5EF4-FFF2-40B4-BE49-F238E27FC236}">
                <a16:creationId xmlns:a16="http://schemas.microsoft.com/office/drawing/2014/main" id="{E9A91AE4-BA3D-4D22-9ECA-941A7991D1DB}"/>
              </a:ext>
            </a:extLst>
          </p:cNvPr>
          <p:cNvGrpSpPr/>
          <p:nvPr/>
        </p:nvGrpSpPr>
        <p:grpSpPr bwMode="gray">
          <a:xfrm flipH="1">
            <a:off x="3943348" y="2193130"/>
            <a:ext cx="2016923" cy="562346"/>
            <a:chOff x="8462823" y="2078945"/>
            <a:chExt cx="912085" cy="976435"/>
          </a:xfrm>
        </p:grpSpPr>
        <p:cxnSp>
          <p:nvCxnSpPr>
            <p:cNvPr id="19" name="Straight Connector 28">
              <a:extLst>
                <a:ext uri="{FF2B5EF4-FFF2-40B4-BE49-F238E27FC236}">
                  <a16:creationId xmlns:a16="http://schemas.microsoft.com/office/drawing/2014/main" id="{89EA341E-6535-4742-B2DB-EDBA73BED424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8466571" y="2109654"/>
              <a:ext cx="0" cy="933319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30">
              <a:extLst>
                <a:ext uri="{FF2B5EF4-FFF2-40B4-BE49-F238E27FC236}">
                  <a16:creationId xmlns:a16="http://schemas.microsoft.com/office/drawing/2014/main" id="{4FF09BB1-8AFD-41A8-99BD-C21EE9885A63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462823" y="2094088"/>
              <a:ext cx="912085" cy="0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28">
              <a:extLst>
                <a:ext uri="{FF2B5EF4-FFF2-40B4-BE49-F238E27FC236}">
                  <a16:creationId xmlns:a16="http://schemas.microsoft.com/office/drawing/2014/main" id="{B944737E-6B2D-4D33-9F3A-DF539EA0018A}"/>
                </a:ext>
              </a:extLst>
            </p:cNvPr>
            <p:cNvCxnSpPr>
              <a:cxnSpLocks/>
            </p:cNvCxnSpPr>
            <p:nvPr/>
          </p:nvCxnSpPr>
          <p:spPr bwMode="gray">
            <a:xfrm flipH="1" flipV="1">
              <a:off x="8466571" y="2078945"/>
              <a:ext cx="0" cy="976435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1" name="Straight Connector 37">
            <a:extLst>
              <a:ext uri="{FF2B5EF4-FFF2-40B4-BE49-F238E27FC236}">
                <a16:creationId xmlns:a16="http://schemas.microsoft.com/office/drawing/2014/main" id="{030AD66B-3AFC-4E31-8072-292F7BE35B83}"/>
              </a:ext>
            </a:extLst>
          </p:cNvPr>
          <p:cNvCxnSpPr>
            <a:cxnSpLocks/>
          </p:cNvCxnSpPr>
          <p:nvPr/>
        </p:nvCxnSpPr>
        <p:spPr bwMode="gray">
          <a:xfrm>
            <a:off x="7183793" y="3705118"/>
            <a:ext cx="1064858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Group 42">
            <a:extLst>
              <a:ext uri="{FF2B5EF4-FFF2-40B4-BE49-F238E27FC236}">
                <a16:creationId xmlns:a16="http://schemas.microsoft.com/office/drawing/2014/main" id="{4F69DF7A-D783-4118-9776-4375C57DCDD4}"/>
              </a:ext>
            </a:extLst>
          </p:cNvPr>
          <p:cNvGrpSpPr/>
          <p:nvPr/>
        </p:nvGrpSpPr>
        <p:grpSpPr bwMode="gray">
          <a:xfrm flipV="1">
            <a:off x="6229348" y="4934299"/>
            <a:ext cx="2019303" cy="518765"/>
            <a:chOff x="8460507" y="2078990"/>
            <a:chExt cx="914401" cy="873664"/>
          </a:xfrm>
        </p:grpSpPr>
        <p:cxnSp>
          <p:nvCxnSpPr>
            <p:cNvPr id="24" name="Straight Connector 43">
              <a:extLst>
                <a:ext uri="{FF2B5EF4-FFF2-40B4-BE49-F238E27FC236}">
                  <a16:creationId xmlns:a16="http://schemas.microsoft.com/office/drawing/2014/main" id="{467FF8D9-7098-4A8D-A912-F4D6B83E8331}"/>
                </a:ext>
              </a:extLst>
            </p:cNvPr>
            <p:cNvCxnSpPr>
              <a:cxnSpLocks/>
              <a:stCxn id="17" idx="5"/>
            </p:cNvCxnSpPr>
            <p:nvPr/>
          </p:nvCxnSpPr>
          <p:spPr bwMode="gray">
            <a:xfrm flipV="1">
              <a:off x="8460507" y="2078990"/>
              <a:ext cx="3" cy="873664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44">
              <a:extLst>
                <a:ext uri="{FF2B5EF4-FFF2-40B4-BE49-F238E27FC236}">
                  <a16:creationId xmlns:a16="http://schemas.microsoft.com/office/drawing/2014/main" id="{17AC3FA8-6BD9-4F3B-94F4-863E1C1E6E0E}"/>
                </a:ext>
              </a:extLst>
            </p:cNvPr>
            <p:cNvCxnSpPr/>
            <p:nvPr/>
          </p:nvCxnSpPr>
          <p:spPr bwMode="gray">
            <a:xfrm>
              <a:off x="8460508" y="2094088"/>
              <a:ext cx="914400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1" name="Grafik 30">
            <a:extLst>
              <a:ext uri="{FF2B5EF4-FFF2-40B4-BE49-F238E27FC236}">
                <a16:creationId xmlns:a16="http://schemas.microsoft.com/office/drawing/2014/main" id="{BF7911A1-31D4-404B-8299-7C1F979C8DAF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116471" y="1783650"/>
            <a:ext cx="795530" cy="795530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45901F55-29FF-4828-AFE3-8239B3796B03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248651" y="2115250"/>
            <a:ext cx="795530" cy="795530"/>
          </a:xfrm>
          <a:prstGeom prst="rect">
            <a:avLst/>
          </a:prstGeom>
          <a:noFill/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BE66482D-78F5-496D-966A-CC02EB804384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285888" y="4993548"/>
            <a:ext cx="890018" cy="871730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75B0567A-2140-4268-AF21-D36DF1571230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116471" y="3667325"/>
            <a:ext cx="890018" cy="871730"/>
          </a:xfrm>
          <a:prstGeom prst="rect">
            <a:avLst/>
          </a:prstGeom>
        </p:spPr>
      </p:pic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F77A5A75-C4F5-4EB8-ABFE-5E0504821785}"/>
              </a:ext>
            </a:extLst>
          </p:cNvPr>
          <p:cNvGrpSpPr/>
          <p:nvPr/>
        </p:nvGrpSpPr>
        <p:grpSpPr bwMode="gray">
          <a:xfrm>
            <a:off x="4755377" y="2501923"/>
            <a:ext cx="2681242" cy="2681242"/>
            <a:chOff x="4755380" y="2436784"/>
            <a:chExt cx="2681242" cy="2681242"/>
          </a:xfrm>
        </p:grpSpPr>
        <p:sp>
          <p:nvSpPr>
            <p:cNvPr id="15" name="Freeform 19">
              <a:extLst>
                <a:ext uri="{FF2B5EF4-FFF2-40B4-BE49-F238E27FC236}">
                  <a16:creationId xmlns:a16="http://schemas.microsoft.com/office/drawing/2014/main" id="{A9614189-66F7-4220-9FB9-430164EDDE93}"/>
                </a:ext>
              </a:extLst>
            </p:cNvPr>
            <p:cNvSpPr/>
            <p:nvPr/>
          </p:nvSpPr>
          <p:spPr bwMode="gray">
            <a:xfrm>
              <a:off x="6229350" y="2436784"/>
              <a:ext cx="1207272" cy="1207271"/>
            </a:xfrm>
            <a:custGeom>
              <a:avLst/>
              <a:gdLst>
                <a:gd name="connsiteX0" fmla="*/ 0 w 1609696"/>
                <a:gd name="connsiteY0" fmla="*/ 0 h 1609695"/>
                <a:gd name="connsiteX1" fmla="*/ 5880 w 1609696"/>
                <a:gd name="connsiteY1" fmla="*/ 297 h 1609695"/>
                <a:gd name="connsiteX2" fmla="*/ 1609399 w 1609696"/>
                <a:gd name="connsiteY2" fmla="*/ 1603816 h 1609695"/>
                <a:gd name="connsiteX3" fmla="*/ 1609696 w 1609696"/>
                <a:gd name="connsiteY3" fmla="*/ 1609695 h 1609695"/>
                <a:gd name="connsiteX4" fmla="*/ 1272591 w 1609696"/>
                <a:gd name="connsiteY4" fmla="*/ 1609695 h 1609695"/>
                <a:gd name="connsiteX5" fmla="*/ 1254750 w 1609696"/>
                <a:gd name="connsiteY5" fmla="*/ 1492799 h 1609695"/>
                <a:gd name="connsiteX6" fmla="*/ 116897 w 1609696"/>
                <a:gd name="connsiteY6" fmla="*/ 354946 h 1609695"/>
                <a:gd name="connsiteX7" fmla="*/ 0 w 1609696"/>
                <a:gd name="connsiteY7" fmla="*/ 337105 h 1609695"/>
                <a:gd name="connsiteX8" fmla="*/ 0 w 1609696"/>
                <a:gd name="connsiteY8" fmla="*/ 0 h 1609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09696" h="1609695">
                  <a:moveTo>
                    <a:pt x="0" y="0"/>
                  </a:moveTo>
                  <a:lnTo>
                    <a:pt x="5880" y="297"/>
                  </a:lnTo>
                  <a:cubicBezTo>
                    <a:pt x="851371" y="86161"/>
                    <a:pt x="1523535" y="758326"/>
                    <a:pt x="1609399" y="1603816"/>
                  </a:cubicBezTo>
                  <a:lnTo>
                    <a:pt x="1609696" y="1609695"/>
                  </a:lnTo>
                  <a:lnTo>
                    <a:pt x="1272591" y="1609695"/>
                  </a:lnTo>
                  <a:lnTo>
                    <a:pt x="1254750" y="1492799"/>
                  </a:lnTo>
                  <a:cubicBezTo>
                    <a:pt x="1137879" y="921663"/>
                    <a:pt x="688033" y="471817"/>
                    <a:pt x="116897" y="354946"/>
                  </a:cubicBezTo>
                  <a:lnTo>
                    <a:pt x="0" y="3371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350" dirty="0">
                <a:solidFill>
                  <a:schemeClr val="tx1"/>
                </a:solidFill>
              </a:endParaRPr>
            </a:p>
          </p:txBody>
        </p:sp>
        <p:sp>
          <p:nvSpPr>
            <p:cNvPr id="16" name="Freeform 20">
              <a:extLst>
                <a:ext uri="{FF2B5EF4-FFF2-40B4-BE49-F238E27FC236}">
                  <a16:creationId xmlns:a16="http://schemas.microsoft.com/office/drawing/2014/main" id="{9448D4F6-6E5A-4A57-947F-FFA32787A16E}"/>
                </a:ext>
              </a:extLst>
            </p:cNvPr>
            <p:cNvSpPr/>
            <p:nvPr/>
          </p:nvSpPr>
          <p:spPr bwMode="gray">
            <a:xfrm>
              <a:off x="4755380" y="2436784"/>
              <a:ext cx="1207271" cy="1207271"/>
            </a:xfrm>
            <a:custGeom>
              <a:avLst/>
              <a:gdLst>
                <a:gd name="connsiteX0" fmla="*/ 1609694 w 1609694"/>
                <a:gd name="connsiteY0" fmla="*/ 0 h 1609695"/>
                <a:gd name="connsiteX1" fmla="*/ 1609694 w 1609694"/>
                <a:gd name="connsiteY1" fmla="*/ 337105 h 1609695"/>
                <a:gd name="connsiteX2" fmla="*/ 1492799 w 1609694"/>
                <a:gd name="connsiteY2" fmla="*/ 354946 h 1609695"/>
                <a:gd name="connsiteX3" fmla="*/ 354946 w 1609694"/>
                <a:gd name="connsiteY3" fmla="*/ 1492799 h 1609695"/>
                <a:gd name="connsiteX4" fmla="*/ 337105 w 1609694"/>
                <a:gd name="connsiteY4" fmla="*/ 1609695 h 1609695"/>
                <a:gd name="connsiteX5" fmla="*/ 0 w 1609694"/>
                <a:gd name="connsiteY5" fmla="*/ 1609695 h 1609695"/>
                <a:gd name="connsiteX6" fmla="*/ 297 w 1609694"/>
                <a:gd name="connsiteY6" fmla="*/ 1603816 h 1609695"/>
                <a:gd name="connsiteX7" fmla="*/ 1603816 w 1609694"/>
                <a:gd name="connsiteY7" fmla="*/ 297 h 1609695"/>
                <a:gd name="connsiteX8" fmla="*/ 1609694 w 1609694"/>
                <a:gd name="connsiteY8" fmla="*/ 0 h 1609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09694" h="1609695">
                  <a:moveTo>
                    <a:pt x="1609694" y="0"/>
                  </a:moveTo>
                  <a:lnTo>
                    <a:pt x="1609694" y="337105"/>
                  </a:lnTo>
                  <a:lnTo>
                    <a:pt x="1492799" y="354946"/>
                  </a:lnTo>
                  <a:cubicBezTo>
                    <a:pt x="921663" y="471817"/>
                    <a:pt x="471818" y="921663"/>
                    <a:pt x="354946" y="1492799"/>
                  </a:cubicBezTo>
                  <a:lnTo>
                    <a:pt x="337105" y="1609695"/>
                  </a:lnTo>
                  <a:lnTo>
                    <a:pt x="0" y="1609695"/>
                  </a:lnTo>
                  <a:lnTo>
                    <a:pt x="297" y="1603816"/>
                  </a:lnTo>
                  <a:cubicBezTo>
                    <a:pt x="86161" y="758326"/>
                    <a:pt x="758326" y="86161"/>
                    <a:pt x="1603816" y="297"/>
                  </a:cubicBezTo>
                  <a:lnTo>
                    <a:pt x="1609694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350" dirty="0">
                <a:solidFill>
                  <a:schemeClr val="tx1"/>
                </a:solidFill>
              </a:endParaRPr>
            </a:p>
          </p:txBody>
        </p:sp>
        <p:sp>
          <p:nvSpPr>
            <p:cNvPr id="17" name="Freeform 22">
              <a:extLst>
                <a:ext uri="{FF2B5EF4-FFF2-40B4-BE49-F238E27FC236}">
                  <a16:creationId xmlns:a16="http://schemas.microsoft.com/office/drawing/2014/main" id="{37C5854C-1153-4BDF-ADC2-45D1AEE421DE}"/>
                </a:ext>
              </a:extLst>
            </p:cNvPr>
            <p:cNvSpPr/>
            <p:nvPr/>
          </p:nvSpPr>
          <p:spPr bwMode="gray">
            <a:xfrm>
              <a:off x="6229350" y="3910755"/>
              <a:ext cx="1207272" cy="1207271"/>
            </a:xfrm>
            <a:custGeom>
              <a:avLst/>
              <a:gdLst>
                <a:gd name="connsiteX0" fmla="*/ 1272591 w 1609696"/>
                <a:gd name="connsiteY0" fmla="*/ 0 h 1609695"/>
                <a:gd name="connsiteX1" fmla="*/ 1609696 w 1609696"/>
                <a:gd name="connsiteY1" fmla="*/ 0 h 1609695"/>
                <a:gd name="connsiteX2" fmla="*/ 1609399 w 1609696"/>
                <a:gd name="connsiteY2" fmla="*/ 5879 h 1609695"/>
                <a:gd name="connsiteX3" fmla="*/ 5880 w 1609696"/>
                <a:gd name="connsiteY3" fmla="*/ 1609398 h 1609695"/>
                <a:gd name="connsiteX4" fmla="*/ 0 w 1609696"/>
                <a:gd name="connsiteY4" fmla="*/ 1609695 h 1609695"/>
                <a:gd name="connsiteX5" fmla="*/ 0 w 1609696"/>
                <a:gd name="connsiteY5" fmla="*/ 1272590 h 1609695"/>
                <a:gd name="connsiteX6" fmla="*/ 116897 w 1609696"/>
                <a:gd name="connsiteY6" fmla="*/ 1254749 h 1609695"/>
                <a:gd name="connsiteX7" fmla="*/ 1254750 w 1609696"/>
                <a:gd name="connsiteY7" fmla="*/ 116896 h 1609695"/>
                <a:gd name="connsiteX8" fmla="*/ 1272591 w 1609696"/>
                <a:gd name="connsiteY8" fmla="*/ 0 h 1609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09696" h="1609695">
                  <a:moveTo>
                    <a:pt x="1272591" y="0"/>
                  </a:moveTo>
                  <a:lnTo>
                    <a:pt x="1609696" y="0"/>
                  </a:lnTo>
                  <a:lnTo>
                    <a:pt x="1609399" y="5879"/>
                  </a:lnTo>
                  <a:cubicBezTo>
                    <a:pt x="1523535" y="851370"/>
                    <a:pt x="851371" y="1523534"/>
                    <a:pt x="5880" y="1609398"/>
                  </a:cubicBezTo>
                  <a:lnTo>
                    <a:pt x="0" y="1609695"/>
                  </a:lnTo>
                  <a:lnTo>
                    <a:pt x="0" y="1272590"/>
                  </a:lnTo>
                  <a:lnTo>
                    <a:pt x="116897" y="1254749"/>
                  </a:lnTo>
                  <a:cubicBezTo>
                    <a:pt x="688033" y="1137878"/>
                    <a:pt x="1137879" y="688032"/>
                    <a:pt x="1254750" y="116896"/>
                  </a:cubicBezTo>
                  <a:lnTo>
                    <a:pt x="127259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350" dirty="0">
                <a:solidFill>
                  <a:schemeClr val="tx1"/>
                </a:solidFill>
              </a:endParaRPr>
            </a:p>
          </p:txBody>
        </p:sp>
        <p:sp>
          <p:nvSpPr>
            <p:cNvPr id="35" name="Freeform 21">
              <a:extLst>
                <a:ext uri="{FF2B5EF4-FFF2-40B4-BE49-F238E27FC236}">
                  <a16:creationId xmlns:a16="http://schemas.microsoft.com/office/drawing/2014/main" id="{0C8EF48E-F722-42DC-BF43-6E79F4F3D47A}"/>
                </a:ext>
              </a:extLst>
            </p:cNvPr>
            <p:cNvSpPr/>
            <p:nvPr/>
          </p:nvSpPr>
          <p:spPr bwMode="gray">
            <a:xfrm>
              <a:off x="4755380" y="3910755"/>
              <a:ext cx="1207271" cy="1207271"/>
            </a:xfrm>
            <a:custGeom>
              <a:avLst/>
              <a:gdLst>
                <a:gd name="connsiteX0" fmla="*/ 0 w 1609694"/>
                <a:gd name="connsiteY0" fmla="*/ 0 h 1609695"/>
                <a:gd name="connsiteX1" fmla="*/ 337105 w 1609694"/>
                <a:gd name="connsiteY1" fmla="*/ 0 h 1609695"/>
                <a:gd name="connsiteX2" fmla="*/ 354946 w 1609694"/>
                <a:gd name="connsiteY2" fmla="*/ 116896 h 1609695"/>
                <a:gd name="connsiteX3" fmla="*/ 1492799 w 1609694"/>
                <a:gd name="connsiteY3" fmla="*/ 1254749 h 1609695"/>
                <a:gd name="connsiteX4" fmla="*/ 1609694 w 1609694"/>
                <a:gd name="connsiteY4" fmla="*/ 1272590 h 1609695"/>
                <a:gd name="connsiteX5" fmla="*/ 1609694 w 1609694"/>
                <a:gd name="connsiteY5" fmla="*/ 1609695 h 1609695"/>
                <a:gd name="connsiteX6" fmla="*/ 1603816 w 1609694"/>
                <a:gd name="connsiteY6" fmla="*/ 1609398 h 1609695"/>
                <a:gd name="connsiteX7" fmla="*/ 297 w 1609694"/>
                <a:gd name="connsiteY7" fmla="*/ 5879 h 1609695"/>
                <a:gd name="connsiteX8" fmla="*/ 0 w 1609694"/>
                <a:gd name="connsiteY8" fmla="*/ 0 h 1609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09694" h="1609695">
                  <a:moveTo>
                    <a:pt x="0" y="0"/>
                  </a:moveTo>
                  <a:lnTo>
                    <a:pt x="337105" y="0"/>
                  </a:lnTo>
                  <a:lnTo>
                    <a:pt x="354946" y="116896"/>
                  </a:lnTo>
                  <a:cubicBezTo>
                    <a:pt x="471818" y="688032"/>
                    <a:pt x="921663" y="1137878"/>
                    <a:pt x="1492799" y="1254749"/>
                  </a:cubicBezTo>
                  <a:lnTo>
                    <a:pt x="1609694" y="1272590"/>
                  </a:lnTo>
                  <a:lnTo>
                    <a:pt x="1609694" y="1609695"/>
                  </a:lnTo>
                  <a:lnTo>
                    <a:pt x="1603816" y="1609398"/>
                  </a:lnTo>
                  <a:cubicBezTo>
                    <a:pt x="758326" y="1523534"/>
                    <a:pt x="86161" y="851370"/>
                    <a:pt x="297" y="587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350" dirty="0">
                <a:solidFill>
                  <a:schemeClr val="tx1"/>
                </a:solidFill>
              </a:endParaRPr>
            </a:p>
          </p:txBody>
        </p:sp>
      </p:grp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D51B5320-1233-46D4-9904-06ECED2DB1C5}"/>
              </a:ext>
            </a:extLst>
          </p:cNvPr>
          <p:cNvSpPr txBox="1">
            <a:spLocks/>
          </p:cNvSpPr>
          <p:nvPr/>
        </p:nvSpPr>
        <p:spPr bwMode="gray">
          <a:xfrm>
            <a:off x="710119" y="2579180"/>
            <a:ext cx="3055630" cy="697499"/>
          </a:xfrm>
          <a:prstGeom prst="rect">
            <a:avLst/>
          </a:prstGeom>
        </p:spPr>
        <p:txBody>
          <a:bodyPr wrap="square" lIns="0" tIns="0" rIns="0" bIns="0" numCol="1" spcCol="360000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algn="r">
              <a:lnSpc>
                <a:spcPct val="110000"/>
              </a:lnSpc>
            </a:pPr>
            <a:r>
              <a:rPr lang="de-DE" dirty="0"/>
              <a:t>Headline 14 </a:t>
            </a:r>
            <a:r>
              <a:rPr lang="de-DE" dirty="0" err="1"/>
              <a:t>pt</a:t>
            </a:r>
            <a:endParaRPr lang="de-DE" dirty="0"/>
          </a:p>
          <a:p>
            <a:pPr lvl="1" algn="r">
              <a:lnSpc>
                <a:spcPct val="110000"/>
              </a:lnSpc>
            </a:pPr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endParaRPr lang="de-DE" dirty="0"/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761EFD85-94A4-46BE-97F6-6FCA388D9212}"/>
              </a:ext>
            </a:extLst>
          </p:cNvPr>
          <p:cNvSpPr txBox="1">
            <a:spLocks/>
          </p:cNvSpPr>
          <p:nvPr/>
        </p:nvSpPr>
        <p:spPr bwMode="gray">
          <a:xfrm>
            <a:off x="710119" y="4539055"/>
            <a:ext cx="3055630" cy="697499"/>
          </a:xfrm>
          <a:prstGeom prst="rect">
            <a:avLst/>
          </a:prstGeom>
        </p:spPr>
        <p:txBody>
          <a:bodyPr wrap="square" lIns="0" tIns="0" rIns="0" bIns="0" numCol="1" spcCol="360000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algn="r">
              <a:lnSpc>
                <a:spcPct val="110000"/>
              </a:lnSpc>
            </a:pPr>
            <a:r>
              <a:rPr lang="de-DE" dirty="0"/>
              <a:t>Headline 14 </a:t>
            </a:r>
            <a:r>
              <a:rPr lang="de-DE" dirty="0" err="1"/>
              <a:t>pt</a:t>
            </a:r>
            <a:endParaRPr lang="de-DE" dirty="0"/>
          </a:p>
          <a:p>
            <a:pPr lvl="1" algn="r">
              <a:lnSpc>
                <a:spcPct val="110000"/>
              </a:lnSpc>
            </a:pPr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endParaRPr lang="de-DE" dirty="0"/>
          </a:p>
        </p:txBody>
      </p:sp>
      <p:sp>
        <p:nvSpPr>
          <p:cNvPr id="38" name="Textplatzhalter 6">
            <a:extLst>
              <a:ext uri="{FF2B5EF4-FFF2-40B4-BE49-F238E27FC236}">
                <a16:creationId xmlns:a16="http://schemas.microsoft.com/office/drawing/2014/main" id="{68BA3CA0-F5D2-419A-832B-EA2F3142B187}"/>
              </a:ext>
            </a:extLst>
          </p:cNvPr>
          <p:cNvSpPr txBox="1">
            <a:spLocks/>
          </p:cNvSpPr>
          <p:nvPr/>
        </p:nvSpPr>
        <p:spPr bwMode="gray">
          <a:xfrm>
            <a:off x="8355478" y="2946728"/>
            <a:ext cx="3204621" cy="697499"/>
          </a:xfrm>
          <a:prstGeom prst="rect">
            <a:avLst/>
          </a:prstGeom>
        </p:spPr>
        <p:txBody>
          <a:bodyPr wrap="square" lIns="0" tIns="0" rIns="0" bIns="0" numCol="1" spcCol="360000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lnSpc>
                <a:spcPct val="110000"/>
              </a:lnSpc>
            </a:pPr>
            <a:r>
              <a:rPr lang="de-DE" dirty="0"/>
              <a:t>Headline 14 </a:t>
            </a:r>
            <a:r>
              <a:rPr lang="de-DE" dirty="0" err="1"/>
              <a:t>pt</a:t>
            </a:r>
            <a:endParaRPr lang="de-DE" dirty="0"/>
          </a:p>
          <a:p>
            <a:pPr lvl="1">
              <a:lnSpc>
                <a:spcPct val="110000"/>
              </a:lnSpc>
            </a:pPr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endParaRPr lang="de-DE" dirty="0"/>
          </a:p>
        </p:txBody>
      </p:sp>
      <p:sp>
        <p:nvSpPr>
          <p:cNvPr id="39" name="Textplatzhalter 6">
            <a:extLst>
              <a:ext uri="{FF2B5EF4-FFF2-40B4-BE49-F238E27FC236}">
                <a16:creationId xmlns:a16="http://schemas.microsoft.com/office/drawing/2014/main" id="{62ABB2E3-D9BA-45E1-AF15-E6FC9D2F8710}"/>
              </a:ext>
            </a:extLst>
          </p:cNvPr>
          <p:cNvSpPr txBox="1">
            <a:spLocks/>
          </p:cNvSpPr>
          <p:nvPr/>
        </p:nvSpPr>
        <p:spPr bwMode="gray">
          <a:xfrm>
            <a:off x="8355478" y="4343359"/>
            <a:ext cx="3204621" cy="697499"/>
          </a:xfrm>
          <a:prstGeom prst="rect">
            <a:avLst/>
          </a:prstGeom>
        </p:spPr>
        <p:txBody>
          <a:bodyPr wrap="square" lIns="0" tIns="0" rIns="0" bIns="0" numCol="1" spcCol="360000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lnSpc>
                <a:spcPct val="110000"/>
              </a:lnSpc>
            </a:pPr>
            <a:r>
              <a:rPr lang="de-DE" dirty="0"/>
              <a:t>Headline 14 </a:t>
            </a:r>
            <a:r>
              <a:rPr lang="de-DE" dirty="0" err="1"/>
              <a:t>pt</a:t>
            </a:r>
            <a:endParaRPr lang="de-DE" dirty="0"/>
          </a:p>
          <a:p>
            <a:pPr lvl="1">
              <a:lnSpc>
                <a:spcPct val="110000"/>
              </a:lnSpc>
            </a:pPr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endParaRPr lang="de-DE" dirty="0"/>
          </a:p>
        </p:txBody>
      </p:sp>
      <p:sp>
        <p:nvSpPr>
          <p:cNvPr id="40" name="Textplatzhalter 6">
            <a:extLst>
              <a:ext uri="{FF2B5EF4-FFF2-40B4-BE49-F238E27FC236}">
                <a16:creationId xmlns:a16="http://schemas.microsoft.com/office/drawing/2014/main" id="{6007375B-9D39-4AC9-8455-5592AE38A889}"/>
              </a:ext>
            </a:extLst>
          </p:cNvPr>
          <p:cNvSpPr txBox="1">
            <a:spLocks/>
          </p:cNvSpPr>
          <p:nvPr/>
        </p:nvSpPr>
        <p:spPr bwMode="gray">
          <a:xfrm>
            <a:off x="5113168" y="3240827"/>
            <a:ext cx="1965666" cy="1171475"/>
          </a:xfrm>
          <a:prstGeom prst="rect">
            <a:avLst/>
          </a:prstGeom>
        </p:spPr>
        <p:txBody>
          <a:bodyPr wrap="square" lIns="0" tIns="0" rIns="0" bIns="0" numCol="1" spcCol="360000" anchor="ctr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algn="ctr">
              <a:lnSpc>
                <a:spcPct val="110000"/>
              </a:lnSpc>
            </a:pPr>
            <a:r>
              <a:rPr lang="de-DE" dirty="0"/>
              <a:t>Headline 14 </a:t>
            </a:r>
            <a:r>
              <a:rPr lang="de-DE" dirty="0" err="1"/>
              <a:t>pt</a:t>
            </a:r>
            <a:endParaRPr lang="de-DE" dirty="0"/>
          </a:p>
          <a:p>
            <a:pPr lvl="1" algn="ctr">
              <a:lnSpc>
                <a:spcPct val="110000"/>
              </a:lnSpc>
            </a:pPr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3CE58B9-DC4E-4EA3-81CC-5824238F5A2E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E5595ADC-2FAF-45CE-A800-DA4CF1C2B86F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743ED419-B9C1-4604-900D-FFE43BF67AE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cxnSp>
        <p:nvCxnSpPr>
          <p:cNvPr id="44" name="Straight Connector 40">
            <a:extLst>
              <a:ext uri="{FF2B5EF4-FFF2-40B4-BE49-F238E27FC236}">
                <a16:creationId xmlns:a16="http://schemas.microsoft.com/office/drawing/2014/main" id="{7AC6BEBB-CA25-4E9C-9EB7-1F02ADE9D137}"/>
              </a:ext>
            </a:extLst>
          </p:cNvPr>
          <p:cNvCxnSpPr>
            <a:cxnSpLocks/>
          </p:cNvCxnSpPr>
          <p:nvPr/>
        </p:nvCxnSpPr>
        <p:spPr bwMode="gray">
          <a:xfrm>
            <a:off x="3945732" y="3974200"/>
            <a:ext cx="1062990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193E5CF-94E1-4591-B0B3-4DFBFD787AE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4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2271402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1F7A04A-71D1-45B6-B350-5FA7CAE858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8170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E1F7A04A-71D1-45B6-B350-5FA7CAE858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Textplatzhalter 6">
            <a:extLst>
              <a:ext uri="{FF2B5EF4-FFF2-40B4-BE49-F238E27FC236}">
                <a16:creationId xmlns:a16="http://schemas.microsoft.com/office/drawing/2014/main" id="{94EC79FB-A9F3-48C3-902F-E2E5690BDCDD}"/>
              </a:ext>
            </a:extLst>
          </p:cNvPr>
          <p:cNvSpPr txBox="1">
            <a:spLocks/>
          </p:cNvSpPr>
          <p:nvPr/>
        </p:nvSpPr>
        <p:spPr bwMode="gray">
          <a:xfrm>
            <a:off x="479424" y="1700213"/>
            <a:ext cx="11233149" cy="4284662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B520085-9194-4F0F-ABC7-184C219C556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</p:spPr>
        <p:txBody>
          <a:bodyPr vert="horz"/>
          <a:lstStyle/>
          <a:p>
            <a:pPr lvl="0"/>
            <a:r>
              <a:rPr lang="de-DE"/>
              <a:t>Headline, Frutiger LT Com Bd, 24 pt, 8-teiliges Kreisdiagramm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40C89E2E-E401-4D3B-8834-FC6F45E4E62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2000" dirty="0" err="1">
                <a:latin typeface="+mn-lt"/>
              </a:rPr>
              <a:t>Subline</a:t>
            </a:r>
            <a:r>
              <a:rPr lang="de-DE" sz="2000" dirty="0">
                <a:latin typeface="+mn-lt"/>
              </a:rPr>
              <a:t>, Frutiger LT </a:t>
            </a:r>
            <a:r>
              <a:rPr lang="de-DE" sz="2000" err="1">
                <a:latin typeface="+mn-lt"/>
              </a:rPr>
              <a:t>Com</a:t>
            </a:r>
            <a:r>
              <a:rPr lang="de-DE" sz="2000">
                <a:latin typeface="+mn-lt"/>
              </a:rPr>
              <a:t> Lt</a:t>
            </a:r>
            <a:r>
              <a:rPr lang="de-DE" sz="2000" dirty="0">
                <a:latin typeface="+mn-lt"/>
              </a:rPr>
              <a:t>, 20 </a:t>
            </a:r>
            <a:r>
              <a:rPr lang="de-DE" sz="2000" dirty="0" err="1">
                <a:latin typeface="+mn-lt"/>
              </a:rPr>
              <a:t>pt</a:t>
            </a:r>
            <a:endParaRPr lang="en-US" dirty="0"/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C2D4C374-568D-4E3B-8F47-AB03D0B21406}"/>
              </a:ext>
            </a:extLst>
          </p:cNvPr>
          <p:cNvSpPr txBox="1">
            <a:spLocks/>
          </p:cNvSpPr>
          <p:nvPr/>
        </p:nvSpPr>
        <p:spPr bwMode="gray">
          <a:xfrm>
            <a:off x="5113168" y="3240827"/>
            <a:ext cx="1965666" cy="1171475"/>
          </a:xfrm>
          <a:prstGeom prst="rect">
            <a:avLst/>
          </a:prstGeom>
        </p:spPr>
        <p:txBody>
          <a:bodyPr wrap="square" lIns="0" tIns="0" rIns="0" bIns="0" numCol="1" spcCol="360000" anchor="ctr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algn="ctr">
              <a:lnSpc>
                <a:spcPct val="110000"/>
              </a:lnSpc>
            </a:pPr>
            <a:r>
              <a:rPr lang="de-DE" dirty="0"/>
              <a:t>Headline 14 </a:t>
            </a:r>
            <a:r>
              <a:rPr lang="de-DE" dirty="0" err="1"/>
              <a:t>pt</a:t>
            </a:r>
            <a:endParaRPr lang="de-DE" dirty="0"/>
          </a:p>
          <a:p>
            <a:pPr lvl="1" algn="ctr">
              <a:lnSpc>
                <a:spcPct val="110000"/>
              </a:lnSpc>
            </a:pPr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endParaRPr lang="de-DE" dirty="0"/>
          </a:p>
        </p:txBody>
      </p:sp>
      <p:grpSp>
        <p:nvGrpSpPr>
          <p:cNvPr id="17" name="Group 18">
            <a:extLst>
              <a:ext uri="{FF2B5EF4-FFF2-40B4-BE49-F238E27FC236}">
                <a16:creationId xmlns:a16="http://schemas.microsoft.com/office/drawing/2014/main" id="{A615C340-D53F-4E64-A0FA-14F866FE915D}"/>
              </a:ext>
            </a:extLst>
          </p:cNvPr>
          <p:cNvGrpSpPr>
            <a:grpSpLocks/>
          </p:cNvGrpSpPr>
          <p:nvPr/>
        </p:nvGrpSpPr>
        <p:grpSpPr bwMode="gray">
          <a:xfrm>
            <a:off x="4755377" y="2501923"/>
            <a:ext cx="2681243" cy="2681243"/>
            <a:chOff x="4308506" y="1641506"/>
            <a:chExt cx="3574990" cy="3574990"/>
          </a:xfrm>
        </p:grpSpPr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EE080A60-2EBC-456F-A5AF-C796FE154B0F}"/>
                </a:ext>
              </a:extLst>
            </p:cNvPr>
            <p:cNvSpPr/>
            <p:nvPr/>
          </p:nvSpPr>
          <p:spPr bwMode="gray">
            <a:xfrm>
              <a:off x="6273800" y="1641506"/>
              <a:ext cx="960390" cy="636372"/>
            </a:xfrm>
            <a:custGeom>
              <a:avLst/>
              <a:gdLst>
                <a:gd name="connsiteX0" fmla="*/ 0 w 960390"/>
                <a:gd name="connsiteY0" fmla="*/ 0 h 636372"/>
                <a:gd name="connsiteX1" fmla="*/ 5880 w 960390"/>
                <a:gd name="connsiteY1" fmla="*/ 297 h 636372"/>
                <a:gd name="connsiteX2" fmla="*/ 826626 w 960390"/>
                <a:gd name="connsiteY2" fmla="*/ 297831 h 636372"/>
                <a:gd name="connsiteX3" fmla="*/ 960390 w 960390"/>
                <a:gd name="connsiteY3" fmla="*/ 397858 h 636372"/>
                <a:gd name="connsiteX4" fmla="*/ 721876 w 960390"/>
                <a:gd name="connsiteY4" fmla="*/ 636372 h 636372"/>
                <a:gd name="connsiteX5" fmla="*/ 639763 w 960390"/>
                <a:gd name="connsiteY5" fmla="*/ 574969 h 636372"/>
                <a:gd name="connsiteX6" fmla="*/ 116897 w 960390"/>
                <a:gd name="connsiteY6" fmla="*/ 354946 h 636372"/>
                <a:gd name="connsiteX7" fmla="*/ 0 w 960390"/>
                <a:gd name="connsiteY7" fmla="*/ 337105 h 636372"/>
                <a:gd name="connsiteX8" fmla="*/ 0 w 960390"/>
                <a:gd name="connsiteY8" fmla="*/ 0 h 636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0390" h="636372">
                  <a:moveTo>
                    <a:pt x="0" y="0"/>
                  </a:moveTo>
                  <a:lnTo>
                    <a:pt x="5880" y="297"/>
                  </a:lnTo>
                  <a:cubicBezTo>
                    <a:pt x="307841" y="30963"/>
                    <a:pt x="587694" y="136412"/>
                    <a:pt x="826626" y="297831"/>
                  </a:cubicBezTo>
                  <a:lnTo>
                    <a:pt x="960390" y="397858"/>
                  </a:lnTo>
                  <a:lnTo>
                    <a:pt x="721876" y="636372"/>
                  </a:lnTo>
                  <a:lnTo>
                    <a:pt x="639763" y="574969"/>
                  </a:lnTo>
                  <a:cubicBezTo>
                    <a:pt x="484178" y="469857"/>
                    <a:pt x="307276" y="393903"/>
                    <a:pt x="116897" y="354946"/>
                  </a:cubicBezTo>
                  <a:lnTo>
                    <a:pt x="0" y="3371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350" dirty="0">
                <a:solidFill>
                  <a:schemeClr val="tx1"/>
                </a:solidFill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A7507C4-A741-44E9-A1E4-78F022A659B2}"/>
                </a:ext>
              </a:extLst>
            </p:cNvPr>
            <p:cNvSpPr/>
            <p:nvPr/>
          </p:nvSpPr>
          <p:spPr bwMode="gray">
            <a:xfrm>
              <a:off x="4957811" y="1641506"/>
              <a:ext cx="960389" cy="636372"/>
            </a:xfrm>
            <a:custGeom>
              <a:avLst/>
              <a:gdLst>
                <a:gd name="connsiteX0" fmla="*/ 960389 w 960389"/>
                <a:gd name="connsiteY0" fmla="*/ 0 h 636372"/>
                <a:gd name="connsiteX1" fmla="*/ 960389 w 960389"/>
                <a:gd name="connsiteY1" fmla="*/ 337105 h 636372"/>
                <a:gd name="connsiteX2" fmla="*/ 843494 w 960389"/>
                <a:gd name="connsiteY2" fmla="*/ 354946 h 636372"/>
                <a:gd name="connsiteX3" fmla="*/ 320628 w 960389"/>
                <a:gd name="connsiteY3" fmla="*/ 574969 h 636372"/>
                <a:gd name="connsiteX4" fmla="*/ 238514 w 960389"/>
                <a:gd name="connsiteY4" fmla="*/ 636372 h 636372"/>
                <a:gd name="connsiteX5" fmla="*/ 0 w 960389"/>
                <a:gd name="connsiteY5" fmla="*/ 397858 h 636372"/>
                <a:gd name="connsiteX6" fmla="*/ 133765 w 960389"/>
                <a:gd name="connsiteY6" fmla="*/ 297831 h 636372"/>
                <a:gd name="connsiteX7" fmla="*/ 954511 w 960389"/>
                <a:gd name="connsiteY7" fmla="*/ 297 h 636372"/>
                <a:gd name="connsiteX8" fmla="*/ 960389 w 960389"/>
                <a:gd name="connsiteY8" fmla="*/ 0 h 636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0389" h="636372">
                  <a:moveTo>
                    <a:pt x="960389" y="0"/>
                  </a:moveTo>
                  <a:lnTo>
                    <a:pt x="960389" y="337105"/>
                  </a:lnTo>
                  <a:lnTo>
                    <a:pt x="843494" y="354946"/>
                  </a:lnTo>
                  <a:cubicBezTo>
                    <a:pt x="653116" y="393903"/>
                    <a:pt x="476214" y="469857"/>
                    <a:pt x="320628" y="574969"/>
                  </a:cubicBezTo>
                  <a:lnTo>
                    <a:pt x="238514" y="636372"/>
                  </a:lnTo>
                  <a:lnTo>
                    <a:pt x="0" y="397858"/>
                  </a:lnTo>
                  <a:lnTo>
                    <a:pt x="133765" y="297831"/>
                  </a:lnTo>
                  <a:cubicBezTo>
                    <a:pt x="372697" y="136412"/>
                    <a:pt x="652550" y="30963"/>
                    <a:pt x="954511" y="297"/>
                  </a:cubicBezTo>
                  <a:lnTo>
                    <a:pt x="960389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350" dirty="0">
                <a:solidFill>
                  <a:schemeClr val="tx1"/>
                </a:solidFill>
              </a:endParaRPr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49A17E73-C655-41F9-B830-A4F501CCC337}"/>
                </a:ext>
              </a:extLst>
            </p:cNvPr>
            <p:cNvSpPr/>
            <p:nvPr/>
          </p:nvSpPr>
          <p:spPr bwMode="gray">
            <a:xfrm>
              <a:off x="7247124" y="2290811"/>
              <a:ext cx="636372" cy="960390"/>
            </a:xfrm>
            <a:custGeom>
              <a:avLst/>
              <a:gdLst>
                <a:gd name="connsiteX0" fmla="*/ 238514 w 636372"/>
                <a:gd name="connsiteY0" fmla="*/ 0 h 960390"/>
                <a:gd name="connsiteX1" fmla="*/ 338541 w 636372"/>
                <a:gd name="connsiteY1" fmla="*/ 133765 h 960390"/>
                <a:gd name="connsiteX2" fmla="*/ 636075 w 636372"/>
                <a:gd name="connsiteY2" fmla="*/ 954511 h 960390"/>
                <a:gd name="connsiteX3" fmla="*/ 636372 w 636372"/>
                <a:gd name="connsiteY3" fmla="*/ 960390 h 960390"/>
                <a:gd name="connsiteX4" fmla="*/ 299267 w 636372"/>
                <a:gd name="connsiteY4" fmla="*/ 960390 h 960390"/>
                <a:gd name="connsiteX5" fmla="*/ 281426 w 636372"/>
                <a:gd name="connsiteY5" fmla="*/ 843494 h 960390"/>
                <a:gd name="connsiteX6" fmla="*/ 61403 w 636372"/>
                <a:gd name="connsiteY6" fmla="*/ 320628 h 960390"/>
                <a:gd name="connsiteX7" fmla="*/ 0 w 636372"/>
                <a:gd name="connsiteY7" fmla="*/ 238514 h 960390"/>
                <a:gd name="connsiteX8" fmla="*/ 238514 w 636372"/>
                <a:gd name="connsiteY8" fmla="*/ 0 h 960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36372" h="960390">
                  <a:moveTo>
                    <a:pt x="238514" y="0"/>
                  </a:moveTo>
                  <a:lnTo>
                    <a:pt x="338541" y="133765"/>
                  </a:lnTo>
                  <a:cubicBezTo>
                    <a:pt x="499961" y="372697"/>
                    <a:pt x="605409" y="652550"/>
                    <a:pt x="636075" y="954511"/>
                  </a:cubicBezTo>
                  <a:lnTo>
                    <a:pt x="636372" y="960390"/>
                  </a:lnTo>
                  <a:lnTo>
                    <a:pt x="299267" y="960390"/>
                  </a:lnTo>
                  <a:lnTo>
                    <a:pt x="281426" y="843494"/>
                  </a:lnTo>
                  <a:cubicBezTo>
                    <a:pt x="242469" y="653116"/>
                    <a:pt x="166515" y="476214"/>
                    <a:pt x="61403" y="320628"/>
                  </a:cubicBezTo>
                  <a:lnTo>
                    <a:pt x="0" y="238514"/>
                  </a:lnTo>
                  <a:lnTo>
                    <a:pt x="238514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350" dirty="0">
                <a:solidFill>
                  <a:schemeClr val="tx1"/>
                </a:solidFill>
              </a:endParaRPr>
            </a:p>
          </p:txBody>
        </p:sp>
        <p:sp>
          <p:nvSpPr>
            <p:cNvPr id="21" name="Freeform 13">
              <a:extLst>
                <a:ext uri="{FF2B5EF4-FFF2-40B4-BE49-F238E27FC236}">
                  <a16:creationId xmlns:a16="http://schemas.microsoft.com/office/drawing/2014/main" id="{46438A4C-5F56-46F4-A63E-1E31D40A46AC}"/>
                </a:ext>
              </a:extLst>
            </p:cNvPr>
            <p:cNvSpPr/>
            <p:nvPr/>
          </p:nvSpPr>
          <p:spPr bwMode="gray">
            <a:xfrm>
              <a:off x="4308506" y="2290812"/>
              <a:ext cx="636372" cy="960389"/>
            </a:xfrm>
            <a:custGeom>
              <a:avLst/>
              <a:gdLst>
                <a:gd name="connsiteX0" fmla="*/ 397858 w 636372"/>
                <a:gd name="connsiteY0" fmla="*/ 0 h 960389"/>
                <a:gd name="connsiteX1" fmla="*/ 636372 w 636372"/>
                <a:gd name="connsiteY1" fmla="*/ 238514 h 960389"/>
                <a:gd name="connsiteX2" fmla="*/ 574969 w 636372"/>
                <a:gd name="connsiteY2" fmla="*/ 320627 h 960389"/>
                <a:gd name="connsiteX3" fmla="*/ 354946 w 636372"/>
                <a:gd name="connsiteY3" fmla="*/ 843493 h 960389"/>
                <a:gd name="connsiteX4" fmla="*/ 337105 w 636372"/>
                <a:gd name="connsiteY4" fmla="*/ 960389 h 960389"/>
                <a:gd name="connsiteX5" fmla="*/ 0 w 636372"/>
                <a:gd name="connsiteY5" fmla="*/ 960389 h 960389"/>
                <a:gd name="connsiteX6" fmla="*/ 297 w 636372"/>
                <a:gd name="connsiteY6" fmla="*/ 954510 h 960389"/>
                <a:gd name="connsiteX7" fmla="*/ 297831 w 636372"/>
                <a:gd name="connsiteY7" fmla="*/ 133764 h 960389"/>
                <a:gd name="connsiteX8" fmla="*/ 397858 w 636372"/>
                <a:gd name="connsiteY8" fmla="*/ 0 h 960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36372" h="960389">
                  <a:moveTo>
                    <a:pt x="397858" y="0"/>
                  </a:moveTo>
                  <a:lnTo>
                    <a:pt x="636372" y="238514"/>
                  </a:lnTo>
                  <a:lnTo>
                    <a:pt x="574969" y="320627"/>
                  </a:lnTo>
                  <a:cubicBezTo>
                    <a:pt x="469858" y="476213"/>
                    <a:pt x="393903" y="653115"/>
                    <a:pt x="354946" y="843493"/>
                  </a:cubicBezTo>
                  <a:lnTo>
                    <a:pt x="337105" y="960389"/>
                  </a:lnTo>
                  <a:lnTo>
                    <a:pt x="0" y="960389"/>
                  </a:lnTo>
                  <a:lnTo>
                    <a:pt x="297" y="954510"/>
                  </a:lnTo>
                  <a:cubicBezTo>
                    <a:pt x="30963" y="652549"/>
                    <a:pt x="136412" y="372696"/>
                    <a:pt x="297831" y="133764"/>
                  </a:cubicBezTo>
                  <a:lnTo>
                    <a:pt x="397858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350" dirty="0">
                <a:solidFill>
                  <a:schemeClr val="tx1"/>
                </a:solidFill>
              </a:endParaRPr>
            </a:p>
          </p:txBody>
        </p:sp>
        <p:sp>
          <p:nvSpPr>
            <p:cNvPr id="22" name="Freeform 14">
              <a:extLst>
                <a:ext uri="{FF2B5EF4-FFF2-40B4-BE49-F238E27FC236}">
                  <a16:creationId xmlns:a16="http://schemas.microsoft.com/office/drawing/2014/main" id="{69552269-C84F-4A52-BA95-AC5D81AFE5FE}"/>
                </a:ext>
              </a:extLst>
            </p:cNvPr>
            <p:cNvSpPr/>
            <p:nvPr/>
          </p:nvSpPr>
          <p:spPr bwMode="gray">
            <a:xfrm>
              <a:off x="4308506" y="3606801"/>
              <a:ext cx="636372" cy="960389"/>
            </a:xfrm>
            <a:custGeom>
              <a:avLst/>
              <a:gdLst>
                <a:gd name="connsiteX0" fmla="*/ 0 w 636372"/>
                <a:gd name="connsiteY0" fmla="*/ 0 h 960389"/>
                <a:gd name="connsiteX1" fmla="*/ 337105 w 636372"/>
                <a:gd name="connsiteY1" fmla="*/ 0 h 960389"/>
                <a:gd name="connsiteX2" fmla="*/ 354946 w 636372"/>
                <a:gd name="connsiteY2" fmla="*/ 116896 h 960389"/>
                <a:gd name="connsiteX3" fmla="*/ 574969 w 636372"/>
                <a:gd name="connsiteY3" fmla="*/ 639762 h 960389"/>
                <a:gd name="connsiteX4" fmla="*/ 636372 w 636372"/>
                <a:gd name="connsiteY4" fmla="*/ 721875 h 960389"/>
                <a:gd name="connsiteX5" fmla="*/ 397858 w 636372"/>
                <a:gd name="connsiteY5" fmla="*/ 960389 h 960389"/>
                <a:gd name="connsiteX6" fmla="*/ 297831 w 636372"/>
                <a:gd name="connsiteY6" fmla="*/ 826625 h 960389"/>
                <a:gd name="connsiteX7" fmla="*/ 297 w 636372"/>
                <a:gd name="connsiteY7" fmla="*/ 5879 h 960389"/>
                <a:gd name="connsiteX8" fmla="*/ 0 w 636372"/>
                <a:gd name="connsiteY8" fmla="*/ 0 h 960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36372" h="960389">
                  <a:moveTo>
                    <a:pt x="0" y="0"/>
                  </a:moveTo>
                  <a:lnTo>
                    <a:pt x="337105" y="0"/>
                  </a:lnTo>
                  <a:lnTo>
                    <a:pt x="354946" y="116896"/>
                  </a:lnTo>
                  <a:cubicBezTo>
                    <a:pt x="393903" y="307275"/>
                    <a:pt x="469858" y="484177"/>
                    <a:pt x="574969" y="639762"/>
                  </a:cubicBezTo>
                  <a:lnTo>
                    <a:pt x="636372" y="721875"/>
                  </a:lnTo>
                  <a:lnTo>
                    <a:pt x="397858" y="960389"/>
                  </a:lnTo>
                  <a:lnTo>
                    <a:pt x="297831" y="826625"/>
                  </a:lnTo>
                  <a:cubicBezTo>
                    <a:pt x="136412" y="587693"/>
                    <a:pt x="30963" y="307840"/>
                    <a:pt x="297" y="587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350" dirty="0">
                <a:solidFill>
                  <a:schemeClr val="tx1"/>
                </a:solidFill>
              </a:endParaRPr>
            </a:p>
          </p:txBody>
        </p:sp>
        <p:sp>
          <p:nvSpPr>
            <p:cNvPr id="23" name="Freeform 15">
              <a:extLst>
                <a:ext uri="{FF2B5EF4-FFF2-40B4-BE49-F238E27FC236}">
                  <a16:creationId xmlns:a16="http://schemas.microsoft.com/office/drawing/2014/main" id="{4FD91AFA-A7CA-4DBC-A2D3-48A3AF3513AC}"/>
                </a:ext>
              </a:extLst>
            </p:cNvPr>
            <p:cNvSpPr/>
            <p:nvPr/>
          </p:nvSpPr>
          <p:spPr bwMode="gray">
            <a:xfrm>
              <a:off x="7247124" y="3606801"/>
              <a:ext cx="636372" cy="960390"/>
            </a:xfrm>
            <a:custGeom>
              <a:avLst/>
              <a:gdLst>
                <a:gd name="connsiteX0" fmla="*/ 299267 w 636372"/>
                <a:gd name="connsiteY0" fmla="*/ 0 h 960390"/>
                <a:gd name="connsiteX1" fmla="*/ 636372 w 636372"/>
                <a:gd name="connsiteY1" fmla="*/ 0 h 960390"/>
                <a:gd name="connsiteX2" fmla="*/ 636075 w 636372"/>
                <a:gd name="connsiteY2" fmla="*/ 5879 h 960390"/>
                <a:gd name="connsiteX3" fmla="*/ 338541 w 636372"/>
                <a:gd name="connsiteY3" fmla="*/ 826625 h 960390"/>
                <a:gd name="connsiteX4" fmla="*/ 238514 w 636372"/>
                <a:gd name="connsiteY4" fmla="*/ 960390 h 960390"/>
                <a:gd name="connsiteX5" fmla="*/ 0 w 636372"/>
                <a:gd name="connsiteY5" fmla="*/ 721876 h 960390"/>
                <a:gd name="connsiteX6" fmla="*/ 61403 w 636372"/>
                <a:gd name="connsiteY6" fmla="*/ 639762 h 960390"/>
                <a:gd name="connsiteX7" fmla="*/ 281426 w 636372"/>
                <a:gd name="connsiteY7" fmla="*/ 116896 h 960390"/>
                <a:gd name="connsiteX8" fmla="*/ 299267 w 636372"/>
                <a:gd name="connsiteY8" fmla="*/ 0 h 960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36372" h="960390">
                  <a:moveTo>
                    <a:pt x="299267" y="0"/>
                  </a:moveTo>
                  <a:lnTo>
                    <a:pt x="636372" y="0"/>
                  </a:lnTo>
                  <a:lnTo>
                    <a:pt x="636075" y="5879"/>
                  </a:lnTo>
                  <a:cubicBezTo>
                    <a:pt x="605409" y="307840"/>
                    <a:pt x="499961" y="587693"/>
                    <a:pt x="338541" y="826625"/>
                  </a:cubicBezTo>
                  <a:lnTo>
                    <a:pt x="238514" y="960390"/>
                  </a:lnTo>
                  <a:lnTo>
                    <a:pt x="0" y="721876"/>
                  </a:lnTo>
                  <a:lnTo>
                    <a:pt x="61403" y="639762"/>
                  </a:lnTo>
                  <a:cubicBezTo>
                    <a:pt x="166515" y="484177"/>
                    <a:pt x="242469" y="307275"/>
                    <a:pt x="281426" y="116896"/>
                  </a:cubicBezTo>
                  <a:lnTo>
                    <a:pt x="299267" y="0"/>
                  </a:lnTo>
                  <a:close/>
                </a:path>
              </a:pathLst>
            </a:custGeom>
            <a:solidFill>
              <a:srgbClr val="BB00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350" dirty="0">
                <a:solidFill>
                  <a:schemeClr val="tx1"/>
                </a:solidFill>
              </a:endParaRPr>
            </a:p>
          </p:txBody>
        </p:sp>
        <p:sp>
          <p:nvSpPr>
            <p:cNvPr id="24" name="Freeform 16">
              <a:extLst>
                <a:ext uri="{FF2B5EF4-FFF2-40B4-BE49-F238E27FC236}">
                  <a16:creationId xmlns:a16="http://schemas.microsoft.com/office/drawing/2014/main" id="{A5BA36BF-CF7A-475F-BA2F-851C7AC071DF}"/>
                </a:ext>
              </a:extLst>
            </p:cNvPr>
            <p:cNvSpPr/>
            <p:nvPr/>
          </p:nvSpPr>
          <p:spPr bwMode="gray">
            <a:xfrm>
              <a:off x="4957811" y="4580124"/>
              <a:ext cx="960389" cy="636372"/>
            </a:xfrm>
            <a:custGeom>
              <a:avLst/>
              <a:gdLst>
                <a:gd name="connsiteX0" fmla="*/ 238514 w 960389"/>
                <a:gd name="connsiteY0" fmla="*/ 0 h 636372"/>
                <a:gd name="connsiteX1" fmla="*/ 320628 w 960389"/>
                <a:gd name="connsiteY1" fmla="*/ 61403 h 636372"/>
                <a:gd name="connsiteX2" fmla="*/ 843494 w 960389"/>
                <a:gd name="connsiteY2" fmla="*/ 281426 h 636372"/>
                <a:gd name="connsiteX3" fmla="*/ 960389 w 960389"/>
                <a:gd name="connsiteY3" fmla="*/ 299267 h 636372"/>
                <a:gd name="connsiteX4" fmla="*/ 960389 w 960389"/>
                <a:gd name="connsiteY4" fmla="*/ 636372 h 636372"/>
                <a:gd name="connsiteX5" fmla="*/ 954511 w 960389"/>
                <a:gd name="connsiteY5" fmla="*/ 636075 h 636372"/>
                <a:gd name="connsiteX6" fmla="*/ 133765 w 960389"/>
                <a:gd name="connsiteY6" fmla="*/ 338541 h 636372"/>
                <a:gd name="connsiteX7" fmla="*/ 0 w 960389"/>
                <a:gd name="connsiteY7" fmla="*/ 238514 h 636372"/>
                <a:gd name="connsiteX8" fmla="*/ 238514 w 960389"/>
                <a:gd name="connsiteY8" fmla="*/ 0 h 636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0389" h="636372">
                  <a:moveTo>
                    <a:pt x="238514" y="0"/>
                  </a:moveTo>
                  <a:lnTo>
                    <a:pt x="320628" y="61403"/>
                  </a:lnTo>
                  <a:cubicBezTo>
                    <a:pt x="476214" y="166515"/>
                    <a:pt x="653116" y="242469"/>
                    <a:pt x="843494" y="281426"/>
                  </a:cubicBezTo>
                  <a:lnTo>
                    <a:pt x="960389" y="299267"/>
                  </a:lnTo>
                  <a:lnTo>
                    <a:pt x="960389" y="636372"/>
                  </a:lnTo>
                  <a:lnTo>
                    <a:pt x="954511" y="636075"/>
                  </a:lnTo>
                  <a:cubicBezTo>
                    <a:pt x="652550" y="605409"/>
                    <a:pt x="372697" y="499961"/>
                    <a:pt x="133765" y="338541"/>
                  </a:cubicBezTo>
                  <a:lnTo>
                    <a:pt x="0" y="238514"/>
                  </a:lnTo>
                  <a:lnTo>
                    <a:pt x="238514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350" dirty="0">
                <a:solidFill>
                  <a:schemeClr val="tx1"/>
                </a:solidFill>
              </a:endParaRPr>
            </a:p>
          </p:txBody>
        </p:sp>
        <p:sp>
          <p:nvSpPr>
            <p:cNvPr id="25" name="Freeform 17">
              <a:extLst>
                <a:ext uri="{FF2B5EF4-FFF2-40B4-BE49-F238E27FC236}">
                  <a16:creationId xmlns:a16="http://schemas.microsoft.com/office/drawing/2014/main" id="{049CDFFF-36E4-40D0-97A1-06DBED950746}"/>
                </a:ext>
              </a:extLst>
            </p:cNvPr>
            <p:cNvSpPr/>
            <p:nvPr/>
          </p:nvSpPr>
          <p:spPr bwMode="gray">
            <a:xfrm>
              <a:off x="6273800" y="4580124"/>
              <a:ext cx="960390" cy="636372"/>
            </a:xfrm>
            <a:custGeom>
              <a:avLst/>
              <a:gdLst>
                <a:gd name="connsiteX0" fmla="*/ 721876 w 960390"/>
                <a:gd name="connsiteY0" fmla="*/ 0 h 636372"/>
                <a:gd name="connsiteX1" fmla="*/ 960390 w 960390"/>
                <a:gd name="connsiteY1" fmla="*/ 238514 h 636372"/>
                <a:gd name="connsiteX2" fmla="*/ 826626 w 960390"/>
                <a:gd name="connsiteY2" fmla="*/ 338541 h 636372"/>
                <a:gd name="connsiteX3" fmla="*/ 5880 w 960390"/>
                <a:gd name="connsiteY3" fmla="*/ 636075 h 636372"/>
                <a:gd name="connsiteX4" fmla="*/ 0 w 960390"/>
                <a:gd name="connsiteY4" fmla="*/ 636372 h 636372"/>
                <a:gd name="connsiteX5" fmla="*/ 0 w 960390"/>
                <a:gd name="connsiteY5" fmla="*/ 299267 h 636372"/>
                <a:gd name="connsiteX6" fmla="*/ 116897 w 960390"/>
                <a:gd name="connsiteY6" fmla="*/ 281426 h 636372"/>
                <a:gd name="connsiteX7" fmla="*/ 639763 w 960390"/>
                <a:gd name="connsiteY7" fmla="*/ 61403 h 636372"/>
                <a:gd name="connsiteX8" fmla="*/ 721876 w 960390"/>
                <a:gd name="connsiteY8" fmla="*/ 0 h 636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0390" h="636372">
                  <a:moveTo>
                    <a:pt x="721876" y="0"/>
                  </a:moveTo>
                  <a:lnTo>
                    <a:pt x="960390" y="238514"/>
                  </a:lnTo>
                  <a:lnTo>
                    <a:pt x="826626" y="338541"/>
                  </a:lnTo>
                  <a:cubicBezTo>
                    <a:pt x="587694" y="499961"/>
                    <a:pt x="307841" y="605409"/>
                    <a:pt x="5880" y="636075"/>
                  </a:cubicBezTo>
                  <a:lnTo>
                    <a:pt x="0" y="636372"/>
                  </a:lnTo>
                  <a:lnTo>
                    <a:pt x="0" y="299267"/>
                  </a:lnTo>
                  <a:lnTo>
                    <a:pt x="116897" y="281426"/>
                  </a:lnTo>
                  <a:cubicBezTo>
                    <a:pt x="307276" y="242469"/>
                    <a:pt x="484178" y="166515"/>
                    <a:pt x="639763" y="61403"/>
                  </a:cubicBezTo>
                  <a:lnTo>
                    <a:pt x="721876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35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6" name="Group 35">
            <a:extLst>
              <a:ext uri="{FF2B5EF4-FFF2-40B4-BE49-F238E27FC236}">
                <a16:creationId xmlns:a16="http://schemas.microsoft.com/office/drawing/2014/main" id="{F9443E37-B0B0-4E23-9A96-C584A3B5DC36}"/>
              </a:ext>
            </a:extLst>
          </p:cNvPr>
          <p:cNvGrpSpPr/>
          <p:nvPr/>
        </p:nvGrpSpPr>
        <p:grpSpPr bwMode="gray">
          <a:xfrm>
            <a:off x="6770757" y="2503872"/>
            <a:ext cx="1473972" cy="477279"/>
            <a:chOff x="6995676" y="2094088"/>
            <a:chExt cx="1965296" cy="636372"/>
          </a:xfrm>
        </p:grpSpPr>
        <p:cxnSp>
          <p:nvCxnSpPr>
            <p:cNvPr id="27" name="Straight Connector 28">
              <a:extLst>
                <a:ext uri="{FF2B5EF4-FFF2-40B4-BE49-F238E27FC236}">
                  <a16:creationId xmlns:a16="http://schemas.microsoft.com/office/drawing/2014/main" id="{75DE3337-208E-4454-B408-3719CA460041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626351" y="2094088"/>
              <a:ext cx="1334621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30">
              <a:extLst>
                <a:ext uri="{FF2B5EF4-FFF2-40B4-BE49-F238E27FC236}">
                  <a16:creationId xmlns:a16="http://schemas.microsoft.com/office/drawing/2014/main" id="{D876FCC7-E3DB-4E09-AF8D-A398A6BDF844}"/>
                </a:ext>
              </a:extLst>
            </p:cNvPr>
            <p:cNvCxnSpPr/>
            <p:nvPr/>
          </p:nvCxnSpPr>
          <p:spPr bwMode="gray">
            <a:xfrm flipV="1">
              <a:off x="6995676" y="2094088"/>
              <a:ext cx="636372" cy="636372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Group 36">
            <a:extLst>
              <a:ext uri="{FF2B5EF4-FFF2-40B4-BE49-F238E27FC236}">
                <a16:creationId xmlns:a16="http://schemas.microsoft.com/office/drawing/2014/main" id="{20D361A9-4373-4738-8A88-D72A59E4E6E5}"/>
              </a:ext>
            </a:extLst>
          </p:cNvPr>
          <p:cNvGrpSpPr/>
          <p:nvPr/>
        </p:nvGrpSpPr>
        <p:grpSpPr bwMode="gray">
          <a:xfrm flipV="1">
            <a:off x="6959343" y="4520422"/>
            <a:ext cx="1285386" cy="480060"/>
            <a:chOff x="6995676" y="2094088"/>
            <a:chExt cx="1713848" cy="636372"/>
          </a:xfrm>
        </p:grpSpPr>
        <p:cxnSp>
          <p:nvCxnSpPr>
            <p:cNvPr id="30" name="Straight Connector 37">
              <a:extLst>
                <a:ext uri="{FF2B5EF4-FFF2-40B4-BE49-F238E27FC236}">
                  <a16:creationId xmlns:a16="http://schemas.microsoft.com/office/drawing/2014/main" id="{A347ED78-5080-43B4-9171-4918E0BF1194}"/>
                </a:ext>
              </a:extLst>
            </p:cNvPr>
            <p:cNvCxnSpPr/>
            <p:nvPr/>
          </p:nvCxnSpPr>
          <p:spPr bwMode="gray">
            <a:xfrm flipV="1">
              <a:off x="7632048" y="2094088"/>
              <a:ext cx="1077476" cy="0"/>
            </a:xfrm>
            <a:prstGeom prst="line">
              <a:avLst/>
            </a:prstGeom>
            <a:ln w="19050">
              <a:solidFill>
                <a:srgbClr val="BB005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8">
              <a:extLst>
                <a:ext uri="{FF2B5EF4-FFF2-40B4-BE49-F238E27FC236}">
                  <a16:creationId xmlns:a16="http://schemas.microsoft.com/office/drawing/2014/main" id="{24E5E875-D0FD-49AC-B050-FD0582DA67DF}"/>
                </a:ext>
              </a:extLst>
            </p:cNvPr>
            <p:cNvCxnSpPr/>
            <p:nvPr/>
          </p:nvCxnSpPr>
          <p:spPr bwMode="gray">
            <a:xfrm flipV="1">
              <a:off x="6995676" y="2094088"/>
              <a:ext cx="636372" cy="636372"/>
            </a:xfrm>
            <a:prstGeom prst="line">
              <a:avLst/>
            </a:prstGeom>
            <a:ln w="19050">
              <a:solidFill>
                <a:srgbClr val="BB005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Group 39">
            <a:extLst>
              <a:ext uri="{FF2B5EF4-FFF2-40B4-BE49-F238E27FC236}">
                <a16:creationId xmlns:a16="http://schemas.microsoft.com/office/drawing/2014/main" id="{6467571E-D3FA-4C45-961E-E6F681C1BF2B}"/>
              </a:ext>
            </a:extLst>
          </p:cNvPr>
          <p:cNvGrpSpPr/>
          <p:nvPr/>
        </p:nvGrpSpPr>
        <p:grpSpPr bwMode="gray">
          <a:xfrm flipH="1">
            <a:off x="3935718" y="2687343"/>
            <a:ext cx="1296939" cy="480443"/>
            <a:chOff x="6993150" y="2094088"/>
            <a:chExt cx="1731672" cy="640591"/>
          </a:xfrm>
        </p:grpSpPr>
        <p:cxnSp>
          <p:nvCxnSpPr>
            <p:cNvPr id="33" name="Straight Connector 40">
              <a:extLst>
                <a:ext uri="{FF2B5EF4-FFF2-40B4-BE49-F238E27FC236}">
                  <a16:creationId xmlns:a16="http://schemas.microsoft.com/office/drawing/2014/main" id="{6C8FA532-5EF9-4FDD-AA74-B0E5A4BE66A0}"/>
                </a:ext>
              </a:extLst>
            </p:cNvPr>
            <p:cNvCxnSpPr/>
            <p:nvPr/>
          </p:nvCxnSpPr>
          <p:spPr bwMode="gray">
            <a:xfrm>
              <a:off x="7632047" y="2094088"/>
              <a:ext cx="1092775" cy="0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41">
              <a:extLst>
                <a:ext uri="{FF2B5EF4-FFF2-40B4-BE49-F238E27FC236}">
                  <a16:creationId xmlns:a16="http://schemas.microsoft.com/office/drawing/2014/main" id="{8B777674-C58D-4528-B71E-56BE49E08CD2}"/>
                </a:ext>
              </a:extLst>
            </p:cNvPr>
            <p:cNvCxnSpPr>
              <a:cxnSpLocks/>
              <a:stCxn id="21" idx="1"/>
            </p:cNvCxnSpPr>
            <p:nvPr/>
          </p:nvCxnSpPr>
          <p:spPr bwMode="gray">
            <a:xfrm flipV="1">
              <a:off x="6993150" y="2094089"/>
              <a:ext cx="642077" cy="640590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5" name="Group 42">
            <a:extLst>
              <a:ext uri="{FF2B5EF4-FFF2-40B4-BE49-F238E27FC236}">
                <a16:creationId xmlns:a16="http://schemas.microsoft.com/office/drawing/2014/main" id="{253B98F9-44F3-42D6-9441-7F0CF81C673B}"/>
              </a:ext>
            </a:extLst>
          </p:cNvPr>
          <p:cNvGrpSpPr/>
          <p:nvPr/>
        </p:nvGrpSpPr>
        <p:grpSpPr bwMode="gray">
          <a:xfrm flipH="1" flipV="1">
            <a:off x="3943354" y="4705054"/>
            <a:ext cx="1473707" cy="480060"/>
            <a:chOff x="6995676" y="2094088"/>
            <a:chExt cx="1967691" cy="636372"/>
          </a:xfrm>
        </p:grpSpPr>
        <p:cxnSp>
          <p:nvCxnSpPr>
            <p:cNvPr id="36" name="Straight Connector 43">
              <a:extLst>
                <a:ext uri="{FF2B5EF4-FFF2-40B4-BE49-F238E27FC236}">
                  <a16:creationId xmlns:a16="http://schemas.microsoft.com/office/drawing/2014/main" id="{E3FB3C96-FD87-4991-AC98-D21E808EDEB8}"/>
                </a:ext>
              </a:extLst>
            </p:cNvPr>
            <p:cNvCxnSpPr/>
            <p:nvPr/>
          </p:nvCxnSpPr>
          <p:spPr bwMode="gray">
            <a:xfrm flipV="1">
              <a:off x="7632046" y="2094088"/>
              <a:ext cx="1331321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44">
              <a:extLst>
                <a:ext uri="{FF2B5EF4-FFF2-40B4-BE49-F238E27FC236}">
                  <a16:creationId xmlns:a16="http://schemas.microsoft.com/office/drawing/2014/main" id="{68F0CF2E-3FE4-4B86-8A23-F40FBB99B703}"/>
                </a:ext>
              </a:extLst>
            </p:cNvPr>
            <p:cNvCxnSpPr/>
            <p:nvPr/>
          </p:nvCxnSpPr>
          <p:spPr bwMode="gray">
            <a:xfrm flipV="1">
              <a:off x="6995676" y="2094088"/>
              <a:ext cx="636372" cy="636372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8" name="Straight Connector 45">
            <a:extLst>
              <a:ext uri="{FF2B5EF4-FFF2-40B4-BE49-F238E27FC236}">
                <a16:creationId xmlns:a16="http://schemas.microsoft.com/office/drawing/2014/main" id="{320EF03C-919E-412D-9B89-02A0275BBE86}"/>
              </a:ext>
            </a:extLst>
          </p:cNvPr>
          <p:cNvCxnSpPr/>
          <p:nvPr/>
        </p:nvCxnSpPr>
        <p:spPr bwMode="gray">
          <a:xfrm>
            <a:off x="7183793" y="3711142"/>
            <a:ext cx="1064858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47">
            <a:extLst>
              <a:ext uri="{FF2B5EF4-FFF2-40B4-BE49-F238E27FC236}">
                <a16:creationId xmlns:a16="http://schemas.microsoft.com/office/drawing/2014/main" id="{A9D3163E-F4B0-480F-BC48-3B6FD97C2159}"/>
              </a:ext>
            </a:extLst>
          </p:cNvPr>
          <p:cNvCxnSpPr>
            <a:cxnSpLocks/>
          </p:cNvCxnSpPr>
          <p:nvPr/>
        </p:nvCxnSpPr>
        <p:spPr bwMode="gray">
          <a:xfrm flipV="1">
            <a:off x="5955865" y="2283633"/>
            <a:ext cx="0" cy="471473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49">
            <a:extLst>
              <a:ext uri="{FF2B5EF4-FFF2-40B4-BE49-F238E27FC236}">
                <a16:creationId xmlns:a16="http://schemas.microsoft.com/office/drawing/2014/main" id="{95ACE19C-D3E3-411C-9955-8AC36FD80AFA}"/>
              </a:ext>
            </a:extLst>
          </p:cNvPr>
          <p:cNvCxnSpPr/>
          <p:nvPr/>
        </p:nvCxnSpPr>
        <p:spPr bwMode="gray">
          <a:xfrm>
            <a:off x="3943350" y="3977842"/>
            <a:ext cx="1062990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57">
            <a:extLst>
              <a:ext uri="{FF2B5EF4-FFF2-40B4-BE49-F238E27FC236}">
                <a16:creationId xmlns:a16="http://schemas.microsoft.com/office/drawing/2014/main" id="{5C1741C1-E586-447D-873C-805765431DED}"/>
              </a:ext>
            </a:extLst>
          </p:cNvPr>
          <p:cNvCxnSpPr/>
          <p:nvPr/>
        </p:nvCxnSpPr>
        <p:spPr bwMode="gray">
          <a:xfrm>
            <a:off x="6229351" y="4932288"/>
            <a:ext cx="2" cy="46800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9C93EF51-0595-4DE1-ADCF-4D3CD68DE1C4}"/>
              </a:ext>
            </a:extLst>
          </p:cNvPr>
          <p:cNvSpPr txBox="1">
            <a:spLocks/>
          </p:cNvSpPr>
          <p:nvPr/>
        </p:nvSpPr>
        <p:spPr bwMode="gray">
          <a:xfrm>
            <a:off x="710119" y="2448416"/>
            <a:ext cx="3055630" cy="460511"/>
          </a:xfrm>
          <a:prstGeom prst="rect">
            <a:avLst/>
          </a:prstGeom>
        </p:spPr>
        <p:txBody>
          <a:bodyPr wrap="square" lIns="0" tIns="0" rIns="0" bIns="0" numCol="1" spcCol="360000" anchor="ctr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algn="r">
              <a:lnSpc>
                <a:spcPct val="110000"/>
              </a:lnSpc>
            </a:pPr>
            <a:r>
              <a:rPr lang="de-DE" dirty="0"/>
              <a:t>Headline 14 </a:t>
            </a:r>
            <a:r>
              <a:rPr lang="de-DE" dirty="0" err="1"/>
              <a:t>pt</a:t>
            </a:r>
            <a:endParaRPr lang="de-DE" dirty="0"/>
          </a:p>
          <a:p>
            <a:pPr lvl="1" algn="r">
              <a:lnSpc>
                <a:spcPct val="110000"/>
              </a:lnSpc>
            </a:pPr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AB96109B-EEAC-4A29-953B-04F818420D66}"/>
              </a:ext>
            </a:extLst>
          </p:cNvPr>
          <p:cNvSpPr txBox="1">
            <a:spLocks/>
          </p:cNvSpPr>
          <p:nvPr/>
        </p:nvSpPr>
        <p:spPr bwMode="gray">
          <a:xfrm>
            <a:off x="710119" y="3745639"/>
            <a:ext cx="3055630" cy="460511"/>
          </a:xfrm>
          <a:prstGeom prst="rect">
            <a:avLst/>
          </a:prstGeom>
        </p:spPr>
        <p:txBody>
          <a:bodyPr wrap="square" lIns="0" tIns="0" rIns="0" bIns="0" numCol="1" spcCol="360000" anchor="ctr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algn="r">
              <a:lnSpc>
                <a:spcPct val="110000"/>
              </a:lnSpc>
            </a:pPr>
            <a:r>
              <a:rPr lang="de-DE" dirty="0"/>
              <a:t>Headline 14 </a:t>
            </a:r>
            <a:r>
              <a:rPr lang="de-DE" dirty="0" err="1"/>
              <a:t>pt</a:t>
            </a:r>
            <a:endParaRPr lang="de-DE" dirty="0"/>
          </a:p>
          <a:p>
            <a:pPr lvl="1" algn="r">
              <a:lnSpc>
                <a:spcPct val="110000"/>
              </a:lnSpc>
            </a:pPr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45" name="Textplatzhalter 6">
            <a:extLst>
              <a:ext uri="{FF2B5EF4-FFF2-40B4-BE49-F238E27FC236}">
                <a16:creationId xmlns:a16="http://schemas.microsoft.com/office/drawing/2014/main" id="{53EA4683-06EE-4E13-96CE-FF89DB9BDEBD}"/>
              </a:ext>
            </a:extLst>
          </p:cNvPr>
          <p:cNvSpPr txBox="1">
            <a:spLocks/>
          </p:cNvSpPr>
          <p:nvPr/>
        </p:nvSpPr>
        <p:spPr bwMode="gray">
          <a:xfrm>
            <a:off x="710119" y="4961582"/>
            <a:ext cx="3055630" cy="460511"/>
          </a:xfrm>
          <a:prstGeom prst="rect">
            <a:avLst/>
          </a:prstGeom>
        </p:spPr>
        <p:txBody>
          <a:bodyPr wrap="square" lIns="0" tIns="0" rIns="0" bIns="0" numCol="1" spcCol="360000" anchor="ctr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algn="r">
              <a:lnSpc>
                <a:spcPct val="110000"/>
              </a:lnSpc>
            </a:pPr>
            <a:r>
              <a:rPr lang="de-DE" dirty="0"/>
              <a:t>Headline 14 </a:t>
            </a:r>
            <a:r>
              <a:rPr lang="de-DE" dirty="0" err="1"/>
              <a:t>pt</a:t>
            </a:r>
            <a:endParaRPr lang="de-DE" dirty="0"/>
          </a:p>
          <a:p>
            <a:pPr lvl="1" algn="r">
              <a:lnSpc>
                <a:spcPct val="110000"/>
              </a:lnSpc>
            </a:pPr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46" name="Textplatzhalter 6">
            <a:extLst>
              <a:ext uri="{FF2B5EF4-FFF2-40B4-BE49-F238E27FC236}">
                <a16:creationId xmlns:a16="http://schemas.microsoft.com/office/drawing/2014/main" id="{1798AEED-4007-4110-AE9B-9158C64BC93D}"/>
              </a:ext>
            </a:extLst>
          </p:cNvPr>
          <p:cNvSpPr txBox="1">
            <a:spLocks/>
          </p:cNvSpPr>
          <p:nvPr/>
        </p:nvSpPr>
        <p:spPr bwMode="gray">
          <a:xfrm>
            <a:off x="8399493" y="2269304"/>
            <a:ext cx="3055630" cy="460511"/>
          </a:xfrm>
          <a:prstGeom prst="rect">
            <a:avLst/>
          </a:prstGeom>
        </p:spPr>
        <p:txBody>
          <a:bodyPr wrap="square" lIns="0" tIns="0" rIns="0" bIns="0" numCol="1" spcCol="360000" anchor="ctr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lnSpc>
                <a:spcPct val="110000"/>
              </a:lnSpc>
            </a:pPr>
            <a:r>
              <a:rPr lang="de-DE" dirty="0"/>
              <a:t>Headline 14 </a:t>
            </a:r>
            <a:r>
              <a:rPr lang="de-DE" dirty="0" err="1"/>
              <a:t>pt</a:t>
            </a:r>
            <a:endParaRPr lang="de-DE" dirty="0"/>
          </a:p>
          <a:p>
            <a:pPr lvl="1">
              <a:lnSpc>
                <a:spcPct val="110000"/>
              </a:lnSpc>
            </a:pPr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27C1B82D-9C74-417B-ADFE-E4E1A35173A4}"/>
              </a:ext>
            </a:extLst>
          </p:cNvPr>
          <p:cNvSpPr txBox="1">
            <a:spLocks/>
          </p:cNvSpPr>
          <p:nvPr/>
        </p:nvSpPr>
        <p:spPr bwMode="gray">
          <a:xfrm>
            <a:off x="8399493" y="3485273"/>
            <a:ext cx="3055630" cy="460511"/>
          </a:xfrm>
          <a:prstGeom prst="rect">
            <a:avLst/>
          </a:prstGeom>
        </p:spPr>
        <p:txBody>
          <a:bodyPr wrap="square" lIns="0" tIns="0" rIns="0" bIns="0" numCol="1" spcCol="360000" anchor="ctr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lnSpc>
                <a:spcPct val="110000"/>
              </a:lnSpc>
            </a:pPr>
            <a:r>
              <a:rPr lang="de-DE" dirty="0"/>
              <a:t>Headline 14 </a:t>
            </a:r>
            <a:r>
              <a:rPr lang="de-DE" dirty="0" err="1"/>
              <a:t>pt</a:t>
            </a:r>
            <a:endParaRPr lang="de-DE" dirty="0"/>
          </a:p>
          <a:p>
            <a:pPr lvl="1">
              <a:lnSpc>
                <a:spcPct val="110000"/>
              </a:lnSpc>
            </a:pPr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48" name="Textplatzhalter 6">
            <a:extLst>
              <a:ext uri="{FF2B5EF4-FFF2-40B4-BE49-F238E27FC236}">
                <a16:creationId xmlns:a16="http://schemas.microsoft.com/office/drawing/2014/main" id="{08630192-6263-4EA8-BE1A-86C85EFB77A7}"/>
              </a:ext>
            </a:extLst>
          </p:cNvPr>
          <p:cNvSpPr txBox="1">
            <a:spLocks/>
          </p:cNvSpPr>
          <p:nvPr/>
        </p:nvSpPr>
        <p:spPr bwMode="gray">
          <a:xfrm>
            <a:off x="8399493" y="4782470"/>
            <a:ext cx="3055630" cy="460511"/>
          </a:xfrm>
          <a:prstGeom prst="rect">
            <a:avLst/>
          </a:prstGeom>
        </p:spPr>
        <p:txBody>
          <a:bodyPr wrap="square" lIns="0" tIns="0" rIns="0" bIns="0" numCol="1" spcCol="360000" anchor="ctr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lnSpc>
                <a:spcPct val="110000"/>
              </a:lnSpc>
            </a:pPr>
            <a:r>
              <a:rPr lang="de-DE" dirty="0"/>
              <a:t>Headline 14 </a:t>
            </a:r>
            <a:r>
              <a:rPr lang="de-DE" dirty="0" err="1"/>
              <a:t>pt</a:t>
            </a:r>
            <a:endParaRPr lang="de-DE" dirty="0"/>
          </a:p>
          <a:p>
            <a:pPr lvl="1">
              <a:lnSpc>
                <a:spcPct val="110000"/>
              </a:lnSpc>
            </a:pPr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49" name="Textplatzhalter 6">
            <a:extLst>
              <a:ext uri="{FF2B5EF4-FFF2-40B4-BE49-F238E27FC236}">
                <a16:creationId xmlns:a16="http://schemas.microsoft.com/office/drawing/2014/main" id="{EFD2DD72-D640-4172-BBA7-45F72BD8D901}"/>
              </a:ext>
            </a:extLst>
          </p:cNvPr>
          <p:cNvSpPr txBox="1">
            <a:spLocks/>
          </p:cNvSpPr>
          <p:nvPr/>
        </p:nvSpPr>
        <p:spPr bwMode="gray">
          <a:xfrm>
            <a:off x="4904992" y="1771040"/>
            <a:ext cx="3055630" cy="460511"/>
          </a:xfrm>
          <a:prstGeom prst="rect">
            <a:avLst/>
          </a:prstGeom>
        </p:spPr>
        <p:txBody>
          <a:bodyPr wrap="square" lIns="0" tIns="0" rIns="0" bIns="0" numCol="1" spcCol="360000" anchor="ctr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lnSpc>
                <a:spcPct val="110000"/>
              </a:lnSpc>
            </a:pPr>
            <a:r>
              <a:rPr lang="de-DE" dirty="0"/>
              <a:t>Headline 14 </a:t>
            </a:r>
            <a:r>
              <a:rPr lang="de-DE" dirty="0" err="1"/>
              <a:t>pt</a:t>
            </a:r>
            <a:endParaRPr lang="de-DE" dirty="0"/>
          </a:p>
          <a:p>
            <a:pPr lvl="1">
              <a:lnSpc>
                <a:spcPct val="110000"/>
              </a:lnSpc>
            </a:pPr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50" name="Textplatzhalter 6">
            <a:extLst>
              <a:ext uri="{FF2B5EF4-FFF2-40B4-BE49-F238E27FC236}">
                <a16:creationId xmlns:a16="http://schemas.microsoft.com/office/drawing/2014/main" id="{66277405-58EB-478F-A81A-6885046D70F1}"/>
              </a:ext>
            </a:extLst>
          </p:cNvPr>
          <p:cNvSpPr txBox="1">
            <a:spLocks/>
          </p:cNvSpPr>
          <p:nvPr/>
        </p:nvSpPr>
        <p:spPr bwMode="gray">
          <a:xfrm>
            <a:off x="4904992" y="5423815"/>
            <a:ext cx="3055630" cy="460511"/>
          </a:xfrm>
          <a:prstGeom prst="rect">
            <a:avLst/>
          </a:prstGeom>
        </p:spPr>
        <p:txBody>
          <a:bodyPr wrap="square" lIns="0" tIns="0" rIns="0" bIns="0" numCol="1" spcCol="360000" anchor="ctr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lnSpc>
                <a:spcPct val="110000"/>
              </a:lnSpc>
            </a:pPr>
            <a:r>
              <a:rPr lang="de-DE" dirty="0"/>
              <a:t>Headline 14 </a:t>
            </a:r>
            <a:r>
              <a:rPr lang="de-DE" dirty="0" err="1"/>
              <a:t>pt</a:t>
            </a:r>
            <a:endParaRPr lang="de-DE" dirty="0"/>
          </a:p>
          <a:p>
            <a:pPr lvl="1">
              <a:lnSpc>
                <a:spcPct val="110000"/>
              </a:lnSpc>
            </a:pPr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AC284ED-3318-4179-9348-91B50ED2172F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C29429CA-99CD-428F-A18C-267CD4C874BC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CEA526C1-B104-4EBE-B042-1D04E71586B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CA7409B-CAD7-4311-978A-A746269AE94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4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03366442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1F7A04A-71D1-45B6-B350-5FA7CAE858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479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E1F7A04A-71D1-45B6-B350-5FA7CAE858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Table Placeholder 8">
            <a:extLst>
              <a:ext uri="{FF2B5EF4-FFF2-40B4-BE49-F238E27FC236}">
                <a16:creationId xmlns:a16="http://schemas.microsoft.com/office/drawing/2014/main" id="{D19F222F-E9C9-44F9-997A-3249CD6B2FF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05621590"/>
              </p:ext>
            </p:extLst>
          </p:nvPr>
        </p:nvGraphicFramePr>
        <p:xfrm>
          <a:off x="482031" y="1700213"/>
          <a:ext cx="11224194" cy="37540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410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52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652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6526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6526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6526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6526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6526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76526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76526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765262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765262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765262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450056"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de-DE" sz="1400" b="0">
                          <a:latin typeface="+mj-lt"/>
                        </a:rPr>
                        <a:t>Jan</a:t>
                      </a:r>
                      <a:endParaRPr lang="de-DE" sz="1400" b="0" dirty="0">
                        <a:latin typeface="+mj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de-DE" sz="1400" b="0">
                          <a:latin typeface="+mj-lt"/>
                        </a:rPr>
                        <a:t>Feb</a:t>
                      </a:r>
                      <a:endParaRPr lang="de-DE" sz="1400" b="0" dirty="0">
                        <a:latin typeface="+mj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de-DE" sz="1400" b="0">
                          <a:latin typeface="+mj-lt"/>
                        </a:rPr>
                        <a:t>Mär</a:t>
                      </a:r>
                      <a:endParaRPr lang="de-DE" sz="1400" b="0" dirty="0">
                        <a:latin typeface="+mj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de-DE" sz="1400" b="0">
                          <a:latin typeface="+mj-lt"/>
                        </a:rPr>
                        <a:t>Apr</a:t>
                      </a:r>
                      <a:endParaRPr lang="de-DE" sz="1400" b="0" dirty="0">
                        <a:latin typeface="+mj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de-DE" sz="1400" b="0">
                          <a:latin typeface="+mj-lt"/>
                        </a:rPr>
                        <a:t>Mai</a:t>
                      </a:r>
                      <a:endParaRPr lang="de-DE" sz="1400" b="0" dirty="0">
                        <a:latin typeface="+mj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de-DE" sz="1400" b="0">
                          <a:latin typeface="+mj-lt"/>
                        </a:rPr>
                        <a:t>Jun</a:t>
                      </a:r>
                      <a:endParaRPr lang="de-DE" sz="1400" b="0" dirty="0">
                        <a:latin typeface="+mj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de-DE" sz="1400" b="0">
                          <a:latin typeface="+mj-lt"/>
                        </a:rPr>
                        <a:t>Jul</a:t>
                      </a:r>
                      <a:endParaRPr lang="de-DE" sz="1400" b="0" dirty="0">
                        <a:latin typeface="+mj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de-DE" sz="1400" b="0">
                          <a:latin typeface="+mj-lt"/>
                        </a:rPr>
                        <a:t>Aug</a:t>
                      </a:r>
                      <a:endParaRPr lang="de-DE" sz="1400" b="0" dirty="0">
                        <a:latin typeface="+mj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de-DE" sz="1400" b="0">
                          <a:latin typeface="+mj-lt"/>
                        </a:rPr>
                        <a:t>Sep</a:t>
                      </a:r>
                      <a:endParaRPr lang="de-DE" sz="1400" b="0" dirty="0">
                        <a:latin typeface="+mj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de-DE" sz="1400" b="0">
                          <a:latin typeface="+mj-lt"/>
                        </a:rPr>
                        <a:t>Okt</a:t>
                      </a:r>
                      <a:endParaRPr lang="de-DE" sz="1400" b="0" dirty="0">
                        <a:latin typeface="+mj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de-DE" sz="1400" b="0">
                          <a:latin typeface="+mj-lt"/>
                        </a:rPr>
                        <a:t>Nov</a:t>
                      </a:r>
                      <a:endParaRPr lang="de-DE" sz="1400" b="0" dirty="0">
                        <a:latin typeface="+mj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de-DE" sz="1400" b="0">
                          <a:latin typeface="+mj-lt"/>
                        </a:rPr>
                        <a:t>Dez</a:t>
                      </a:r>
                      <a:endParaRPr lang="de-DE" sz="1400" b="0" dirty="0">
                        <a:latin typeface="+mj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0398"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r>
                        <a:rPr lang="de-DE" sz="1400" dirty="0" err="1">
                          <a:solidFill>
                            <a:schemeClr val="bg1"/>
                          </a:solidFill>
                          <a:latin typeface="+mn-lt"/>
                        </a:rPr>
                        <a:t>Lorem</a:t>
                      </a:r>
                      <a:r>
                        <a:rPr lang="de-DE" sz="140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de-DE" sz="1400" dirty="0" err="1">
                          <a:solidFill>
                            <a:schemeClr val="bg1"/>
                          </a:solidFill>
                          <a:latin typeface="+mn-lt"/>
                        </a:rPr>
                        <a:t>ipsum</a:t>
                      </a:r>
                      <a:endParaRPr lang="de-DE" sz="14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0398">
                <a:tc>
                  <a:txBody>
                    <a:bodyPr/>
                    <a:lstStyle/>
                    <a:p>
                      <a:pPr marL="180000" marR="0" lvl="3" indent="-18000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400" kern="1200" noProof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lang="de-DE" sz="14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noProof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0398">
                <a:tc>
                  <a:txBody>
                    <a:bodyPr/>
                    <a:lstStyle/>
                    <a:p>
                      <a:pPr marL="180000" marR="0" lvl="3" indent="-18000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400" kern="1200" noProof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lang="de-DE" sz="14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noProof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30398">
                <a:tc>
                  <a:txBody>
                    <a:bodyPr/>
                    <a:lstStyle/>
                    <a:p>
                      <a:pPr marL="180000" marR="0" lvl="3" indent="-18000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400" kern="1200" noProof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lang="de-DE" sz="14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noProof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6651629"/>
                  </a:ext>
                </a:extLst>
              </a:tr>
              <a:tr h="330398">
                <a:tc>
                  <a:txBody>
                    <a:bodyPr/>
                    <a:lstStyle/>
                    <a:p>
                      <a:pPr marL="180000" marR="0" lvl="3" indent="-18000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400" kern="1200" noProof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lang="de-DE" sz="14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noProof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629023"/>
                  </a:ext>
                </a:extLst>
              </a:tr>
              <a:tr h="330398"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0398"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r>
                        <a:rPr lang="de-DE" sz="1400" dirty="0" err="1">
                          <a:solidFill>
                            <a:schemeClr val="bg1"/>
                          </a:solidFill>
                          <a:latin typeface="+mn-lt"/>
                        </a:rPr>
                        <a:t>Lorem</a:t>
                      </a:r>
                      <a:r>
                        <a:rPr lang="de-DE" sz="140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de-DE" sz="1400" dirty="0" err="1">
                          <a:solidFill>
                            <a:schemeClr val="bg1"/>
                          </a:solidFill>
                          <a:latin typeface="+mn-lt"/>
                        </a:rPr>
                        <a:t>ipsum</a:t>
                      </a:r>
                      <a:endParaRPr lang="de-DE" sz="14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30398">
                <a:tc>
                  <a:txBody>
                    <a:bodyPr/>
                    <a:lstStyle/>
                    <a:p>
                      <a:pPr marL="180000" marR="0" lvl="3" indent="-18000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400" kern="1200" noProof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lang="de-DE" sz="14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noProof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30398">
                <a:tc>
                  <a:txBody>
                    <a:bodyPr/>
                    <a:lstStyle/>
                    <a:p>
                      <a:pPr marL="180000" marR="0" lvl="3" indent="-18000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400" kern="1200" noProof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lang="de-DE" sz="14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noProof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E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30398">
                <a:tc>
                  <a:txBody>
                    <a:bodyPr/>
                    <a:lstStyle/>
                    <a:p>
                      <a:pPr marL="180000" marR="0" lvl="3" indent="-18000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400" kern="1200" noProof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lang="de-DE" sz="14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noProof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4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B520085-9194-4F0F-ABC7-184C219C556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</p:spPr>
        <p:txBody>
          <a:bodyPr vert="horz"/>
          <a:lstStyle/>
          <a:p>
            <a:pPr lvl="0"/>
            <a:r>
              <a:rPr lang="de-DE"/>
              <a:t>Headline, Frutiger LT Com Bd, 24 pt, Zeitplan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DB85E33-E0AA-45F2-9727-5A780B4F0EB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2000" dirty="0" err="1">
                <a:latin typeface="+mn-lt"/>
              </a:rPr>
              <a:t>Subline</a:t>
            </a:r>
            <a:r>
              <a:rPr lang="de-DE" sz="2000" dirty="0">
                <a:latin typeface="+mn-lt"/>
              </a:rPr>
              <a:t>, Frutiger LT </a:t>
            </a:r>
            <a:r>
              <a:rPr lang="de-DE" sz="2000" err="1">
                <a:latin typeface="+mn-lt"/>
              </a:rPr>
              <a:t>Com</a:t>
            </a:r>
            <a:r>
              <a:rPr lang="de-DE" sz="2000">
                <a:latin typeface="+mn-lt"/>
              </a:rPr>
              <a:t> Lt</a:t>
            </a:r>
            <a:r>
              <a:rPr lang="de-DE" sz="2000" dirty="0">
                <a:latin typeface="+mn-lt"/>
              </a:rPr>
              <a:t>, 20 </a:t>
            </a:r>
            <a:r>
              <a:rPr lang="de-DE" sz="2000" dirty="0" err="1">
                <a:latin typeface="+mn-lt"/>
              </a:rPr>
              <a:t>pt</a:t>
            </a:r>
            <a:endParaRPr lang="en-US" dirty="0"/>
          </a:p>
        </p:txBody>
      </p:sp>
      <p:sp>
        <p:nvSpPr>
          <p:cNvPr id="15" name="Rectangle 9">
            <a:extLst>
              <a:ext uri="{FF2B5EF4-FFF2-40B4-BE49-F238E27FC236}">
                <a16:creationId xmlns:a16="http://schemas.microsoft.com/office/drawing/2014/main" id="{6031226D-B692-4C88-B3EC-CB9592D1286E}"/>
              </a:ext>
            </a:extLst>
          </p:cNvPr>
          <p:cNvSpPr/>
          <p:nvPr/>
        </p:nvSpPr>
        <p:spPr bwMode="gray">
          <a:xfrm>
            <a:off x="2532761" y="2513332"/>
            <a:ext cx="2593181" cy="26483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/>
              <a:t>Lorem</a:t>
            </a:r>
            <a:r>
              <a:rPr lang="de-DE" sz="1200" dirty="0"/>
              <a:t> </a:t>
            </a:r>
            <a:r>
              <a:rPr lang="de-DE" sz="1200" dirty="0" err="1"/>
              <a:t>ipsum</a:t>
            </a:r>
            <a:endParaRPr lang="de-DE" sz="1200" dirty="0"/>
          </a:p>
        </p:txBody>
      </p:sp>
      <p:sp>
        <p:nvSpPr>
          <p:cNvPr id="16" name="Rectangle 10">
            <a:extLst>
              <a:ext uri="{FF2B5EF4-FFF2-40B4-BE49-F238E27FC236}">
                <a16:creationId xmlns:a16="http://schemas.microsoft.com/office/drawing/2014/main" id="{6D7A3093-FB4C-4B58-A894-F06C5B430130}"/>
              </a:ext>
            </a:extLst>
          </p:cNvPr>
          <p:cNvSpPr/>
          <p:nvPr/>
        </p:nvSpPr>
        <p:spPr bwMode="gray">
          <a:xfrm>
            <a:off x="2532761" y="2843049"/>
            <a:ext cx="1721645" cy="26483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/>
              <a:t>Lorem</a:t>
            </a:r>
            <a:r>
              <a:rPr lang="de-DE" sz="1200" dirty="0"/>
              <a:t> </a:t>
            </a:r>
            <a:r>
              <a:rPr lang="de-DE" sz="1200" dirty="0" err="1"/>
              <a:t>ipsum</a:t>
            </a:r>
            <a:endParaRPr lang="de-DE" sz="1200" dirty="0"/>
          </a:p>
        </p:txBody>
      </p:sp>
      <p:sp>
        <p:nvSpPr>
          <p:cNvPr id="17" name="Rectangle 11">
            <a:extLst>
              <a:ext uri="{FF2B5EF4-FFF2-40B4-BE49-F238E27FC236}">
                <a16:creationId xmlns:a16="http://schemas.microsoft.com/office/drawing/2014/main" id="{F9A37A37-986D-4C3F-85D5-E9EA1756ABA1}"/>
              </a:ext>
            </a:extLst>
          </p:cNvPr>
          <p:cNvSpPr/>
          <p:nvPr/>
        </p:nvSpPr>
        <p:spPr bwMode="gray">
          <a:xfrm>
            <a:off x="8442405" y="5156084"/>
            <a:ext cx="2686050" cy="26483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/>
              <a:t>Lorem</a:t>
            </a:r>
            <a:r>
              <a:rPr lang="de-DE" sz="1200" dirty="0"/>
              <a:t> </a:t>
            </a:r>
            <a:r>
              <a:rPr lang="de-DE" sz="1200" dirty="0" err="1"/>
              <a:t>ipsum</a:t>
            </a:r>
            <a:endParaRPr lang="de-DE" sz="1200" dirty="0"/>
          </a:p>
        </p:txBody>
      </p:sp>
      <p:sp>
        <p:nvSpPr>
          <p:cNvPr id="18" name="Rectangle 12">
            <a:extLst>
              <a:ext uri="{FF2B5EF4-FFF2-40B4-BE49-F238E27FC236}">
                <a16:creationId xmlns:a16="http://schemas.microsoft.com/office/drawing/2014/main" id="{6DC5A51B-0766-4727-B51F-ECBC00AC319C}"/>
              </a:ext>
            </a:extLst>
          </p:cNvPr>
          <p:cNvSpPr/>
          <p:nvPr/>
        </p:nvSpPr>
        <p:spPr bwMode="gray">
          <a:xfrm>
            <a:off x="7928057" y="4827926"/>
            <a:ext cx="2221706" cy="26483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/>
              <a:t>Lorem</a:t>
            </a:r>
            <a:r>
              <a:rPr lang="de-DE" sz="1200" dirty="0"/>
              <a:t> </a:t>
            </a:r>
            <a:r>
              <a:rPr lang="de-DE" sz="1200" dirty="0" err="1"/>
              <a:t>ipsum</a:t>
            </a:r>
            <a:endParaRPr lang="de-DE" sz="1200" dirty="0"/>
          </a:p>
        </p:txBody>
      </p:sp>
      <p:sp>
        <p:nvSpPr>
          <p:cNvPr id="19" name="Rectangle 13">
            <a:extLst>
              <a:ext uri="{FF2B5EF4-FFF2-40B4-BE49-F238E27FC236}">
                <a16:creationId xmlns:a16="http://schemas.microsoft.com/office/drawing/2014/main" id="{4B4354A3-46F2-4BED-8DA5-2D7E7F847F0C}"/>
              </a:ext>
            </a:extLst>
          </p:cNvPr>
          <p:cNvSpPr/>
          <p:nvPr/>
        </p:nvSpPr>
        <p:spPr bwMode="gray">
          <a:xfrm>
            <a:off x="7578011" y="4499767"/>
            <a:ext cx="864395" cy="26483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/>
              <a:t>Lorem</a:t>
            </a:r>
            <a:endParaRPr lang="de-DE" sz="1200" dirty="0"/>
          </a:p>
        </p:txBody>
      </p:sp>
      <p:sp>
        <p:nvSpPr>
          <p:cNvPr id="20" name="Rectangle 14">
            <a:extLst>
              <a:ext uri="{FF2B5EF4-FFF2-40B4-BE49-F238E27FC236}">
                <a16:creationId xmlns:a16="http://schemas.microsoft.com/office/drawing/2014/main" id="{FD1B6BCC-BCC9-46DC-88D8-B2F45748EE2B}"/>
              </a:ext>
            </a:extLst>
          </p:cNvPr>
          <p:cNvSpPr/>
          <p:nvPr/>
        </p:nvSpPr>
        <p:spPr bwMode="gray">
          <a:xfrm>
            <a:off x="4899975" y="3502484"/>
            <a:ext cx="3550445" cy="26483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/>
              <a:t>Lorem</a:t>
            </a:r>
            <a:r>
              <a:rPr lang="de-DE" sz="1200" dirty="0"/>
              <a:t> </a:t>
            </a:r>
            <a:r>
              <a:rPr lang="de-DE" sz="1200" dirty="0" err="1"/>
              <a:t>ipsum</a:t>
            </a:r>
            <a:endParaRPr lang="de-DE" sz="1200" dirty="0"/>
          </a:p>
        </p:txBody>
      </p:sp>
      <p:sp>
        <p:nvSpPr>
          <p:cNvPr id="21" name="Rectangle 16">
            <a:extLst>
              <a:ext uri="{FF2B5EF4-FFF2-40B4-BE49-F238E27FC236}">
                <a16:creationId xmlns:a16="http://schemas.microsoft.com/office/drawing/2014/main" id="{C1889342-D2B8-44BE-AE1E-CB9E54204AAD}"/>
              </a:ext>
            </a:extLst>
          </p:cNvPr>
          <p:cNvSpPr/>
          <p:nvPr/>
        </p:nvSpPr>
        <p:spPr bwMode="gray">
          <a:xfrm>
            <a:off x="3347147" y="3172766"/>
            <a:ext cx="1778793" cy="26483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/>
              <a:t>Lorem</a:t>
            </a:r>
            <a:r>
              <a:rPr lang="de-DE" sz="1200" dirty="0"/>
              <a:t> </a:t>
            </a:r>
            <a:r>
              <a:rPr lang="de-DE" sz="1200" dirty="0" err="1"/>
              <a:t>ipsum</a:t>
            </a:r>
            <a:endParaRPr lang="de-DE" sz="1200" dirty="0"/>
          </a:p>
        </p:txBody>
      </p:sp>
      <p:sp>
        <p:nvSpPr>
          <p:cNvPr id="22" name="Isosceles Triangle 18">
            <a:extLst>
              <a:ext uri="{FF2B5EF4-FFF2-40B4-BE49-F238E27FC236}">
                <a16:creationId xmlns:a16="http://schemas.microsoft.com/office/drawing/2014/main" id="{9386AD15-4FD3-40C3-AE38-358A4B313618}"/>
              </a:ext>
            </a:extLst>
          </p:cNvPr>
          <p:cNvSpPr/>
          <p:nvPr/>
        </p:nvSpPr>
        <p:spPr bwMode="gray">
          <a:xfrm rot="10800000">
            <a:off x="5024342" y="2900798"/>
            <a:ext cx="203200" cy="205740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 dirty="0"/>
          </a:p>
        </p:txBody>
      </p:sp>
      <p:cxnSp>
        <p:nvCxnSpPr>
          <p:cNvPr id="23" name="Straight Connector 20">
            <a:extLst>
              <a:ext uri="{FF2B5EF4-FFF2-40B4-BE49-F238E27FC236}">
                <a16:creationId xmlns:a16="http://schemas.microsoft.com/office/drawing/2014/main" id="{9A4B3988-AB6C-4AD4-B812-01E8D1A1DE57}"/>
              </a:ext>
            </a:extLst>
          </p:cNvPr>
          <p:cNvCxnSpPr>
            <a:cxnSpLocks/>
            <a:stCxn id="22" idx="0"/>
            <a:endCxn id="24" idx="0"/>
          </p:cNvCxnSpPr>
          <p:nvPr/>
        </p:nvCxnSpPr>
        <p:spPr bwMode="gray">
          <a:xfrm>
            <a:off x="5125942" y="3106538"/>
            <a:ext cx="11333" cy="2437499"/>
          </a:xfrm>
          <a:prstGeom prst="line">
            <a:avLst/>
          </a:prstGeom>
          <a:ln w="28575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4">
            <a:extLst>
              <a:ext uri="{FF2B5EF4-FFF2-40B4-BE49-F238E27FC236}">
                <a16:creationId xmlns:a16="http://schemas.microsoft.com/office/drawing/2014/main" id="{25E3C41A-C3FA-428A-A57E-20666C6FB533}"/>
              </a:ext>
            </a:extLst>
          </p:cNvPr>
          <p:cNvSpPr txBox="1"/>
          <p:nvPr/>
        </p:nvSpPr>
        <p:spPr bwMode="gray">
          <a:xfrm>
            <a:off x="4323540" y="5544037"/>
            <a:ext cx="1627469" cy="2154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DE" sz="1400" dirty="0">
                <a:solidFill>
                  <a:schemeClr val="tx2"/>
                </a:solidFill>
              </a:rPr>
              <a:t>Milestone 1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F412DC8-7A04-4B49-8B0D-7E8330DB81D7}"/>
              </a:ext>
            </a:extLst>
          </p:cNvPr>
          <p:cNvSpPr txBox="1"/>
          <p:nvPr/>
        </p:nvSpPr>
        <p:spPr bwMode="gray">
          <a:xfrm>
            <a:off x="7636685" y="5531248"/>
            <a:ext cx="1627469" cy="2154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DE" sz="1400" dirty="0">
                <a:solidFill>
                  <a:schemeClr val="tx2"/>
                </a:solidFill>
              </a:rPr>
              <a:t>Milestone 2 </a:t>
            </a:r>
          </a:p>
        </p:txBody>
      </p:sp>
      <p:sp>
        <p:nvSpPr>
          <p:cNvPr id="26" name="Isosceles Triangle 18">
            <a:extLst>
              <a:ext uri="{FF2B5EF4-FFF2-40B4-BE49-F238E27FC236}">
                <a16:creationId xmlns:a16="http://schemas.microsoft.com/office/drawing/2014/main" id="{285129CF-733B-4ECD-BCFA-E051570E5611}"/>
              </a:ext>
            </a:extLst>
          </p:cNvPr>
          <p:cNvSpPr/>
          <p:nvPr/>
        </p:nvSpPr>
        <p:spPr bwMode="gray">
          <a:xfrm rot="10800000">
            <a:off x="8348819" y="3223750"/>
            <a:ext cx="203200" cy="205740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 dirty="0"/>
          </a:p>
        </p:txBody>
      </p:sp>
      <p:cxnSp>
        <p:nvCxnSpPr>
          <p:cNvPr id="27" name="Straight Connector 20">
            <a:extLst>
              <a:ext uri="{FF2B5EF4-FFF2-40B4-BE49-F238E27FC236}">
                <a16:creationId xmlns:a16="http://schemas.microsoft.com/office/drawing/2014/main" id="{780D8D24-625B-4778-BA8B-C354C26A78BA}"/>
              </a:ext>
            </a:extLst>
          </p:cNvPr>
          <p:cNvCxnSpPr>
            <a:cxnSpLocks/>
            <a:stCxn id="26" idx="0"/>
          </p:cNvCxnSpPr>
          <p:nvPr/>
        </p:nvCxnSpPr>
        <p:spPr bwMode="gray">
          <a:xfrm>
            <a:off x="8450419" y="3429490"/>
            <a:ext cx="1" cy="2101758"/>
          </a:xfrm>
          <a:prstGeom prst="line">
            <a:avLst/>
          </a:prstGeom>
          <a:ln w="28575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09713CD-486A-4DA3-BC5B-E032B30F0572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F4574DFC-B83D-4C3D-8AF3-8CEF04E6E96C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C32665A-0EE7-4585-9E12-79333F9B41D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BFCFEE7-C89C-4A59-9A24-7F04AEB03F9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4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425336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0236B22-5E95-4626-B5FE-14AE01FBE0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7827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9BFC377-9395-4951-B27B-2F42BC6B61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ini-Styleguide</a:t>
            </a:r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F7FA08E2-7E94-4026-ADBE-6774C9E2CCD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Layouts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11F9847-0689-4B8F-ADFF-F1E1AFADD5D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9425" y="1781175"/>
            <a:ext cx="4020930" cy="4203700"/>
          </a:xfrm>
          <a:prstGeom prst="rect">
            <a:avLst/>
          </a:prstGeom>
        </p:spPr>
      </p:pic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4DC4397-7D29-42CB-BA3F-FA5AE5A8B1E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83A4F20F-C986-4775-BF1B-CEE96876DE7F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659ADBF0-8FD5-4E98-9E9B-7CB81A07D68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4E06D31-C9A4-4B4A-BA40-E25A549FAB5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5001290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1F7A04A-71D1-45B6-B350-5FA7CAE858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0329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E1F7A04A-71D1-45B6-B350-5FA7CAE858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B520085-9194-4F0F-ABC7-184C219C55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/>
              <a:t>Headline, Frutiger LT Com Bd, 24 pt, Kreislauf</a:t>
            </a:r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C0D5FFB5-23B1-486F-A39E-3AC39391FC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29AF39B-9E57-47D4-9119-79DF020E0A2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3857146"/>
          </a:xfrm>
        </p:spPr>
        <p:txBody>
          <a:bodyPr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Copy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14 </a:t>
            </a:r>
            <a:r>
              <a:rPr lang="de-DE" dirty="0" err="1"/>
              <a:t>p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alusi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.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caiusticus</a:t>
            </a:r>
            <a:r>
              <a:rPr lang="de-DE" dirty="0"/>
              <a:t> </a:t>
            </a:r>
            <a:r>
              <a:rPr lang="de-DE" dirty="0" err="1"/>
              <a:t>aurum</a:t>
            </a:r>
            <a:r>
              <a:rPr lang="de-DE" dirty="0"/>
              <a:t> </a:t>
            </a:r>
            <a:r>
              <a:rPr lang="de-DE" dirty="0" err="1"/>
              <a:t>eum</a:t>
            </a:r>
            <a:r>
              <a:rPr lang="de-DE" dirty="0"/>
              <a:t> </a:t>
            </a:r>
            <a:r>
              <a:rPr lang="de-DE" dirty="0" err="1"/>
              <a:t>explindus</a:t>
            </a:r>
            <a:r>
              <a:rPr lang="de-DE" dirty="0"/>
              <a:t>. Status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. </a:t>
            </a:r>
            <a:r>
              <a:rPr lang="de-DE" dirty="0" err="1"/>
              <a:t>Let</a:t>
            </a:r>
            <a:r>
              <a:rPr lang="de-DE" dirty="0"/>
              <a:t>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. 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4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  <a:p>
            <a:pPr lvl="4"/>
            <a:r>
              <a:rPr lang="de-DE" dirty="0"/>
              <a:t>Level 2</a:t>
            </a:r>
          </a:p>
          <a:p>
            <a:pPr lvl="5"/>
            <a:r>
              <a:rPr lang="de-DE" dirty="0"/>
              <a:t>Level 3</a:t>
            </a:r>
          </a:p>
          <a:p>
            <a:pPr lvl="3"/>
            <a:r>
              <a:rPr lang="de-DE" dirty="0"/>
              <a:t>Level 1</a:t>
            </a:r>
          </a:p>
          <a:p>
            <a:endParaRPr lang="en-US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59B5E3-4AC0-4FDD-93F3-E61839A3A520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D3641708-2745-4A5F-99FF-DF6E30BB4BAB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3B72F878-DF86-4E60-85C5-EAC9B7FA9E2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graphicFrame>
        <p:nvGraphicFramePr>
          <p:cNvPr id="10" name="Diagram 23">
            <a:extLst>
              <a:ext uri="{FF2B5EF4-FFF2-40B4-BE49-F238E27FC236}">
                <a16:creationId xmlns:a16="http://schemas.microsoft.com/office/drawing/2014/main" id="{F8D98DD6-D162-4724-B8F6-82EF4DB8A0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8387721"/>
              </p:ext>
            </p:extLst>
          </p:nvPr>
        </p:nvGraphicFramePr>
        <p:xfrm>
          <a:off x="6267664" y="1682283"/>
          <a:ext cx="5444910" cy="43343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C860AF4-B0BA-4D72-AE10-234888BE11C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5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6610995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1F7A04A-71D1-45B6-B350-5FA7CAE858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3116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E1F7A04A-71D1-45B6-B350-5FA7CAE858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4CCB1535-BAD2-491F-A704-0AA64B839BBF}"/>
              </a:ext>
            </a:extLst>
          </p:cNvPr>
          <p:cNvSpPr txBox="1">
            <a:spLocks/>
          </p:cNvSpPr>
          <p:nvPr/>
        </p:nvSpPr>
        <p:spPr bwMode="gray">
          <a:xfrm>
            <a:off x="479424" y="1700213"/>
            <a:ext cx="11233149" cy="4284662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B520085-9194-4F0F-ABC7-184C219C556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</p:spPr>
        <p:txBody>
          <a:bodyPr vert="horz"/>
          <a:lstStyle/>
          <a:p>
            <a:pPr lvl="0"/>
            <a:r>
              <a:rPr lang="de-DE"/>
              <a:t>Headline, Frutiger LT Com Bd, 24 pt, Organigramm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5E80C9E0-2B3D-4866-A7D1-A3E61D4DDCB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2000" dirty="0" err="1">
                <a:latin typeface="+mn-lt"/>
              </a:rPr>
              <a:t>Subline</a:t>
            </a:r>
            <a:r>
              <a:rPr lang="de-DE" sz="2000" dirty="0">
                <a:latin typeface="+mn-lt"/>
              </a:rPr>
              <a:t>, Frutiger LT </a:t>
            </a:r>
            <a:r>
              <a:rPr lang="de-DE" sz="2000" err="1">
                <a:latin typeface="+mn-lt"/>
              </a:rPr>
              <a:t>Com</a:t>
            </a:r>
            <a:r>
              <a:rPr lang="de-DE" sz="2000">
                <a:latin typeface="+mn-lt"/>
              </a:rPr>
              <a:t> Lt</a:t>
            </a:r>
            <a:r>
              <a:rPr lang="de-DE" sz="2000" dirty="0">
                <a:latin typeface="+mn-lt"/>
              </a:rPr>
              <a:t>, 20 </a:t>
            </a:r>
            <a:r>
              <a:rPr lang="de-DE" sz="2000" dirty="0" err="1">
                <a:latin typeface="+mn-lt"/>
              </a:rPr>
              <a:t>pt</a:t>
            </a:r>
            <a:endParaRPr lang="en-US" dirty="0"/>
          </a:p>
        </p:txBody>
      </p:sp>
      <p:graphicFrame>
        <p:nvGraphicFramePr>
          <p:cNvPr id="15" name="Diagram 4">
            <a:extLst>
              <a:ext uri="{FF2B5EF4-FFF2-40B4-BE49-F238E27FC236}">
                <a16:creationId xmlns:a16="http://schemas.microsoft.com/office/drawing/2014/main" id="{2A3A526B-D9A1-403E-BE94-79135FEFBF4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39134440"/>
              </p:ext>
            </p:extLst>
          </p:nvPr>
        </p:nvGraphicFramePr>
        <p:xfrm>
          <a:off x="1977437" y="1700213"/>
          <a:ext cx="8237125" cy="42859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440C528-FD3F-4408-A19F-5A20DC3D0393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32163906-0853-4D53-B218-F5C1D5994839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F60809F5-6A4F-4C7B-BF3D-6EF82B47B2B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5750143-BA6C-4C44-8BF8-3E4BE06242C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5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92374018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1F7A04A-71D1-45B6-B350-5FA7CAE858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5285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E1F7A04A-71D1-45B6-B350-5FA7CAE858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B520085-9194-4F0F-ABC7-184C219C556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</p:spPr>
        <p:txBody>
          <a:bodyPr vert="horz"/>
          <a:lstStyle/>
          <a:p>
            <a:pPr lvl="0"/>
            <a:r>
              <a:rPr lang="de-DE"/>
              <a:t>Headline, Frutiger LT Com Bd, 24 pt, Horizontales Organigramm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56B64AD-4D47-4947-9B22-7D8F0AB3261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2000" dirty="0" err="1">
                <a:latin typeface="+mn-lt"/>
              </a:rPr>
              <a:t>Subline</a:t>
            </a:r>
            <a:r>
              <a:rPr lang="de-DE" sz="2000" dirty="0">
                <a:latin typeface="+mn-lt"/>
              </a:rPr>
              <a:t>, Frutiger LT </a:t>
            </a:r>
            <a:r>
              <a:rPr lang="de-DE" sz="2000" err="1">
                <a:latin typeface="+mn-lt"/>
              </a:rPr>
              <a:t>Com</a:t>
            </a:r>
            <a:r>
              <a:rPr lang="de-DE" sz="2000">
                <a:latin typeface="+mn-lt"/>
              </a:rPr>
              <a:t> Lt</a:t>
            </a:r>
            <a:r>
              <a:rPr lang="de-DE" sz="2000" dirty="0">
                <a:latin typeface="+mn-lt"/>
              </a:rPr>
              <a:t>, 20 </a:t>
            </a:r>
            <a:r>
              <a:rPr lang="de-DE" sz="2000" dirty="0" err="1">
                <a:latin typeface="+mn-lt"/>
              </a:rPr>
              <a:t>pt</a:t>
            </a:r>
            <a:endParaRPr lang="en-US" dirty="0"/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97CD673C-DFB1-416D-9B57-4FF807832D32}"/>
              </a:ext>
            </a:extLst>
          </p:cNvPr>
          <p:cNvSpPr txBox="1">
            <a:spLocks/>
          </p:cNvSpPr>
          <p:nvPr/>
        </p:nvSpPr>
        <p:spPr bwMode="gray">
          <a:xfrm>
            <a:off x="479424" y="1700213"/>
            <a:ext cx="11233149" cy="4284662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>
              <a:solidFill>
                <a:schemeClr val="accent2"/>
              </a:solidFill>
            </a:endParaRPr>
          </a:p>
        </p:txBody>
      </p:sp>
      <p:graphicFrame>
        <p:nvGraphicFramePr>
          <p:cNvPr id="15" name="Diagram 4">
            <a:extLst>
              <a:ext uri="{FF2B5EF4-FFF2-40B4-BE49-F238E27FC236}">
                <a16:creationId xmlns:a16="http://schemas.microsoft.com/office/drawing/2014/main" id="{B919F797-3AD1-4A8F-85AA-E4D6A65BA4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21581319"/>
              </p:ext>
            </p:extLst>
          </p:nvPr>
        </p:nvGraphicFramePr>
        <p:xfrm>
          <a:off x="1526087" y="1878761"/>
          <a:ext cx="8427810" cy="392756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F78F174-8828-4B63-8FDB-12D2839BE4E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8167F365-9B9F-415D-96E9-9A50F6FA7CFF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259D0D3-5E1F-4023-BAB8-2390C4A208D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09BD9A5-81F9-412F-B505-24B0D16868A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5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985287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1F7A04A-71D1-45B6-B350-5FA7CAE858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890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E1F7A04A-71D1-45B6-B350-5FA7CAE858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B520085-9194-4F0F-ABC7-184C219C556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</p:spPr>
        <p:txBody>
          <a:bodyPr vert="horz"/>
          <a:lstStyle/>
          <a:p>
            <a:pPr lvl="0"/>
            <a:r>
              <a:rPr lang="de-DE"/>
              <a:t>Headline, Frutiger LT Com Bd, 24 pt, Prozess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21097FC-3560-4CD8-BE45-94DBE3A62DD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2000" dirty="0" err="1">
                <a:latin typeface="+mn-lt"/>
              </a:rPr>
              <a:t>Subline</a:t>
            </a:r>
            <a:r>
              <a:rPr lang="de-DE" sz="2000" dirty="0">
                <a:latin typeface="+mn-lt"/>
              </a:rPr>
              <a:t>, Frutiger LT </a:t>
            </a:r>
            <a:r>
              <a:rPr lang="de-DE" sz="2000" err="1">
                <a:latin typeface="+mn-lt"/>
              </a:rPr>
              <a:t>Com</a:t>
            </a:r>
            <a:r>
              <a:rPr lang="de-DE" sz="2000">
                <a:latin typeface="+mn-lt"/>
              </a:rPr>
              <a:t> Lt</a:t>
            </a:r>
            <a:r>
              <a:rPr lang="de-DE" sz="2000" dirty="0">
                <a:latin typeface="+mn-lt"/>
              </a:rPr>
              <a:t>, 20 </a:t>
            </a:r>
            <a:r>
              <a:rPr lang="de-DE" sz="2000" dirty="0" err="1">
                <a:latin typeface="+mn-lt"/>
              </a:rPr>
              <a:t>pt</a:t>
            </a:r>
            <a:endParaRPr lang="en-US" dirty="0"/>
          </a:p>
        </p:txBody>
      </p:sp>
      <p:graphicFrame>
        <p:nvGraphicFramePr>
          <p:cNvPr id="14" name="Diagram 5">
            <a:extLst>
              <a:ext uri="{FF2B5EF4-FFF2-40B4-BE49-F238E27FC236}">
                <a16:creationId xmlns:a16="http://schemas.microsoft.com/office/drawing/2014/main" id="{FB8A6064-277B-4FC9-99FD-FE2FF232E67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43845985"/>
              </p:ext>
            </p:extLst>
          </p:nvPr>
        </p:nvGraphicFramePr>
        <p:xfrm>
          <a:off x="447675" y="1628800"/>
          <a:ext cx="11264900" cy="420261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3CE1F57-7E6A-4591-8F3D-1DAD21E1F973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E777A1E6-C53A-40ED-8205-4C1AD9AAF4D7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3D6A1E90-4247-4352-92FA-FEBDC3468E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5290587-3FE5-4236-B147-2B5BE27618C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5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9000360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1F7A04A-71D1-45B6-B350-5FA7CAE858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1079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E1F7A04A-71D1-45B6-B350-5FA7CAE858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B520085-9194-4F0F-ABC7-184C219C556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</p:spPr>
        <p:txBody>
          <a:bodyPr vert="horz"/>
          <a:lstStyle/>
          <a:p>
            <a:pPr lvl="0"/>
            <a:r>
              <a:rPr lang="de-DE"/>
              <a:t>Headline, Frutiger LT Com Bd, 24 pt, Prozess</a:t>
            </a:r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E7E0DD61-FEE4-47F6-8DDF-BB526F824BC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2000" dirty="0" err="1">
                <a:latin typeface="+mn-lt"/>
              </a:rPr>
              <a:t>Subline</a:t>
            </a:r>
            <a:r>
              <a:rPr lang="de-DE" sz="2000" dirty="0">
                <a:latin typeface="+mn-lt"/>
              </a:rPr>
              <a:t>, Frutiger LT </a:t>
            </a:r>
            <a:r>
              <a:rPr lang="de-DE" sz="2000" err="1">
                <a:latin typeface="+mn-lt"/>
              </a:rPr>
              <a:t>Com</a:t>
            </a:r>
            <a:r>
              <a:rPr lang="de-DE" sz="2000">
                <a:latin typeface="+mn-lt"/>
              </a:rPr>
              <a:t> Lt</a:t>
            </a:r>
            <a:r>
              <a:rPr lang="de-DE" sz="2000" dirty="0">
                <a:latin typeface="+mn-lt"/>
              </a:rPr>
              <a:t>, 20 </a:t>
            </a:r>
            <a:r>
              <a:rPr lang="de-DE" sz="2000" dirty="0" err="1">
                <a:latin typeface="+mn-lt"/>
              </a:rPr>
              <a:t>pt</a:t>
            </a:r>
            <a:endParaRPr lang="en-US" dirty="0"/>
          </a:p>
        </p:txBody>
      </p:sp>
      <p:graphicFrame>
        <p:nvGraphicFramePr>
          <p:cNvPr id="14" name="Diagram 5">
            <a:extLst>
              <a:ext uri="{FF2B5EF4-FFF2-40B4-BE49-F238E27FC236}">
                <a16:creationId xmlns:a16="http://schemas.microsoft.com/office/drawing/2014/main" id="{F9C11F42-A3E3-4566-9EA6-175E5B962C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24371106"/>
              </p:ext>
            </p:extLst>
          </p:nvPr>
        </p:nvGraphicFramePr>
        <p:xfrm>
          <a:off x="485775" y="1718885"/>
          <a:ext cx="11220450" cy="42659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8807EB0-7C9D-4873-926A-573FF6921543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78DA7AFA-E6A7-48D4-AB8D-9B7D57A66A84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736FBDC2-A235-444B-83EB-1A5854FB655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8489542-A22D-49C8-BF10-9D8AC22C0D1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5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76251773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1F7A04A-71D1-45B6-B350-5FA7CAE858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562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E1F7A04A-71D1-45B6-B350-5FA7CAE858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B520085-9194-4F0F-ABC7-184C219C556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</p:spPr>
        <p:txBody>
          <a:bodyPr vert="horz"/>
          <a:lstStyle/>
          <a:p>
            <a:pPr lvl="0"/>
            <a:r>
              <a:rPr lang="de-DE"/>
              <a:t>Headline, Frutiger LT Com Bd, 24 pt, Infografik </a:t>
            </a:r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587CEC08-4AE7-43B5-8017-894D9E86CF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2000" dirty="0" err="1">
                <a:latin typeface="+mn-lt"/>
              </a:rPr>
              <a:t>Subline</a:t>
            </a:r>
            <a:r>
              <a:rPr lang="de-DE" sz="2000" dirty="0">
                <a:latin typeface="+mn-lt"/>
              </a:rPr>
              <a:t>, Frutiger LT </a:t>
            </a:r>
            <a:r>
              <a:rPr lang="de-DE" sz="2000" err="1">
                <a:latin typeface="+mn-lt"/>
              </a:rPr>
              <a:t>Com</a:t>
            </a:r>
            <a:r>
              <a:rPr lang="de-DE" sz="2000">
                <a:latin typeface="+mn-lt"/>
              </a:rPr>
              <a:t> Lt</a:t>
            </a:r>
            <a:r>
              <a:rPr lang="de-DE" sz="2000" dirty="0">
                <a:latin typeface="+mn-lt"/>
              </a:rPr>
              <a:t>, 20 </a:t>
            </a:r>
            <a:r>
              <a:rPr lang="de-DE" sz="2000" dirty="0" err="1">
                <a:latin typeface="+mn-lt"/>
              </a:rPr>
              <a:t>pt</a:t>
            </a:r>
            <a:endParaRPr lang="en-US" dirty="0"/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47C6B3AA-A71E-4781-BC2C-B955DB41221F}"/>
              </a:ext>
            </a:extLst>
          </p:cNvPr>
          <p:cNvSpPr txBox="1">
            <a:spLocks/>
          </p:cNvSpPr>
          <p:nvPr/>
        </p:nvSpPr>
        <p:spPr bwMode="gray">
          <a:xfrm>
            <a:off x="479424" y="1700213"/>
            <a:ext cx="11233149" cy="4284662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76418599-FBDA-4D1E-9B1C-668F3B5030B6}"/>
              </a:ext>
            </a:extLst>
          </p:cNvPr>
          <p:cNvSpPr txBox="1">
            <a:spLocks/>
          </p:cNvSpPr>
          <p:nvPr/>
        </p:nvSpPr>
        <p:spPr bwMode="gray">
          <a:xfrm>
            <a:off x="5910395" y="1960815"/>
            <a:ext cx="2603310" cy="460511"/>
          </a:xfrm>
          <a:prstGeom prst="rect">
            <a:avLst/>
          </a:prstGeom>
        </p:spPr>
        <p:txBody>
          <a:bodyPr wrap="square" lIns="0" tIns="0" rIns="0" bIns="0" numCol="1" spcCol="360000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lnSpc>
                <a:spcPct val="110000"/>
              </a:lnSpc>
            </a:pPr>
            <a:r>
              <a:rPr lang="de-DE" dirty="0"/>
              <a:t>Headline 14 </a:t>
            </a:r>
            <a:r>
              <a:rPr lang="de-DE" dirty="0" err="1"/>
              <a:t>pt</a:t>
            </a:r>
            <a:endParaRPr lang="de-DE" dirty="0"/>
          </a:p>
          <a:p>
            <a:pPr lvl="1">
              <a:lnSpc>
                <a:spcPct val="110000"/>
              </a:lnSpc>
            </a:pP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endParaRPr lang="de-DE" dirty="0"/>
          </a:p>
        </p:txBody>
      </p:sp>
      <p:sp>
        <p:nvSpPr>
          <p:cNvPr id="16" name="Right Arrow 2">
            <a:extLst>
              <a:ext uri="{FF2B5EF4-FFF2-40B4-BE49-F238E27FC236}">
                <a16:creationId xmlns:a16="http://schemas.microsoft.com/office/drawing/2014/main" id="{06D01DC1-9DB4-487E-939B-5F189B97BEFA}"/>
              </a:ext>
            </a:extLst>
          </p:cNvPr>
          <p:cNvSpPr/>
          <p:nvPr/>
        </p:nvSpPr>
        <p:spPr bwMode="gray">
          <a:xfrm>
            <a:off x="1044408" y="3113966"/>
            <a:ext cx="2017945" cy="1331230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altLang="ko-KR" sz="2700" dirty="0"/>
          </a:p>
        </p:txBody>
      </p:sp>
      <p:sp>
        <p:nvSpPr>
          <p:cNvPr id="17" name="Right Arrow 3">
            <a:extLst>
              <a:ext uri="{FF2B5EF4-FFF2-40B4-BE49-F238E27FC236}">
                <a16:creationId xmlns:a16="http://schemas.microsoft.com/office/drawing/2014/main" id="{A25D5E33-ED76-461D-89D1-A4A8FC9AC825}"/>
              </a:ext>
            </a:extLst>
          </p:cNvPr>
          <p:cNvSpPr/>
          <p:nvPr/>
        </p:nvSpPr>
        <p:spPr bwMode="gray">
          <a:xfrm>
            <a:off x="6984639" y="3113966"/>
            <a:ext cx="2017945" cy="1331230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altLang="ko-KR" sz="2700" dirty="0"/>
          </a:p>
        </p:txBody>
      </p:sp>
      <p:sp>
        <p:nvSpPr>
          <p:cNvPr id="18" name="Right Arrow 4">
            <a:extLst>
              <a:ext uri="{FF2B5EF4-FFF2-40B4-BE49-F238E27FC236}">
                <a16:creationId xmlns:a16="http://schemas.microsoft.com/office/drawing/2014/main" id="{5B2D8C46-BAFD-4F39-AAD9-FD901DC77B51}"/>
              </a:ext>
            </a:extLst>
          </p:cNvPr>
          <p:cNvSpPr/>
          <p:nvPr/>
        </p:nvSpPr>
        <p:spPr bwMode="gray">
          <a:xfrm>
            <a:off x="9164405" y="3113966"/>
            <a:ext cx="2017945" cy="1331230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altLang="ko-KR" sz="2700" dirty="0"/>
          </a:p>
        </p:txBody>
      </p:sp>
      <p:sp>
        <p:nvSpPr>
          <p:cNvPr id="19" name="TextBox 6">
            <a:extLst>
              <a:ext uri="{FF2B5EF4-FFF2-40B4-BE49-F238E27FC236}">
                <a16:creationId xmlns:a16="http://schemas.microsoft.com/office/drawing/2014/main" id="{815D7422-D9A4-4D40-A984-4EC3D1893AA5}"/>
              </a:ext>
            </a:extLst>
          </p:cNvPr>
          <p:cNvSpPr txBox="1"/>
          <p:nvPr/>
        </p:nvSpPr>
        <p:spPr bwMode="gray">
          <a:xfrm>
            <a:off x="1144780" y="3582315"/>
            <a:ext cx="1303491" cy="3945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10000"/>
              </a:lnSpc>
            </a:pPr>
            <a:r>
              <a:rPr lang="de-DE" altLang="ko-KR" sz="1200" dirty="0">
                <a:solidFill>
                  <a:schemeClr val="bg1"/>
                </a:solidFill>
                <a:latin typeface="Frutiger LT Com 65 Bold" panose="020B0803030504020204" pitchFamily="34" charset="0"/>
                <a:cs typeface="Arial" pitchFamily="34" charset="0"/>
              </a:rPr>
              <a:t>PowerPoint </a:t>
            </a:r>
          </a:p>
          <a:p>
            <a:pPr>
              <a:lnSpc>
                <a:spcPct val="110000"/>
              </a:lnSpc>
            </a:pPr>
            <a:r>
              <a:rPr lang="de-DE" altLang="ko-KR" sz="1200" dirty="0" err="1">
                <a:solidFill>
                  <a:schemeClr val="bg1"/>
                </a:solidFill>
                <a:latin typeface="Frutiger LT Com 65 Bold" panose="020B0803030504020204" pitchFamily="34" charset="0"/>
                <a:cs typeface="Arial" pitchFamily="34" charset="0"/>
              </a:rPr>
              <a:t>Presentation</a:t>
            </a:r>
            <a:r>
              <a:rPr lang="de-DE" altLang="ko-KR" sz="1200" dirty="0">
                <a:solidFill>
                  <a:schemeClr val="bg1"/>
                </a:solidFill>
                <a:latin typeface="Frutiger LT Com 65 Bold" panose="020B0803030504020204" pitchFamily="34" charset="0"/>
                <a:cs typeface="Arial" pitchFamily="34" charset="0"/>
              </a:rPr>
              <a:t> </a:t>
            </a:r>
          </a:p>
        </p:txBody>
      </p:sp>
      <p:sp>
        <p:nvSpPr>
          <p:cNvPr id="20" name="TextBox 7">
            <a:extLst>
              <a:ext uri="{FF2B5EF4-FFF2-40B4-BE49-F238E27FC236}">
                <a16:creationId xmlns:a16="http://schemas.microsoft.com/office/drawing/2014/main" id="{7ED1612C-9E06-4223-A931-828E51E67FAA}"/>
              </a:ext>
            </a:extLst>
          </p:cNvPr>
          <p:cNvSpPr txBox="1"/>
          <p:nvPr/>
        </p:nvSpPr>
        <p:spPr bwMode="gray">
          <a:xfrm>
            <a:off x="7212050" y="3582315"/>
            <a:ext cx="1102581" cy="3945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10000"/>
              </a:lnSpc>
            </a:pPr>
            <a:r>
              <a:rPr lang="de-DE" altLang="ko-KR" sz="1200" dirty="0">
                <a:solidFill>
                  <a:schemeClr val="bg1"/>
                </a:solidFill>
                <a:latin typeface="Frutiger LT Com 65 Bold" panose="020B0803030504020204" pitchFamily="34" charset="0"/>
                <a:cs typeface="Arial" pitchFamily="34" charset="0"/>
              </a:rPr>
              <a:t>PowerPoint </a:t>
            </a:r>
          </a:p>
          <a:p>
            <a:pPr>
              <a:lnSpc>
                <a:spcPct val="110000"/>
              </a:lnSpc>
            </a:pPr>
            <a:r>
              <a:rPr lang="de-DE" altLang="ko-KR" sz="1200" dirty="0" err="1">
                <a:solidFill>
                  <a:schemeClr val="bg1"/>
                </a:solidFill>
                <a:latin typeface="Frutiger LT Com 65 Bold" panose="020B0803030504020204" pitchFamily="34" charset="0"/>
                <a:cs typeface="Arial" pitchFamily="34" charset="0"/>
              </a:rPr>
              <a:t>Presentation</a:t>
            </a:r>
            <a:r>
              <a:rPr lang="de-DE" altLang="ko-KR" sz="1200" dirty="0">
                <a:solidFill>
                  <a:schemeClr val="bg1"/>
                </a:solidFill>
                <a:latin typeface="Frutiger LT Com 65 Bold" panose="020B0803030504020204" pitchFamily="34" charset="0"/>
                <a:cs typeface="Arial" pitchFamily="34" charset="0"/>
              </a:rPr>
              <a:t> </a:t>
            </a:r>
          </a:p>
        </p:txBody>
      </p:sp>
      <p:sp>
        <p:nvSpPr>
          <p:cNvPr id="21" name="TextBox 8">
            <a:extLst>
              <a:ext uri="{FF2B5EF4-FFF2-40B4-BE49-F238E27FC236}">
                <a16:creationId xmlns:a16="http://schemas.microsoft.com/office/drawing/2014/main" id="{1ABDA888-C3D8-4AFC-8992-1F0F68847BB4}"/>
              </a:ext>
            </a:extLst>
          </p:cNvPr>
          <p:cNvSpPr txBox="1"/>
          <p:nvPr/>
        </p:nvSpPr>
        <p:spPr bwMode="gray">
          <a:xfrm>
            <a:off x="9391664" y="3582315"/>
            <a:ext cx="1123146" cy="3945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10000"/>
              </a:lnSpc>
            </a:pPr>
            <a:r>
              <a:rPr lang="de-DE" altLang="ko-KR" sz="1200" dirty="0">
                <a:solidFill>
                  <a:schemeClr val="bg1"/>
                </a:solidFill>
                <a:latin typeface="Frutiger LT Com 65 Bold" panose="020B0803030504020204" pitchFamily="34" charset="0"/>
                <a:cs typeface="Arial" pitchFamily="34" charset="0"/>
              </a:rPr>
              <a:t>PowerPoint </a:t>
            </a:r>
          </a:p>
          <a:p>
            <a:pPr>
              <a:lnSpc>
                <a:spcPct val="110000"/>
              </a:lnSpc>
            </a:pPr>
            <a:r>
              <a:rPr lang="de-DE" altLang="ko-KR" sz="1200" dirty="0" err="1">
                <a:solidFill>
                  <a:schemeClr val="bg1"/>
                </a:solidFill>
                <a:latin typeface="Frutiger LT Com 65 Bold" panose="020B0803030504020204" pitchFamily="34" charset="0"/>
                <a:cs typeface="Arial" pitchFamily="34" charset="0"/>
              </a:rPr>
              <a:t>Presentation</a:t>
            </a:r>
            <a:r>
              <a:rPr lang="de-DE" altLang="ko-KR" sz="1200" dirty="0">
                <a:solidFill>
                  <a:schemeClr val="bg1"/>
                </a:solidFill>
                <a:latin typeface="Frutiger LT Com 65 Bold" panose="020B0803030504020204" pitchFamily="34" charset="0"/>
                <a:cs typeface="Arial" pitchFamily="34" charset="0"/>
              </a:rPr>
              <a:t> </a:t>
            </a:r>
          </a:p>
        </p:txBody>
      </p:sp>
      <p:sp>
        <p:nvSpPr>
          <p:cNvPr id="23" name="Block Arc 10">
            <a:extLst>
              <a:ext uri="{FF2B5EF4-FFF2-40B4-BE49-F238E27FC236}">
                <a16:creationId xmlns:a16="http://schemas.microsoft.com/office/drawing/2014/main" id="{2E4CC8BD-C700-4D37-8ACA-BA7FDC8B07B0}"/>
              </a:ext>
            </a:extLst>
          </p:cNvPr>
          <p:cNvSpPr/>
          <p:nvPr/>
        </p:nvSpPr>
        <p:spPr bwMode="gray">
          <a:xfrm>
            <a:off x="3552876" y="2273567"/>
            <a:ext cx="2990398" cy="2990401"/>
          </a:xfrm>
          <a:prstGeom prst="blockArc">
            <a:avLst>
              <a:gd name="adj1" fmla="val 12835057"/>
              <a:gd name="adj2" fmla="val 10023321"/>
              <a:gd name="adj3" fmla="val 7074"/>
            </a:avLst>
          </a:prstGeom>
          <a:solidFill>
            <a:srgbClr val="99BD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</a:pPr>
            <a:endParaRPr lang="de-DE" altLang="ko-KR" sz="2700" dirty="0">
              <a:solidFill>
                <a:schemeClr val="tx1"/>
              </a:solidFill>
            </a:endParaRPr>
          </a:p>
        </p:txBody>
      </p:sp>
      <p:sp>
        <p:nvSpPr>
          <p:cNvPr id="24" name="Oval 11">
            <a:extLst>
              <a:ext uri="{FF2B5EF4-FFF2-40B4-BE49-F238E27FC236}">
                <a16:creationId xmlns:a16="http://schemas.microsoft.com/office/drawing/2014/main" id="{767D6C80-CEC0-4F64-A5EC-A54730A8EFB4}"/>
              </a:ext>
            </a:extLst>
          </p:cNvPr>
          <p:cNvSpPr/>
          <p:nvPr/>
        </p:nvSpPr>
        <p:spPr bwMode="gray">
          <a:xfrm>
            <a:off x="3260102" y="3329371"/>
            <a:ext cx="878793" cy="878794"/>
          </a:xfrm>
          <a:prstGeom prst="ellipse">
            <a:avLst/>
          </a:prstGeom>
          <a:solidFill>
            <a:schemeClr val="accent5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10000"/>
              </a:lnSpc>
            </a:pPr>
            <a:r>
              <a:rPr lang="de-DE" altLang="ko-KR" sz="1400" dirty="0">
                <a:solidFill>
                  <a:schemeClr val="bg1"/>
                </a:solidFill>
                <a:cs typeface="Arial" pitchFamily="34" charset="0"/>
              </a:rPr>
              <a:t>Text </a:t>
            </a:r>
          </a:p>
          <a:p>
            <a:pPr algn="ctr">
              <a:lnSpc>
                <a:spcPct val="110000"/>
              </a:lnSpc>
            </a:pPr>
            <a:r>
              <a:rPr lang="de-DE" altLang="ko-KR" sz="1400" dirty="0">
                <a:solidFill>
                  <a:schemeClr val="bg1"/>
                </a:solidFill>
                <a:cs typeface="Arial" pitchFamily="34" charset="0"/>
              </a:rPr>
              <a:t>Here</a:t>
            </a:r>
          </a:p>
        </p:txBody>
      </p:sp>
      <p:sp>
        <p:nvSpPr>
          <p:cNvPr id="25" name="Oval 12">
            <a:extLst>
              <a:ext uri="{FF2B5EF4-FFF2-40B4-BE49-F238E27FC236}">
                <a16:creationId xmlns:a16="http://schemas.microsoft.com/office/drawing/2014/main" id="{1EC915F2-FFC0-48FA-90EA-12E160A85499}"/>
              </a:ext>
            </a:extLst>
          </p:cNvPr>
          <p:cNvSpPr/>
          <p:nvPr/>
        </p:nvSpPr>
        <p:spPr bwMode="gray">
          <a:xfrm>
            <a:off x="4608678" y="4654662"/>
            <a:ext cx="878793" cy="878794"/>
          </a:xfrm>
          <a:prstGeom prst="ellipse">
            <a:avLst/>
          </a:prstGeom>
          <a:solidFill>
            <a:schemeClr val="accent5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10000"/>
              </a:lnSpc>
            </a:pPr>
            <a:r>
              <a:rPr lang="de-DE" altLang="ko-KR" sz="1400" dirty="0">
                <a:solidFill>
                  <a:schemeClr val="bg1"/>
                </a:solidFill>
                <a:cs typeface="Arial" pitchFamily="34" charset="0"/>
              </a:rPr>
              <a:t>Text </a:t>
            </a:r>
          </a:p>
          <a:p>
            <a:pPr algn="ctr">
              <a:lnSpc>
                <a:spcPct val="110000"/>
              </a:lnSpc>
            </a:pPr>
            <a:r>
              <a:rPr lang="de-DE" altLang="ko-KR" sz="1400" dirty="0">
                <a:solidFill>
                  <a:schemeClr val="bg1"/>
                </a:solidFill>
                <a:cs typeface="Arial" pitchFamily="34" charset="0"/>
              </a:rPr>
              <a:t>Here</a:t>
            </a:r>
          </a:p>
        </p:txBody>
      </p:sp>
      <p:sp>
        <p:nvSpPr>
          <p:cNvPr id="26" name="Oval 13">
            <a:extLst>
              <a:ext uri="{FF2B5EF4-FFF2-40B4-BE49-F238E27FC236}">
                <a16:creationId xmlns:a16="http://schemas.microsoft.com/office/drawing/2014/main" id="{3F4D6563-BC18-4779-855D-DF6A0C2B326F}"/>
              </a:ext>
            </a:extLst>
          </p:cNvPr>
          <p:cNvSpPr/>
          <p:nvPr/>
        </p:nvSpPr>
        <p:spPr bwMode="gray">
          <a:xfrm>
            <a:off x="5944025" y="3329371"/>
            <a:ext cx="878793" cy="878794"/>
          </a:xfrm>
          <a:prstGeom prst="ellipse">
            <a:avLst/>
          </a:prstGeom>
          <a:solidFill>
            <a:schemeClr val="accent5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10000"/>
              </a:lnSpc>
            </a:pPr>
            <a:r>
              <a:rPr lang="de-DE" altLang="ko-KR" sz="1400" dirty="0">
                <a:solidFill>
                  <a:schemeClr val="bg1"/>
                </a:solidFill>
                <a:cs typeface="Arial" pitchFamily="34" charset="0"/>
              </a:rPr>
              <a:t>Text </a:t>
            </a:r>
          </a:p>
          <a:p>
            <a:pPr algn="ctr">
              <a:lnSpc>
                <a:spcPct val="110000"/>
              </a:lnSpc>
            </a:pPr>
            <a:r>
              <a:rPr lang="de-DE" altLang="ko-KR" sz="1400" dirty="0">
                <a:solidFill>
                  <a:schemeClr val="bg1"/>
                </a:solidFill>
                <a:cs typeface="Arial" pitchFamily="34" charset="0"/>
              </a:rPr>
              <a:t>Here</a:t>
            </a:r>
          </a:p>
        </p:txBody>
      </p:sp>
      <p:sp>
        <p:nvSpPr>
          <p:cNvPr id="27" name="Oval 14">
            <a:extLst>
              <a:ext uri="{FF2B5EF4-FFF2-40B4-BE49-F238E27FC236}">
                <a16:creationId xmlns:a16="http://schemas.microsoft.com/office/drawing/2014/main" id="{E2E1A58B-017D-45C9-B29C-0A559B0B4EE8}"/>
              </a:ext>
            </a:extLst>
          </p:cNvPr>
          <p:cNvSpPr>
            <a:spLocks/>
          </p:cNvSpPr>
          <p:nvPr/>
        </p:nvSpPr>
        <p:spPr bwMode="gray">
          <a:xfrm>
            <a:off x="4608678" y="1960815"/>
            <a:ext cx="878793" cy="878794"/>
          </a:xfrm>
          <a:prstGeom prst="ellipse">
            <a:avLst/>
          </a:prstGeom>
          <a:solidFill>
            <a:schemeClr val="accent5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10000"/>
              </a:lnSpc>
            </a:pPr>
            <a:r>
              <a:rPr lang="de-DE" altLang="ko-KR" sz="1400" dirty="0">
                <a:solidFill>
                  <a:schemeClr val="bg1"/>
                </a:solidFill>
                <a:cs typeface="Arial" pitchFamily="34" charset="0"/>
              </a:rPr>
              <a:t>Text </a:t>
            </a:r>
          </a:p>
          <a:p>
            <a:pPr algn="ctr">
              <a:lnSpc>
                <a:spcPct val="110000"/>
              </a:lnSpc>
            </a:pPr>
            <a:r>
              <a:rPr lang="de-DE" altLang="ko-KR" sz="1400" dirty="0">
                <a:solidFill>
                  <a:schemeClr val="bg1"/>
                </a:solidFill>
                <a:cs typeface="Arial" pitchFamily="34" charset="0"/>
              </a:rPr>
              <a:t>Here</a:t>
            </a:r>
          </a:p>
        </p:txBody>
      </p:sp>
      <p:sp>
        <p:nvSpPr>
          <p:cNvPr id="28" name="Oval 15">
            <a:extLst>
              <a:ext uri="{FF2B5EF4-FFF2-40B4-BE49-F238E27FC236}">
                <a16:creationId xmlns:a16="http://schemas.microsoft.com/office/drawing/2014/main" id="{5EDA5901-45BD-4DA5-B2B9-27E45B76895D}"/>
              </a:ext>
            </a:extLst>
          </p:cNvPr>
          <p:cNvSpPr/>
          <p:nvPr/>
        </p:nvSpPr>
        <p:spPr bwMode="gray">
          <a:xfrm>
            <a:off x="4455793" y="3160885"/>
            <a:ext cx="1171334" cy="1171335"/>
          </a:xfrm>
          <a:prstGeom prst="ellipse">
            <a:avLst/>
          </a:prstGeom>
          <a:solidFill>
            <a:schemeClr val="accent2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10000"/>
              </a:lnSpc>
            </a:pPr>
            <a:r>
              <a:rPr lang="de-DE" altLang="ko-KR" sz="1400" b="1" dirty="0">
                <a:solidFill>
                  <a:schemeClr val="bg1"/>
                </a:solidFill>
                <a:cs typeface="Arial" pitchFamily="34" charset="0"/>
              </a:rPr>
              <a:t>Contents</a:t>
            </a:r>
          </a:p>
          <a:p>
            <a:pPr algn="ctr">
              <a:lnSpc>
                <a:spcPct val="110000"/>
              </a:lnSpc>
            </a:pPr>
            <a:r>
              <a:rPr lang="de-DE" altLang="ko-KR" sz="1400" b="1" dirty="0">
                <a:solidFill>
                  <a:schemeClr val="bg1"/>
                </a:solidFill>
                <a:cs typeface="Arial" pitchFamily="34" charset="0"/>
              </a:rPr>
              <a:t> Here</a:t>
            </a:r>
          </a:p>
        </p:txBody>
      </p:sp>
      <p:sp>
        <p:nvSpPr>
          <p:cNvPr id="29" name="Isosceles Triangle 16">
            <a:extLst>
              <a:ext uri="{FF2B5EF4-FFF2-40B4-BE49-F238E27FC236}">
                <a16:creationId xmlns:a16="http://schemas.microsoft.com/office/drawing/2014/main" id="{CD6D77BB-6FFE-4388-B8A7-693056975E6A}"/>
              </a:ext>
            </a:extLst>
          </p:cNvPr>
          <p:cNvSpPr/>
          <p:nvPr/>
        </p:nvSpPr>
        <p:spPr bwMode="gray">
          <a:xfrm rot="12600000">
            <a:off x="3598627" y="2943361"/>
            <a:ext cx="435267" cy="375230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</a:pPr>
            <a:endParaRPr lang="de-DE" altLang="ko-KR" sz="2700" dirty="0"/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4B39B75F-FAB3-441A-89FE-BA5BB5619987}"/>
              </a:ext>
            </a:extLst>
          </p:cNvPr>
          <p:cNvSpPr txBox="1">
            <a:spLocks/>
          </p:cNvSpPr>
          <p:nvPr/>
        </p:nvSpPr>
        <p:spPr bwMode="gray">
          <a:xfrm>
            <a:off x="1930447" y="5237221"/>
            <a:ext cx="2603310" cy="460511"/>
          </a:xfrm>
          <a:prstGeom prst="rect">
            <a:avLst/>
          </a:prstGeom>
        </p:spPr>
        <p:txBody>
          <a:bodyPr wrap="square" lIns="0" tIns="0" rIns="0" bIns="0" numCol="1" spcCol="360000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algn="r">
              <a:lnSpc>
                <a:spcPct val="110000"/>
              </a:lnSpc>
            </a:pPr>
            <a:r>
              <a:rPr lang="de-DE" dirty="0"/>
              <a:t>Headline 14 </a:t>
            </a:r>
            <a:r>
              <a:rPr lang="de-DE" dirty="0" err="1"/>
              <a:t>pt</a:t>
            </a:r>
            <a:endParaRPr lang="de-DE" dirty="0"/>
          </a:p>
          <a:p>
            <a:pPr lvl="1" algn="r">
              <a:lnSpc>
                <a:spcPct val="110000"/>
              </a:lnSpc>
            </a:pP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endParaRPr lang="de-DE" dirty="0"/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7921315B-3E3C-4B8F-B508-8CA74C47721F}"/>
              </a:ext>
            </a:extLst>
          </p:cNvPr>
          <p:cNvSpPr txBox="1">
            <a:spLocks/>
          </p:cNvSpPr>
          <p:nvPr/>
        </p:nvSpPr>
        <p:spPr bwMode="gray">
          <a:xfrm>
            <a:off x="2165009" y="2342063"/>
            <a:ext cx="1408107" cy="697499"/>
          </a:xfrm>
          <a:prstGeom prst="rect">
            <a:avLst/>
          </a:prstGeom>
        </p:spPr>
        <p:txBody>
          <a:bodyPr wrap="square" lIns="0" tIns="0" rIns="0" bIns="0" numCol="1" spcCol="360000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algn="r">
              <a:lnSpc>
                <a:spcPct val="110000"/>
              </a:lnSpc>
            </a:pPr>
            <a:r>
              <a:rPr lang="de-DE" dirty="0"/>
              <a:t>Headline 14 </a:t>
            </a:r>
            <a:r>
              <a:rPr lang="de-DE" dirty="0" err="1"/>
              <a:t>pt</a:t>
            </a:r>
            <a:endParaRPr lang="de-DE" dirty="0"/>
          </a:p>
          <a:p>
            <a:pPr lvl="1" algn="r">
              <a:lnSpc>
                <a:spcPct val="110000"/>
              </a:lnSpc>
            </a:pP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endParaRPr lang="de-DE" dirty="0"/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E5C5337A-EA67-4498-91D9-F629812A5A14}"/>
              </a:ext>
            </a:extLst>
          </p:cNvPr>
          <p:cNvSpPr txBox="1">
            <a:spLocks/>
          </p:cNvSpPr>
          <p:nvPr/>
        </p:nvSpPr>
        <p:spPr bwMode="gray">
          <a:xfrm>
            <a:off x="6543273" y="4333193"/>
            <a:ext cx="1408107" cy="697499"/>
          </a:xfrm>
          <a:prstGeom prst="rect">
            <a:avLst/>
          </a:prstGeom>
        </p:spPr>
        <p:txBody>
          <a:bodyPr wrap="square" lIns="0" tIns="0" rIns="0" bIns="0" numCol="1" spcCol="360000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lnSpc>
                <a:spcPct val="110000"/>
              </a:lnSpc>
            </a:pPr>
            <a:r>
              <a:rPr lang="de-DE" dirty="0"/>
              <a:t>Headline 14 </a:t>
            </a:r>
            <a:r>
              <a:rPr lang="de-DE" dirty="0" err="1"/>
              <a:t>pt</a:t>
            </a:r>
            <a:endParaRPr lang="de-DE" dirty="0"/>
          </a:p>
          <a:p>
            <a:pPr lvl="1">
              <a:lnSpc>
                <a:spcPct val="110000"/>
              </a:lnSpc>
            </a:pP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B7085BF-37BD-4B7F-86AC-6B81EA9C840E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8B1BF770-F0C3-4D9B-9320-47E008E33AA8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7A8ABAFF-0602-4A93-8B2D-A7563125874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A42D40F-9C46-44E4-909A-E1A0CD73B2D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5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9975868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1F7A04A-71D1-45B6-B350-5FA7CAE858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74107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E1F7A04A-71D1-45B6-B350-5FA7CAE858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B520085-9194-4F0F-ABC7-184C219C556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</p:spPr>
        <p:txBody>
          <a:bodyPr vert="horz"/>
          <a:lstStyle/>
          <a:p>
            <a:pPr lvl="0"/>
            <a:r>
              <a:rPr lang="de-DE"/>
              <a:t>Headline, Frutiger LT Com Bd, 24 pt, allgemeine Icons</a:t>
            </a:r>
            <a:endParaRPr lang="de-DE" dirty="0"/>
          </a:p>
        </p:txBody>
      </p:sp>
      <p:sp>
        <p:nvSpPr>
          <p:cNvPr id="55" name="Textplatzhalter 54">
            <a:extLst>
              <a:ext uri="{FF2B5EF4-FFF2-40B4-BE49-F238E27FC236}">
                <a16:creationId xmlns:a16="http://schemas.microsoft.com/office/drawing/2014/main" id="{5CCB816E-EAE8-41AC-9DB6-1B158913DDD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2000" dirty="0" err="1">
                <a:latin typeface="+mn-lt"/>
              </a:rPr>
              <a:t>Subline</a:t>
            </a:r>
            <a:r>
              <a:rPr lang="de-DE" sz="2000" dirty="0">
                <a:latin typeface="+mn-lt"/>
              </a:rPr>
              <a:t>, Frutiger LT </a:t>
            </a:r>
            <a:r>
              <a:rPr lang="de-DE" sz="2000" err="1">
                <a:latin typeface="+mn-lt"/>
              </a:rPr>
              <a:t>Com</a:t>
            </a:r>
            <a:r>
              <a:rPr lang="de-DE" sz="2000">
                <a:latin typeface="+mn-lt"/>
              </a:rPr>
              <a:t> Lt</a:t>
            </a:r>
            <a:r>
              <a:rPr lang="de-DE" sz="2000" dirty="0">
                <a:latin typeface="+mn-lt"/>
              </a:rPr>
              <a:t>, 20 </a:t>
            </a:r>
            <a:r>
              <a:rPr lang="de-DE" sz="2000" dirty="0" err="1">
                <a:latin typeface="+mn-lt"/>
              </a:rPr>
              <a:t>pt</a:t>
            </a:r>
            <a:endParaRPr lang="en-US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4C772C3-FCD5-4F9E-BDF6-D2EA40C0C51E}"/>
              </a:ext>
            </a:extLst>
          </p:cNvPr>
          <p:cNvSpPr/>
          <p:nvPr/>
        </p:nvSpPr>
        <p:spPr bwMode="gray">
          <a:xfrm>
            <a:off x="485775" y="1700213"/>
            <a:ext cx="11226800" cy="4284662"/>
          </a:xfrm>
          <a:prstGeom prst="rect">
            <a:avLst/>
          </a:prstGeom>
          <a:solidFill>
            <a:srgbClr val="E5EEF2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/>
          <a:lstStyle/>
          <a:p>
            <a:pPr algn="l"/>
            <a:endParaRPr lang="de-DE" dirty="0"/>
          </a:p>
        </p:txBody>
      </p:sp>
      <p:grpSp>
        <p:nvGrpSpPr>
          <p:cNvPr id="3" name="Grafik 11" descr="Pfeil Kreis Silhouette">
            <a:extLst>
              <a:ext uri="{FF2B5EF4-FFF2-40B4-BE49-F238E27FC236}">
                <a16:creationId xmlns:a16="http://schemas.microsoft.com/office/drawing/2014/main" id="{6446F05C-6E56-4F7C-983B-E0A4F785A782}"/>
              </a:ext>
            </a:extLst>
          </p:cNvPr>
          <p:cNvGrpSpPr/>
          <p:nvPr/>
        </p:nvGrpSpPr>
        <p:grpSpPr>
          <a:xfrm>
            <a:off x="10425103" y="2281631"/>
            <a:ext cx="392718" cy="381066"/>
            <a:chOff x="10425103" y="2281631"/>
            <a:chExt cx="392718" cy="381066"/>
          </a:xfrm>
          <a:solidFill>
            <a:schemeClr val="tx1"/>
          </a:solidFill>
        </p:grpSpPr>
        <p:sp>
          <p:nvSpPr>
            <p:cNvPr id="5" name="Freihandform: Form 4">
              <a:extLst>
                <a:ext uri="{FF2B5EF4-FFF2-40B4-BE49-F238E27FC236}">
                  <a16:creationId xmlns:a16="http://schemas.microsoft.com/office/drawing/2014/main" id="{C507BA7D-472F-4BB4-A208-B9017A6ADCD2}"/>
                </a:ext>
              </a:extLst>
            </p:cNvPr>
            <p:cNvSpPr/>
            <p:nvPr/>
          </p:nvSpPr>
          <p:spPr>
            <a:xfrm>
              <a:off x="10658273" y="2386698"/>
              <a:ext cx="159548" cy="275999"/>
            </a:xfrm>
            <a:custGeom>
              <a:avLst/>
              <a:gdLst>
                <a:gd name="connsiteX0" fmla="*/ 159548 w 159548"/>
                <a:gd name="connsiteY0" fmla="*/ 70635 h 275999"/>
                <a:gd name="connsiteX1" fmla="*/ 146382 w 159548"/>
                <a:gd name="connsiteY1" fmla="*/ 3756 h 275999"/>
                <a:gd name="connsiteX2" fmla="*/ 138465 w 159548"/>
                <a:gd name="connsiteY2" fmla="*/ 459 h 275999"/>
                <a:gd name="connsiteX3" fmla="*/ 135168 w 159548"/>
                <a:gd name="connsiteY3" fmla="*/ 8375 h 275999"/>
                <a:gd name="connsiteX4" fmla="*/ 45817 w 159548"/>
                <a:gd name="connsiteY4" fmla="*/ 222050 h 275999"/>
                <a:gd name="connsiteX5" fmla="*/ 17947 w 159548"/>
                <a:gd name="connsiteY5" fmla="*/ 230676 h 275999"/>
                <a:gd name="connsiteX6" fmla="*/ 17874 w 159548"/>
                <a:gd name="connsiteY6" fmla="*/ 230585 h 275999"/>
                <a:gd name="connsiteX7" fmla="*/ 42048 w 159548"/>
                <a:gd name="connsiteY7" fmla="*/ 187850 h 275999"/>
                <a:gd name="connsiteX8" fmla="*/ 40345 w 159548"/>
                <a:gd name="connsiteY8" fmla="*/ 179448 h 275999"/>
                <a:gd name="connsiteX9" fmla="*/ 31943 w 159548"/>
                <a:gd name="connsiteY9" fmla="*/ 181152 h 275999"/>
                <a:gd name="connsiteX10" fmla="*/ 31513 w 159548"/>
                <a:gd name="connsiteY10" fmla="*/ 181916 h 275999"/>
                <a:gd name="connsiteX11" fmla="*/ 786 w 159548"/>
                <a:gd name="connsiteY11" fmla="*/ 236247 h 275999"/>
                <a:gd name="connsiteX12" fmla="*/ 3080 w 159548"/>
                <a:gd name="connsiteY12" fmla="*/ 244507 h 275999"/>
                <a:gd name="connsiteX13" fmla="*/ 3083 w 159548"/>
                <a:gd name="connsiteY13" fmla="*/ 244509 h 275999"/>
                <a:gd name="connsiteX14" fmla="*/ 57311 w 159548"/>
                <a:gd name="connsiteY14" fmla="*/ 275175 h 275999"/>
                <a:gd name="connsiteX15" fmla="*/ 65600 w 159548"/>
                <a:gd name="connsiteY15" fmla="*/ 272986 h 275999"/>
                <a:gd name="connsiteX16" fmla="*/ 63412 w 159548"/>
                <a:gd name="connsiteY16" fmla="*/ 264698 h 275999"/>
                <a:gd name="connsiteX17" fmla="*/ 63276 w 159548"/>
                <a:gd name="connsiteY17" fmla="*/ 264621 h 275999"/>
                <a:gd name="connsiteX18" fmla="*/ 23378 w 159548"/>
                <a:gd name="connsiteY18" fmla="*/ 242060 h 275999"/>
                <a:gd name="connsiteX19" fmla="*/ 23378 w 159548"/>
                <a:gd name="connsiteY19" fmla="*/ 241951 h 275999"/>
                <a:gd name="connsiteX20" fmla="*/ 159548 w 159548"/>
                <a:gd name="connsiteY20" fmla="*/ 70635 h 275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59548" h="275999">
                  <a:moveTo>
                    <a:pt x="159548" y="70635"/>
                  </a:moveTo>
                  <a:cubicBezTo>
                    <a:pt x="159589" y="47694"/>
                    <a:pt x="155114" y="24970"/>
                    <a:pt x="146382" y="3756"/>
                  </a:cubicBezTo>
                  <a:cubicBezTo>
                    <a:pt x="145107" y="659"/>
                    <a:pt x="141562" y="-817"/>
                    <a:pt x="138465" y="459"/>
                  </a:cubicBezTo>
                  <a:cubicBezTo>
                    <a:pt x="135368" y="1734"/>
                    <a:pt x="133892" y="5278"/>
                    <a:pt x="135168" y="8375"/>
                  </a:cubicBezTo>
                  <a:cubicBezTo>
                    <a:pt x="169499" y="92053"/>
                    <a:pt x="129495" y="187719"/>
                    <a:pt x="45817" y="222050"/>
                  </a:cubicBezTo>
                  <a:cubicBezTo>
                    <a:pt x="36802" y="225749"/>
                    <a:pt x="27475" y="228635"/>
                    <a:pt x="17947" y="230676"/>
                  </a:cubicBezTo>
                  <a:cubicBezTo>
                    <a:pt x="17868" y="230676"/>
                    <a:pt x="17838" y="230676"/>
                    <a:pt x="17874" y="230585"/>
                  </a:cubicBezTo>
                  <a:lnTo>
                    <a:pt x="42048" y="187850"/>
                  </a:lnTo>
                  <a:cubicBezTo>
                    <a:pt x="43897" y="185060"/>
                    <a:pt x="43135" y="181298"/>
                    <a:pt x="40345" y="179448"/>
                  </a:cubicBezTo>
                  <a:cubicBezTo>
                    <a:pt x="37554" y="177598"/>
                    <a:pt x="33793" y="178362"/>
                    <a:pt x="31943" y="181152"/>
                  </a:cubicBezTo>
                  <a:cubicBezTo>
                    <a:pt x="31781" y="181395"/>
                    <a:pt x="31638" y="181651"/>
                    <a:pt x="31513" y="181916"/>
                  </a:cubicBezTo>
                  <a:lnTo>
                    <a:pt x="786" y="236247"/>
                  </a:lnTo>
                  <a:cubicBezTo>
                    <a:pt x="-862" y="239161"/>
                    <a:pt x="165" y="242859"/>
                    <a:pt x="3080" y="244507"/>
                  </a:cubicBezTo>
                  <a:cubicBezTo>
                    <a:pt x="3081" y="244507"/>
                    <a:pt x="3082" y="244508"/>
                    <a:pt x="3083" y="244509"/>
                  </a:cubicBezTo>
                  <a:lnTo>
                    <a:pt x="57311" y="275175"/>
                  </a:lnTo>
                  <a:cubicBezTo>
                    <a:pt x="60205" y="276859"/>
                    <a:pt x="63915" y="275880"/>
                    <a:pt x="65600" y="272986"/>
                  </a:cubicBezTo>
                  <a:cubicBezTo>
                    <a:pt x="67285" y="270094"/>
                    <a:pt x="66305" y="266383"/>
                    <a:pt x="63412" y="264698"/>
                  </a:cubicBezTo>
                  <a:cubicBezTo>
                    <a:pt x="63367" y="264672"/>
                    <a:pt x="63321" y="264646"/>
                    <a:pt x="63276" y="264621"/>
                  </a:cubicBezTo>
                  <a:lnTo>
                    <a:pt x="23378" y="242060"/>
                  </a:lnTo>
                  <a:cubicBezTo>
                    <a:pt x="23305" y="242017"/>
                    <a:pt x="23317" y="241969"/>
                    <a:pt x="23378" y="241951"/>
                  </a:cubicBezTo>
                  <a:cubicBezTo>
                    <a:pt x="102959" y="223262"/>
                    <a:pt x="159299" y="152381"/>
                    <a:pt x="159548" y="70635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5EB3E59B-A239-4995-ACB3-9D1312560097}"/>
                </a:ext>
              </a:extLst>
            </p:cNvPr>
            <p:cNvSpPr/>
            <p:nvPr/>
          </p:nvSpPr>
          <p:spPr>
            <a:xfrm>
              <a:off x="10425103" y="2386308"/>
              <a:ext cx="200482" cy="245310"/>
            </a:xfrm>
            <a:custGeom>
              <a:avLst/>
              <a:gdLst>
                <a:gd name="connsiteX0" fmla="*/ 195186 w 200482"/>
                <a:gd name="connsiteY0" fmla="*/ 233224 h 245310"/>
                <a:gd name="connsiteX1" fmla="*/ 135139 w 200482"/>
                <a:gd name="connsiteY1" fmla="*/ 212711 h 245310"/>
                <a:gd name="connsiteX2" fmla="*/ 61234 w 200482"/>
                <a:gd name="connsiteY2" fmla="*/ 20694 h 245310"/>
                <a:gd name="connsiteX3" fmla="*/ 61344 w 200482"/>
                <a:gd name="connsiteY3" fmla="*/ 20694 h 245310"/>
                <a:gd name="connsiteX4" fmla="*/ 86166 w 200482"/>
                <a:gd name="connsiteY4" fmla="*/ 62981 h 245310"/>
                <a:gd name="connsiteX5" fmla="*/ 94468 w 200482"/>
                <a:gd name="connsiteY5" fmla="*/ 65130 h 245310"/>
                <a:gd name="connsiteX6" fmla="*/ 96617 w 200482"/>
                <a:gd name="connsiteY6" fmla="*/ 56828 h 245310"/>
                <a:gd name="connsiteX7" fmla="*/ 65023 w 200482"/>
                <a:gd name="connsiteY7" fmla="*/ 2994 h 245310"/>
                <a:gd name="connsiteX8" fmla="*/ 56727 w 200482"/>
                <a:gd name="connsiteY8" fmla="*/ 835 h 245310"/>
                <a:gd name="connsiteX9" fmla="*/ 56725 w 200482"/>
                <a:gd name="connsiteY9" fmla="*/ 836 h 245310"/>
                <a:gd name="connsiteX10" fmla="*/ 2994 w 200482"/>
                <a:gd name="connsiteY10" fmla="*/ 32357 h 245310"/>
                <a:gd name="connsiteX11" fmla="*/ 836 w 200482"/>
                <a:gd name="connsiteY11" fmla="*/ 40656 h 245310"/>
                <a:gd name="connsiteX12" fmla="*/ 9134 w 200482"/>
                <a:gd name="connsiteY12" fmla="*/ 42814 h 245310"/>
                <a:gd name="connsiteX13" fmla="*/ 48741 w 200482"/>
                <a:gd name="connsiteY13" fmla="*/ 19567 h 245310"/>
                <a:gd name="connsiteX14" fmla="*/ 48826 w 200482"/>
                <a:gd name="connsiteY14" fmla="*/ 19634 h 245310"/>
                <a:gd name="connsiteX15" fmla="*/ 165841 w 200482"/>
                <a:gd name="connsiteY15" fmla="*/ 239200 h 245310"/>
                <a:gd name="connsiteX16" fmla="*/ 193573 w 200482"/>
                <a:gd name="connsiteY16" fmla="*/ 245256 h 245310"/>
                <a:gd name="connsiteX17" fmla="*/ 194392 w 200482"/>
                <a:gd name="connsiteY17" fmla="*/ 245311 h 245310"/>
                <a:gd name="connsiteX18" fmla="*/ 200483 w 200482"/>
                <a:gd name="connsiteY18" fmla="*/ 239279 h 245310"/>
                <a:gd name="connsiteX19" fmla="*/ 195186 w 200482"/>
                <a:gd name="connsiteY19" fmla="*/ 233236 h 245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00482" h="245310">
                  <a:moveTo>
                    <a:pt x="195186" y="233224"/>
                  </a:moveTo>
                  <a:cubicBezTo>
                    <a:pt x="174017" y="230395"/>
                    <a:pt x="153614" y="223425"/>
                    <a:pt x="135139" y="212711"/>
                  </a:cubicBezTo>
                  <a:cubicBezTo>
                    <a:pt x="68518" y="173961"/>
                    <a:pt x="37785" y="94111"/>
                    <a:pt x="61234" y="20694"/>
                  </a:cubicBezTo>
                  <a:cubicBezTo>
                    <a:pt x="61234" y="20622"/>
                    <a:pt x="61307" y="20616"/>
                    <a:pt x="61344" y="20694"/>
                  </a:cubicBezTo>
                  <a:lnTo>
                    <a:pt x="86166" y="62981"/>
                  </a:lnTo>
                  <a:cubicBezTo>
                    <a:pt x="87865" y="65867"/>
                    <a:pt x="91582" y="66829"/>
                    <a:pt x="94468" y="65130"/>
                  </a:cubicBezTo>
                  <a:cubicBezTo>
                    <a:pt x="97354" y="63431"/>
                    <a:pt x="98316" y="59714"/>
                    <a:pt x="96617" y="56828"/>
                  </a:cubicBezTo>
                  <a:lnTo>
                    <a:pt x="65023" y="2994"/>
                  </a:lnTo>
                  <a:cubicBezTo>
                    <a:pt x="63328" y="107"/>
                    <a:pt x="59614" y="-860"/>
                    <a:pt x="56727" y="835"/>
                  </a:cubicBezTo>
                  <a:cubicBezTo>
                    <a:pt x="56726" y="835"/>
                    <a:pt x="56725" y="836"/>
                    <a:pt x="56725" y="836"/>
                  </a:cubicBezTo>
                  <a:lnTo>
                    <a:pt x="2994" y="32357"/>
                  </a:lnTo>
                  <a:cubicBezTo>
                    <a:pt x="106" y="34053"/>
                    <a:pt x="-860" y="37768"/>
                    <a:pt x="836" y="40656"/>
                  </a:cubicBezTo>
                  <a:cubicBezTo>
                    <a:pt x="2531" y="43543"/>
                    <a:pt x="6247" y="44509"/>
                    <a:pt x="9134" y="42814"/>
                  </a:cubicBezTo>
                  <a:lnTo>
                    <a:pt x="48741" y="19567"/>
                  </a:lnTo>
                  <a:cubicBezTo>
                    <a:pt x="48814" y="19525"/>
                    <a:pt x="48850" y="19567"/>
                    <a:pt x="48826" y="19634"/>
                  </a:cubicBezTo>
                  <a:cubicBezTo>
                    <a:pt x="20507" y="112578"/>
                    <a:pt x="72896" y="210881"/>
                    <a:pt x="165841" y="239200"/>
                  </a:cubicBezTo>
                  <a:cubicBezTo>
                    <a:pt x="174906" y="241963"/>
                    <a:pt x="184181" y="243988"/>
                    <a:pt x="193573" y="245256"/>
                  </a:cubicBezTo>
                  <a:cubicBezTo>
                    <a:pt x="193844" y="245292"/>
                    <a:pt x="194118" y="245311"/>
                    <a:pt x="194392" y="245311"/>
                  </a:cubicBezTo>
                  <a:cubicBezTo>
                    <a:pt x="197740" y="245327"/>
                    <a:pt x="200467" y="242626"/>
                    <a:pt x="200483" y="239279"/>
                  </a:cubicBezTo>
                  <a:cubicBezTo>
                    <a:pt x="200498" y="236215"/>
                    <a:pt x="198225" y="233622"/>
                    <a:pt x="195186" y="233236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5E6C70F3-5042-4523-855F-3287443E0248}"/>
                </a:ext>
              </a:extLst>
            </p:cNvPr>
            <p:cNvSpPr/>
            <p:nvPr/>
          </p:nvSpPr>
          <p:spPr>
            <a:xfrm>
              <a:off x="10501601" y="2281631"/>
              <a:ext cx="281438" cy="78284"/>
            </a:xfrm>
            <a:custGeom>
              <a:avLst/>
              <a:gdLst>
                <a:gd name="connsiteX0" fmla="*/ 261695 w 281438"/>
                <a:gd name="connsiteY0" fmla="*/ 65816 h 78284"/>
                <a:gd name="connsiteX1" fmla="*/ 261653 w 281438"/>
                <a:gd name="connsiteY1" fmla="*/ 65919 h 78284"/>
                <a:gd name="connsiteX2" fmla="*/ 212911 w 281438"/>
                <a:gd name="connsiteY2" fmla="*/ 66161 h 78284"/>
                <a:gd name="connsiteX3" fmla="*/ 206864 w 281438"/>
                <a:gd name="connsiteY3" fmla="*/ 72238 h 78284"/>
                <a:gd name="connsiteX4" fmla="*/ 212941 w 281438"/>
                <a:gd name="connsiteY4" fmla="*/ 78285 h 78284"/>
                <a:gd name="connsiteX5" fmla="*/ 212941 w 281438"/>
                <a:gd name="connsiteY5" fmla="*/ 78285 h 78284"/>
                <a:gd name="connsiteX6" fmla="*/ 275377 w 281438"/>
                <a:gd name="connsiteY6" fmla="*/ 77975 h 78284"/>
                <a:gd name="connsiteX7" fmla="*/ 281438 w 281438"/>
                <a:gd name="connsiteY7" fmla="*/ 71914 h 78284"/>
                <a:gd name="connsiteX8" fmla="*/ 281111 w 281438"/>
                <a:gd name="connsiteY8" fmla="*/ 9587 h 78284"/>
                <a:gd name="connsiteX9" fmla="*/ 275520 w 281438"/>
                <a:gd name="connsiteY9" fmla="*/ 3526 h 78284"/>
                <a:gd name="connsiteX10" fmla="*/ 275049 w 281438"/>
                <a:gd name="connsiteY10" fmla="*/ 3526 h 78284"/>
                <a:gd name="connsiteX11" fmla="*/ 268988 w 281438"/>
                <a:gd name="connsiteY11" fmla="*/ 9587 h 78284"/>
                <a:gd name="connsiteX12" fmla="*/ 268988 w 281438"/>
                <a:gd name="connsiteY12" fmla="*/ 9618 h 78284"/>
                <a:gd name="connsiteX13" fmla="*/ 269218 w 281438"/>
                <a:gd name="connsiteY13" fmla="*/ 55753 h 78284"/>
                <a:gd name="connsiteX14" fmla="*/ 269115 w 281438"/>
                <a:gd name="connsiteY14" fmla="*/ 55796 h 78284"/>
                <a:gd name="connsiteX15" fmla="*/ 52573 w 281438"/>
                <a:gd name="connsiteY15" fmla="*/ 23372 h 78284"/>
                <a:gd name="connsiteX16" fmla="*/ 1243 w 281438"/>
                <a:gd name="connsiteY16" fmla="*/ 68228 h 78284"/>
                <a:gd name="connsiteX17" fmla="*/ 2386 w 281438"/>
                <a:gd name="connsiteY17" fmla="*/ 76724 h 78284"/>
                <a:gd name="connsiteX18" fmla="*/ 10844 w 281438"/>
                <a:gd name="connsiteY18" fmla="*/ 75630 h 78284"/>
                <a:gd name="connsiteX19" fmla="*/ 58635 w 281438"/>
                <a:gd name="connsiteY19" fmla="*/ 33889 h 78284"/>
                <a:gd name="connsiteX20" fmla="*/ 261695 w 281438"/>
                <a:gd name="connsiteY20" fmla="*/ 65816 h 78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81438" h="78284">
                  <a:moveTo>
                    <a:pt x="261695" y="65816"/>
                  </a:moveTo>
                  <a:cubicBezTo>
                    <a:pt x="261750" y="65870"/>
                    <a:pt x="261732" y="65919"/>
                    <a:pt x="261653" y="65919"/>
                  </a:cubicBezTo>
                  <a:lnTo>
                    <a:pt x="212911" y="66161"/>
                  </a:lnTo>
                  <a:cubicBezTo>
                    <a:pt x="209563" y="66170"/>
                    <a:pt x="206856" y="68890"/>
                    <a:pt x="206864" y="72238"/>
                  </a:cubicBezTo>
                  <a:cubicBezTo>
                    <a:pt x="206873" y="75586"/>
                    <a:pt x="209593" y="78293"/>
                    <a:pt x="212941" y="78285"/>
                  </a:cubicBezTo>
                  <a:lnTo>
                    <a:pt x="212941" y="78285"/>
                  </a:lnTo>
                  <a:lnTo>
                    <a:pt x="275377" y="77975"/>
                  </a:lnTo>
                  <a:cubicBezTo>
                    <a:pt x="278725" y="77975"/>
                    <a:pt x="281438" y="75262"/>
                    <a:pt x="281438" y="71914"/>
                  </a:cubicBezTo>
                  <a:lnTo>
                    <a:pt x="281111" y="9587"/>
                  </a:lnTo>
                  <a:cubicBezTo>
                    <a:pt x="281241" y="6369"/>
                    <a:pt x="278737" y="3655"/>
                    <a:pt x="275520" y="3526"/>
                  </a:cubicBezTo>
                  <a:cubicBezTo>
                    <a:pt x="275363" y="3520"/>
                    <a:pt x="275206" y="3520"/>
                    <a:pt x="275049" y="3526"/>
                  </a:cubicBezTo>
                  <a:cubicBezTo>
                    <a:pt x="271702" y="3526"/>
                    <a:pt x="268988" y="6239"/>
                    <a:pt x="268988" y="9587"/>
                  </a:cubicBezTo>
                  <a:cubicBezTo>
                    <a:pt x="268988" y="9598"/>
                    <a:pt x="268988" y="9607"/>
                    <a:pt x="268988" y="9618"/>
                  </a:cubicBezTo>
                  <a:lnTo>
                    <a:pt x="269218" y="55753"/>
                  </a:lnTo>
                  <a:cubicBezTo>
                    <a:pt x="269218" y="55838"/>
                    <a:pt x="269176" y="55856"/>
                    <a:pt x="269115" y="55796"/>
                  </a:cubicBezTo>
                  <a:cubicBezTo>
                    <a:pt x="213167" y="-3882"/>
                    <a:pt x="123547" y="-17302"/>
                    <a:pt x="52573" y="23372"/>
                  </a:cubicBezTo>
                  <a:cubicBezTo>
                    <a:pt x="32684" y="34809"/>
                    <a:pt x="15242" y="50051"/>
                    <a:pt x="1243" y="68228"/>
                  </a:cubicBezTo>
                  <a:cubicBezTo>
                    <a:pt x="-788" y="70890"/>
                    <a:pt x="-276" y="74694"/>
                    <a:pt x="2386" y="76724"/>
                  </a:cubicBezTo>
                  <a:cubicBezTo>
                    <a:pt x="5029" y="78740"/>
                    <a:pt x="8801" y="78252"/>
                    <a:pt x="10844" y="75630"/>
                  </a:cubicBezTo>
                  <a:cubicBezTo>
                    <a:pt x="23879" y="58713"/>
                    <a:pt x="40118" y="44529"/>
                    <a:pt x="58635" y="33889"/>
                  </a:cubicBezTo>
                  <a:cubicBezTo>
                    <a:pt x="125438" y="-4383"/>
                    <a:pt x="209860" y="8891"/>
                    <a:pt x="261695" y="65816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57" name="Grafik 14" descr="Chevronpfeile Silhouette">
            <a:extLst>
              <a:ext uri="{FF2B5EF4-FFF2-40B4-BE49-F238E27FC236}">
                <a16:creationId xmlns:a16="http://schemas.microsoft.com/office/drawing/2014/main" id="{B7D68A1F-F7AA-4FBC-A524-B437DE47EDCD}"/>
              </a:ext>
            </a:extLst>
          </p:cNvPr>
          <p:cNvGrpSpPr/>
          <p:nvPr/>
        </p:nvGrpSpPr>
        <p:grpSpPr>
          <a:xfrm>
            <a:off x="3380235" y="2289169"/>
            <a:ext cx="430683" cy="346729"/>
            <a:chOff x="3380235" y="2289169"/>
            <a:chExt cx="430683" cy="346729"/>
          </a:xfrm>
          <a:solidFill>
            <a:schemeClr val="tx1"/>
          </a:solidFill>
        </p:grpSpPr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E96C1DE5-1F5C-4469-B615-35835B22C9D1}"/>
                </a:ext>
              </a:extLst>
            </p:cNvPr>
            <p:cNvSpPr/>
            <p:nvPr/>
          </p:nvSpPr>
          <p:spPr>
            <a:xfrm>
              <a:off x="3380235" y="2289169"/>
              <a:ext cx="139722" cy="346729"/>
            </a:xfrm>
            <a:custGeom>
              <a:avLst/>
              <a:gdLst>
                <a:gd name="connsiteX0" fmla="*/ 0 w 139722"/>
                <a:gd name="connsiteY0" fmla="*/ 7274 h 346729"/>
                <a:gd name="connsiteX1" fmla="*/ 124568 w 139722"/>
                <a:gd name="connsiteY1" fmla="*/ 173365 h 346729"/>
                <a:gd name="connsiteX2" fmla="*/ 0 w 139722"/>
                <a:gd name="connsiteY2" fmla="*/ 339455 h 346729"/>
                <a:gd name="connsiteX3" fmla="*/ 9699 w 139722"/>
                <a:gd name="connsiteY3" fmla="*/ 346729 h 346729"/>
                <a:gd name="connsiteX4" fmla="*/ 139722 w 139722"/>
                <a:gd name="connsiteY4" fmla="*/ 173365 h 346729"/>
                <a:gd name="connsiteX5" fmla="*/ 9699 w 139722"/>
                <a:gd name="connsiteY5" fmla="*/ 0 h 346729"/>
                <a:gd name="connsiteX6" fmla="*/ 0 w 139722"/>
                <a:gd name="connsiteY6" fmla="*/ 7274 h 346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9722" h="346729">
                  <a:moveTo>
                    <a:pt x="0" y="7274"/>
                  </a:moveTo>
                  <a:lnTo>
                    <a:pt x="124568" y="173365"/>
                  </a:lnTo>
                  <a:lnTo>
                    <a:pt x="0" y="339455"/>
                  </a:lnTo>
                  <a:lnTo>
                    <a:pt x="9699" y="346729"/>
                  </a:lnTo>
                  <a:lnTo>
                    <a:pt x="139722" y="173365"/>
                  </a:lnTo>
                  <a:lnTo>
                    <a:pt x="9699" y="0"/>
                  </a:lnTo>
                  <a:lnTo>
                    <a:pt x="0" y="7274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B0B37224-FF0C-45B5-92BB-1ACF4514E799}"/>
                </a:ext>
              </a:extLst>
            </p:cNvPr>
            <p:cNvSpPr/>
            <p:nvPr/>
          </p:nvSpPr>
          <p:spPr>
            <a:xfrm>
              <a:off x="3525716" y="2289169"/>
              <a:ext cx="139722" cy="346729"/>
            </a:xfrm>
            <a:custGeom>
              <a:avLst/>
              <a:gdLst>
                <a:gd name="connsiteX0" fmla="*/ 0 w 139722"/>
                <a:gd name="connsiteY0" fmla="*/ 7274 h 346729"/>
                <a:gd name="connsiteX1" fmla="*/ 124568 w 139722"/>
                <a:gd name="connsiteY1" fmla="*/ 173365 h 346729"/>
                <a:gd name="connsiteX2" fmla="*/ 0 w 139722"/>
                <a:gd name="connsiteY2" fmla="*/ 339455 h 346729"/>
                <a:gd name="connsiteX3" fmla="*/ 9699 w 139722"/>
                <a:gd name="connsiteY3" fmla="*/ 346729 h 346729"/>
                <a:gd name="connsiteX4" fmla="*/ 139722 w 139722"/>
                <a:gd name="connsiteY4" fmla="*/ 173365 h 346729"/>
                <a:gd name="connsiteX5" fmla="*/ 9699 w 139722"/>
                <a:gd name="connsiteY5" fmla="*/ 0 h 346729"/>
                <a:gd name="connsiteX6" fmla="*/ 0 w 139722"/>
                <a:gd name="connsiteY6" fmla="*/ 7274 h 346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9722" h="346729">
                  <a:moveTo>
                    <a:pt x="0" y="7274"/>
                  </a:moveTo>
                  <a:lnTo>
                    <a:pt x="124568" y="173365"/>
                  </a:lnTo>
                  <a:lnTo>
                    <a:pt x="0" y="339455"/>
                  </a:lnTo>
                  <a:lnTo>
                    <a:pt x="9699" y="346729"/>
                  </a:lnTo>
                  <a:lnTo>
                    <a:pt x="139722" y="173365"/>
                  </a:lnTo>
                  <a:lnTo>
                    <a:pt x="9699" y="0"/>
                  </a:lnTo>
                  <a:lnTo>
                    <a:pt x="0" y="7274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DAAF5FF6-03DA-4913-9566-1258A28D7728}"/>
                </a:ext>
              </a:extLst>
            </p:cNvPr>
            <p:cNvSpPr/>
            <p:nvPr/>
          </p:nvSpPr>
          <p:spPr>
            <a:xfrm>
              <a:off x="3671196" y="2289169"/>
              <a:ext cx="139722" cy="346729"/>
            </a:xfrm>
            <a:custGeom>
              <a:avLst/>
              <a:gdLst>
                <a:gd name="connsiteX0" fmla="*/ 0 w 139722"/>
                <a:gd name="connsiteY0" fmla="*/ 7274 h 346729"/>
                <a:gd name="connsiteX1" fmla="*/ 124568 w 139722"/>
                <a:gd name="connsiteY1" fmla="*/ 173365 h 346729"/>
                <a:gd name="connsiteX2" fmla="*/ 0 w 139722"/>
                <a:gd name="connsiteY2" fmla="*/ 339455 h 346729"/>
                <a:gd name="connsiteX3" fmla="*/ 9699 w 139722"/>
                <a:gd name="connsiteY3" fmla="*/ 346729 h 346729"/>
                <a:gd name="connsiteX4" fmla="*/ 139722 w 139722"/>
                <a:gd name="connsiteY4" fmla="*/ 173365 h 346729"/>
                <a:gd name="connsiteX5" fmla="*/ 9699 w 139722"/>
                <a:gd name="connsiteY5" fmla="*/ 0 h 346729"/>
                <a:gd name="connsiteX6" fmla="*/ 0 w 139722"/>
                <a:gd name="connsiteY6" fmla="*/ 7274 h 346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9722" h="346729">
                  <a:moveTo>
                    <a:pt x="0" y="7274"/>
                  </a:moveTo>
                  <a:lnTo>
                    <a:pt x="124568" y="173365"/>
                  </a:lnTo>
                  <a:lnTo>
                    <a:pt x="0" y="339455"/>
                  </a:lnTo>
                  <a:lnTo>
                    <a:pt x="9699" y="346729"/>
                  </a:lnTo>
                  <a:lnTo>
                    <a:pt x="139722" y="173365"/>
                  </a:lnTo>
                  <a:lnTo>
                    <a:pt x="9699" y="0"/>
                  </a:lnTo>
                  <a:lnTo>
                    <a:pt x="0" y="7274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62" name="Grafik 16" descr="Kontrollkästchen aktiviert Silhouette">
            <a:extLst>
              <a:ext uri="{FF2B5EF4-FFF2-40B4-BE49-F238E27FC236}">
                <a16:creationId xmlns:a16="http://schemas.microsoft.com/office/drawing/2014/main" id="{99BC5357-3694-4072-9B09-EA3F83D79009}"/>
              </a:ext>
            </a:extLst>
          </p:cNvPr>
          <p:cNvGrpSpPr/>
          <p:nvPr/>
        </p:nvGrpSpPr>
        <p:grpSpPr>
          <a:xfrm>
            <a:off x="2240449" y="3253739"/>
            <a:ext cx="315208" cy="315208"/>
            <a:chOff x="2240449" y="3253739"/>
            <a:chExt cx="315208" cy="315208"/>
          </a:xfrm>
          <a:solidFill>
            <a:schemeClr val="tx1"/>
          </a:solidFill>
        </p:grpSpPr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07D9887E-8345-45B9-B6F8-D3185A4AD1CF}"/>
                </a:ext>
              </a:extLst>
            </p:cNvPr>
            <p:cNvSpPr/>
            <p:nvPr/>
          </p:nvSpPr>
          <p:spPr>
            <a:xfrm>
              <a:off x="2240449" y="3253739"/>
              <a:ext cx="315208" cy="315208"/>
            </a:xfrm>
            <a:custGeom>
              <a:avLst/>
              <a:gdLst>
                <a:gd name="connsiteX0" fmla="*/ 303085 w 315208"/>
                <a:gd name="connsiteY0" fmla="*/ 12123 h 315208"/>
                <a:gd name="connsiteX1" fmla="*/ 303085 w 315208"/>
                <a:gd name="connsiteY1" fmla="*/ 303085 h 315208"/>
                <a:gd name="connsiteX2" fmla="*/ 12123 w 315208"/>
                <a:gd name="connsiteY2" fmla="*/ 303085 h 315208"/>
                <a:gd name="connsiteX3" fmla="*/ 12123 w 315208"/>
                <a:gd name="connsiteY3" fmla="*/ 12123 h 315208"/>
                <a:gd name="connsiteX4" fmla="*/ 303085 w 315208"/>
                <a:gd name="connsiteY4" fmla="*/ 12123 h 315208"/>
                <a:gd name="connsiteX5" fmla="*/ 315208 w 315208"/>
                <a:gd name="connsiteY5" fmla="*/ 0 h 315208"/>
                <a:gd name="connsiteX6" fmla="*/ 0 w 315208"/>
                <a:gd name="connsiteY6" fmla="*/ 0 h 315208"/>
                <a:gd name="connsiteX7" fmla="*/ 0 w 315208"/>
                <a:gd name="connsiteY7" fmla="*/ 315208 h 315208"/>
                <a:gd name="connsiteX8" fmla="*/ 315208 w 315208"/>
                <a:gd name="connsiteY8" fmla="*/ 315208 h 315208"/>
                <a:gd name="connsiteX9" fmla="*/ 315208 w 315208"/>
                <a:gd name="connsiteY9" fmla="*/ 0 h 315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5208" h="315208">
                  <a:moveTo>
                    <a:pt x="303085" y="12123"/>
                  </a:moveTo>
                  <a:lnTo>
                    <a:pt x="303085" y="303085"/>
                  </a:lnTo>
                  <a:lnTo>
                    <a:pt x="12123" y="303085"/>
                  </a:lnTo>
                  <a:lnTo>
                    <a:pt x="12123" y="12123"/>
                  </a:lnTo>
                  <a:lnTo>
                    <a:pt x="303085" y="12123"/>
                  </a:lnTo>
                  <a:moveTo>
                    <a:pt x="315208" y="0"/>
                  </a:moveTo>
                  <a:lnTo>
                    <a:pt x="0" y="0"/>
                  </a:lnTo>
                  <a:lnTo>
                    <a:pt x="0" y="315208"/>
                  </a:lnTo>
                  <a:lnTo>
                    <a:pt x="315208" y="315208"/>
                  </a:lnTo>
                  <a:lnTo>
                    <a:pt x="315208" y="0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ihandform: Form 63">
              <a:extLst>
                <a:ext uri="{FF2B5EF4-FFF2-40B4-BE49-F238E27FC236}">
                  <a16:creationId xmlns:a16="http://schemas.microsoft.com/office/drawing/2014/main" id="{04632774-924C-4AED-BB1A-6D476A1FBE4C}"/>
                </a:ext>
              </a:extLst>
            </p:cNvPr>
            <p:cNvSpPr/>
            <p:nvPr/>
          </p:nvSpPr>
          <p:spPr>
            <a:xfrm>
              <a:off x="2290719" y="3328255"/>
              <a:ext cx="214668" cy="155306"/>
            </a:xfrm>
            <a:custGeom>
              <a:avLst/>
              <a:gdLst>
                <a:gd name="connsiteX0" fmla="*/ 67933 w 214668"/>
                <a:gd name="connsiteY0" fmla="*/ 155307 h 155306"/>
                <a:gd name="connsiteX1" fmla="*/ 0 w 214668"/>
                <a:gd name="connsiteY1" fmla="*/ 87373 h 155306"/>
                <a:gd name="connsiteX2" fmla="*/ 8571 w 214668"/>
                <a:gd name="connsiteY2" fmla="*/ 78802 h 155306"/>
                <a:gd name="connsiteX3" fmla="*/ 67933 w 214668"/>
                <a:gd name="connsiteY3" fmla="*/ 138164 h 155306"/>
                <a:gd name="connsiteX4" fmla="*/ 206098 w 214668"/>
                <a:gd name="connsiteY4" fmla="*/ 0 h 155306"/>
                <a:gd name="connsiteX5" fmla="*/ 214669 w 214668"/>
                <a:gd name="connsiteY5" fmla="*/ 8571 h 155306"/>
                <a:gd name="connsiteX6" fmla="*/ 67933 w 214668"/>
                <a:gd name="connsiteY6" fmla="*/ 155307 h 155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668" h="155306">
                  <a:moveTo>
                    <a:pt x="67933" y="155307"/>
                  </a:moveTo>
                  <a:lnTo>
                    <a:pt x="0" y="87373"/>
                  </a:lnTo>
                  <a:lnTo>
                    <a:pt x="8571" y="78802"/>
                  </a:lnTo>
                  <a:lnTo>
                    <a:pt x="67933" y="138164"/>
                  </a:lnTo>
                  <a:lnTo>
                    <a:pt x="206098" y="0"/>
                  </a:lnTo>
                  <a:lnTo>
                    <a:pt x="214669" y="8571"/>
                  </a:lnTo>
                  <a:lnTo>
                    <a:pt x="67933" y="155307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65" name="Grafik 17" descr="Kontrollkästchen angekreuzt Silhouette">
            <a:extLst>
              <a:ext uri="{FF2B5EF4-FFF2-40B4-BE49-F238E27FC236}">
                <a16:creationId xmlns:a16="http://schemas.microsoft.com/office/drawing/2014/main" id="{E638576B-375A-4F2E-959B-E81E6654B804}"/>
              </a:ext>
            </a:extLst>
          </p:cNvPr>
          <p:cNvGrpSpPr/>
          <p:nvPr/>
        </p:nvGrpSpPr>
        <p:grpSpPr>
          <a:xfrm>
            <a:off x="3149827" y="3253739"/>
            <a:ext cx="315208" cy="315208"/>
            <a:chOff x="3149827" y="3253739"/>
            <a:chExt cx="315208" cy="315208"/>
          </a:xfrm>
          <a:solidFill>
            <a:schemeClr val="tx1"/>
          </a:solidFill>
        </p:grpSpPr>
        <p:sp>
          <p:nvSpPr>
            <p:cNvPr id="66" name="Freihandform: Form 65">
              <a:extLst>
                <a:ext uri="{FF2B5EF4-FFF2-40B4-BE49-F238E27FC236}">
                  <a16:creationId xmlns:a16="http://schemas.microsoft.com/office/drawing/2014/main" id="{A8614F3F-AA36-4ACC-BE84-CFA03E294877}"/>
                </a:ext>
              </a:extLst>
            </p:cNvPr>
            <p:cNvSpPr/>
            <p:nvPr/>
          </p:nvSpPr>
          <p:spPr>
            <a:xfrm>
              <a:off x="3149827" y="3253739"/>
              <a:ext cx="315208" cy="315208"/>
            </a:xfrm>
            <a:custGeom>
              <a:avLst/>
              <a:gdLst>
                <a:gd name="connsiteX0" fmla="*/ 315208 w 315208"/>
                <a:gd name="connsiteY0" fmla="*/ 0 h 315208"/>
                <a:gd name="connsiteX1" fmla="*/ 0 w 315208"/>
                <a:gd name="connsiteY1" fmla="*/ 0 h 315208"/>
                <a:gd name="connsiteX2" fmla="*/ 0 w 315208"/>
                <a:gd name="connsiteY2" fmla="*/ 315208 h 315208"/>
                <a:gd name="connsiteX3" fmla="*/ 315208 w 315208"/>
                <a:gd name="connsiteY3" fmla="*/ 315208 h 315208"/>
                <a:gd name="connsiteX4" fmla="*/ 303085 w 315208"/>
                <a:gd name="connsiteY4" fmla="*/ 303085 h 315208"/>
                <a:gd name="connsiteX5" fmla="*/ 12123 w 315208"/>
                <a:gd name="connsiteY5" fmla="*/ 303085 h 315208"/>
                <a:gd name="connsiteX6" fmla="*/ 12123 w 315208"/>
                <a:gd name="connsiteY6" fmla="*/ 12123 h 315208"/>
                <a:gd name="connsiteX7" fmla="*/ 303085 w 315208"/>
                <a:gd name="connsiteY7" fmla="*/ 12123 h 315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5208" h="315208">
                  <a:moveTo>
                    <a:pt x="315208" y="0"/>
                  </a:moveTo>
                  <a:lnTo>
                    <a:pt x="0" y="0"/>
                  </a:lnTo>
                  <a:lnTo>
                    <a:pt x="0" y="315208"/>
                  </a:lnTo>
                  <a:lnTo>
                    <a:pt x="315208" y="315208"/>
                  </a:lnTo>
                  <a:close/>
                  <a:moveTo>
                    <a:pt x="303085" y="303085"/>
                  </a:moveTo>
                  <a:lnTo>
                    <a:pt x="12123" y="303085"/>
                  </a:lnTo>
                  <a:lnTo>
                    <a:pt x="12123" y="12123"/>
                  </a:lnTo>
                  <a:lnTo>
                    <a:pt x="303085" y="12123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ihandform: Form 66">
              <a:extLst>
                <a:ext uri="{FF2B5EF4-FFF2-40B4-BE49-F238E27FC236}">
                  <a16:creationId xmlns:a16="http://schemas.microsoft.com/office/drawing/2014/main" id="{AC668CE5-B126-46A2-B4CE-A6FFE50323D2}"/>
                </a:ext>
              </a:extLst>
            </p:cNvPr>
            <p:cNvSpPr/>
            <p:nvPr/>
          </p:nvSpPr>
          <p:spPr>
            <a:xfrm>
              <a:off x="3221312" y="3325224"/>
              <a:ext cx="169206" cy="169206"/>
            </a:xfrm>
            <a:custGeom>
              <a:avLst/>
              <a:gdLst>
                <a:gd name="connsiteX0" fmla="*/ 8571 w 169206"/>
                <a:gd name="connsiteY0" fmla="*/ 169206 h 169206"/>
                <a:gd name="connsiteX1" fmla="*/ 84603 w 169206"/>
                <a:gd name="connsiteY1" fmla="*/ 93174 h 169206"/>
                <a:gd name="connsiteX2" fmla="*/ 160635 w 169206"/>
                <a:gd name="connsiteY2" fmla="*/ 169206 h 169206"/>
                <a:gd name="connsiteX3" fmla="*/ 169206 w 169206"/>
                <a:gd name="connsiteY3" fmla="*/ 160635 h 169206"/>
                <a:gd name="connsiteX4" fmla="*/ 93174 w 169206"/>
                <a:gd name="connsiteY4" fmla="*/ 84603 h 169206"/>
                <a:gd name="connsiteX5" fmla="*/ 169206 w 169206"/>
                <a:gd name="connsiteY5" fmla="*/ 8571 h 169206"/>
                <a:gd name="connsiteX6" fmla="*/ 160635 w 169206"/>
                <a:gd name="connsiteY6" fmla="*/ 0 h 169206"/>
                <a:gd name="connsiteX7" fmla="*/ 84603 w 169206"/>
                <a:gd name="connsiteY7" fmla="*/ 76032 h 169206"/>
                <a:gd name="connsiteX8" fmla="*/ 8571 w 169206"/>
                <a:gd name="connsiteY8" fmla="*/ 0 h 169206"/>
                <a:gd name="connsiteX9" fmla="*/ 0 w 169206"/>
                <a:gd name="connsiteY9" fmla="*/ 8571 h 169206"/>
                <a:gd name="connsiteX10" fmla="*/ 76032 w 169206"/>
                <a:gd name="connsiteY10" fmla="*/ 84603 h 169206"/>
                <a:gd name="connsiteX11" fmla="*/ 0 w 169206"/>
                <a:gd name="connsiteY11" fmla="*/ 160635 h 169206"/>
                <a:gd name="connsiteX12" fmla="*/ 8571 w 169206"/>
                <a:gd name="connsiteY12" fmla="*/ 169206 h 169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69206" h="169206">
                  <a:moveTo>
                    <a:pt x="8571" y="169206"/>
                  </a:moveTo>
                  <a:lnTo>
                    <a:pt x="84603" y="93174"/>
                  </a:lnTo>
                  <a:lnTo>
                    <a:pt x="160635" y="169206"/>
                  </a:lnTo>
                  <a:lnTo>
                    <a:pt x="169206" y="160635"/>
                  </a:lnTo>
                  <a:lnTo>
                    <a:pt x="93174" y="84603"/>
                  </a:lnTo>
                  <a:lnTo>
                    <a:pt x="169206" y="8571"/>
                  </a:lnTo>
                  <a:lnTo>
                    <a:pt x="160635" y="0"/>
                  </a:lnTo>
                  <a:lnTo>
                    <a:pt x="84603" y="76032"/>
                  </a:lnTo>
                  <a:lnTo>
                    <a:pt x="8571" y="0"/>
                  </a:lnTo>
                  <a:lnTo>
                    <a:pt x="0" y="8571"/>
                  </a:lnTo>
                  <a:lnTo>
                    <a:pt x="76032" y="84603"/>
                  </a:lnTo>
                  <a:lnTo>
                    <a:pt x="0" y="160635"/>
                  </a:lnTo>
                  <a:lnTo>
                    <a:pt x="8571" y="169206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73" name="Grafik 23" descr="Kreis mit Pfeil nach links Silhouette">
            <a:extLst>
              <a:ext uri="{FF2B5EF4-FFF2-40B4-BE49-F238E27FC236}">
                <a16:creationId xmlns:a16="http://schemas.microsoft.com/office/drawing/2014/main" id="{B563EB10-D8F8-4198-8365-F1C3B64A5327}"/>
              </a:ext>
            </a:extLst>
          </p:cNvPr>
          <p:cNvGrpSpPr/>
          <p:nvPr/>
        </p:nvGrpSpPr>
        <p:grpSpPr>
          <a:xfrm>
            <a:off x="1258329" y="3180998"/>
            <a:ext cx="460689" cy="460689"/>
            <a:chOff x="1258329" y="3180998"/>
            <a:chExt cx="460689" cy="460689"/>
          </a:xfrm>
          <a:solidFill>
            <a:schemeClr val="tx1"/>
          </a:solidFill>
        </p:grpSpPr>
        <p:sp>
          <p:nvSpPr>
            <p:cNvPr id="74" name="Freihandform: Form 73">
              <a:extLst>
                <a:ext uri="{FF2B5EF4-FFF2-40B4-BE49-F238E27FC236}">
                  <a16:creationId xmlns:a16="http://schemas.microsoft.com/office/drawing/2014/main" id="{4F0309B1-0AB6-4E43-A7D4-437D1E194C97}"/>
                </a:ext>
              </a:extLst>
            </p:cNvPr>
            <p:cNvSpPr/>
            <p:nvPr/>
          </p:nvSpPr>
          <p:spPr>
            <a:xfrm>
              <a:off x="1258329" y="3180998"/>
              <a:ext cx="460689" cy="460689"/>
            </a:xfrm>
            <a:custGeom>
              <a:avLst/>
              <a:gdLst>
                <a:gd name="connsiteX0" fmla="*/ 230345 w 460689"/>
                <a:gd name="connsiteY0" fmla="*/ 12123 h 460689"/>
                <a:gd name="connsiteX1" fmla="*/ 448566 w 460689"/>
                <a:gd name="connsiteY1" fmla="*/ 230345 h 460689"/>
                <a:gd name="connsiteX2" fmla="*/ 230345 w 460689"/>
                <a:gd name="connsiteY2" fmla="*/ 448566 h 460689"/>
                <a:gd name="connsiteX3" fmla="*/ 12123 w 460689"/>
                <a:gd name="connsiteY3" fmla="*/ 230345 h 460689"/>
                <a:gd name="connsiteX4" fmla="*/ 230345 w 460689"/>
                <a:gd name="connsiteY4" fmla="*/ 12123 h 460689"/>
                <a:gd name="connsiteX5" fmla="*/ 230345 w 460689"/>
                <a:gd name="connsiteY5" fmla="*/ 0 h 460689"/>
                <a:gd name="connsiteX6" fmla="*/ 0 w 460689"/>
                <a:gd name="connsiteY6" fmla="*/ 230345 h 460689"/>
                <a:gd name="connsiteX7" fmla="*/ 230345 w 460689"/>
                <a:gd name="connsiteY7" fmla="*/ 460689 h 460689"/>
                <a:gd name="connsiteX8" fmla="*/ 460689 w 460689"/>
                <a:gd name="connsiteY8" fmla="*/ 230345 h 460689"/>
                <a:gd name="connsiteX9" fmla="*/ 230345 w 460689"/>
                <a:gd name="connsiteY9" fmla="*/ 0 h 460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0689" h="460689">
                  <a:moveTo>
                    <a:pt x="230345" y="12123"/>
                  </a:moveTo>
                  <a:cubicBezTo>
                    <a:pt x="350864" y="12123"/>
                    <a:pt x="448566" y="109824"/>
                    <a:pt x="448566" y="230345"/>
                  </a:cubicBezTo>
                  <a:cubicBezTo>
                    <a:pt x="448566" y="350864"/>
                    <a:pt x="350864" y="448566"/>
                    <a:pt x="230345" y="448566"/>
                  </a:cubicBezTo>
                  <a:cubicBezTo>
                    <a:pt x="109824" y="448566"/>
                    <a:pt x="12123" y="350864"/>
                    <a:pt x="12123" y="230345"/>
                  </a:cubicBezTo>
                  <a:cubicBezTo>
                    <a:pt x="12250" y="109877"/>
                    <a:pt x="109877" y="12250"/>
                    <a:pt x="230345" y="12123"/>
                  </a:cubicBezTo>
                  <a:moveTo>
                    <a:pt x="230345" y="0"/>
                  </a:moveTo>
                  <a:cubicBezTo>
                    <a:pt x="103129" y="0"/>
                    <a:pt x="0" y="103129"/>
                    <a:pt x="0" y="230345"/>
                  </a:cubicBezTo>
                  <a:cubicBezTo>
                    <a:pt x="0" y="357560"/>
                    <a:pt x="103129" y="460689"/>
                    <a:pt x="230345" y="460689"/>
                  </a:cubicBezTo>
                  <a:cubicBezTo>
                    <a:pt x="357560" y="460689"/>
                    <a:pt x="460689" y="357560"/>
                    <a:pt x="460689" y="230345"/>
                  </a:cubicBezTo>
                  <a:cubicBezTo>
                    <a:pt x="460689" y="103129"/>
                    <a:pt x="357560" y="0"/>
                    <a:pt x="230345" y="0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ihandform: Form 74">
              <a:extLst>
                <a:ext uri="{FF2B5EF4-FFF2-40B4-BE49-F238E27FC236}">
                  <a16:creationId xmlns:a16="http://schemas.microsoft.com/office/drawing/2014/main" id="{3995929E-4DF1-4C0E-A46C-6510BBF93747}"/>
                </a:ext>
              </a:extLst>
            </p:cNvPr>
            <p:cNvSpPr/>
            <p:nvPr/>
          </p:nvSpPr>
          <p:spPr>
            <a:xfrm>
              <a:off x="1333094" y="3314430"/>
              <a:ext cx="307126" cy="193974"/>
            </a:xfrm>
            <a:custGeom>
              <a:avLst/>
              <a:gdLst>
                <a:gd name="connsiteX0" fmla="*/ 305352 w 307126"/>
                <a:gd name="connsiteY0" fmla="*/ 92627 h 193974"/>
                <a:gd name="connsiteX1" fmla="*/ 214427 w 307126"/>
                <a:gd name="connsiteY1" fmla="*/ 1702 h 193974"/>
                <a:gd name="connsiteX2" fmla="*/ 205855 w 307126"/>
                <a:gd name="connsiteY2" fmla="*/ 1851 h 193974"/>
                <a:gd name="connsiteX3" fmla="*/ 205855 w 307126"/>
                <a:gd name="connsiteY3" fmla="*/ 10273 h 193974"/>
                <a:gd name="connsiteX4" fmla="*/ 286330 w 307126"/>
                <a:gd name="connsiteY4" fmla="*/ 90748 h 193974"/>
                <a:gd name="connsiteX5" fmla="*/ 286288 w 307126"/>
                <a:gd name="connsiteY5" fmla="*/ 90851 h 193974"/>
                <a:gd name="connsiteX6" fmla="*/ 6062 w 307126"/>
                <a:gd name="connsiteY6" fmla="*/ 90851 h 193974"/>
                <a:gd name="connsiteX7" fmla="*/ 0 w 307126"/>
                <a:gd name="connsiteY7" fmla="*/ 96913 h 193974"/>
                <a:gd name="connsiteX8" fmla="*/ 6062 w 307126"/>
                <a:gd name="connsiteY8" fmla="*/ 102974 h 193974"/>
                <a:gd name="connsiteX9" fmla="*/ 286288 w 307126"/>
                <a:gd name="connsiteY9" fmla="*/ 102974 h 193974"/>
                <a:gd name="connsiteX10" fmla="*/ 286348 w 307126"/>
                <a:gd name="connsiteY10" fmla="*/ 103036 h 193974"/>
                <a:gd name="connsiteX11" fmla="*/ 286330 w 307126"/>
                <a:gd name="connsiteY11" fmla="*/ 103078 h 193974"/>
                <a:gd name="connsiteX12" fmla="*/ 205855 w 307126"/>
                <a:gd name="connsiteY12" fmla="*/ 183553 h 193974"/>
                <a:gd name="connsiteX13" fmla="*/ 205706 w 307126"/>
                <a:gd name="connsiteY13" fmla="*/ 192124 h 193974"/>
                <a:gd name="connsiteX14" fmla="*/ 214277 w 307126"/>
                <a:gd name="connsiteY14" fmla="*/ 192273 h 193974"/>
                <a:gd name="connsiteX15" fmla="*/ 214427 w 307126"/>
                <a:gd name="connsiteY15" fmla="*/ 192124 h 193974"/>
                <a:gd name="connsiteX16" fmla="*/ 305352 w 307126"/>
                <a:gd name="connsiteY16" fmla="*/ 101198 h 193974"/>
                <a:gd name="connsiteX17" fmla="*/ 305352 w 307126"/>
                <a:gd name="connsiteY17" fmla="*/ 92627 h 193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7126" h="193974">
                  <a:moveTo>
                    <a:pt x="305352" y="92627"/>
                  </a:moveTo>
                  <a:lnTo>
                    <a:pt x="214427" y="1702"/>
                  </a:lnTo>
                  <a:cubicBezTo>
                    <a:pt x="212018" y="-624"/>
                    <a:pt x="208181" y="-558"/>
                    <a:pt x="205855" y="1851"/>
                  </a:cubicBezTo>
                  <a:cubicBezTo>
                    <a:pt x="203586" y="4200"/>
                    <a:pt x="203586" y="7924"/>
                    <a:pt x="205855" y="10273"/>
                  </a:cubicBezTo>
                  <a:lnTo>
                    <a:pt x="286330" y="90748"/>
                  </a:lnTo>
                  <a:cubicBezTo>
                    <a:pt x="286385" y="90803"/>
                    <a:pt x="286367" y="90851"/>
                    <a:pt x="286288" y="90851"/>
                  </a:cubicBezTo>
                  <a:lnTo>
                    <a:pt x="6062" y="90851"/>
                  </a:lnTo>
                  <a:cubicBezTo>
                    <a:pt x="2714" y="90851"/>
                    <a:pt x="0" y="93565"/>
                    <a:pt x="0" y="96913"/>
                  </a:cubicBezTo>
                  <a:cubicBezTo>
                    <a:pt x="0" y="100261"/>
                    <a:pt x="2714" y="102974"/>
                    <a:pt x="6062" y="102974"/>
                  </a:cubicBezTo>
                  <a:lnTo>
                    <a:pt x="286288" y="102974"/>
                  </a:lnTo>
                  <a:cubicBezTo>
                    <a:pt x="286321" y="102975"/>
                    <a:pt x="286348" y="103002"/>
                    <a:pt x="286348" y="103036"/>
                  </a:cubicBezTo>
                  <a:cubicBezTo>
                    <a:pt x="286347" y="103051"/>
                    <a:pt x="286341" y="103067"/>
                    <a:pt x="286330" y="103078"/>
                  </a:cubicBezTo>
                  <a:lnTo>
                    <a:pt x="205855" y="183553"/>
                  </a:lnTo>
                  <a:cubicBezTo>
                    <a:pt x="203447" y="185879"/>
                    <a:pt x="203380" y="189716"/>
                    <a:pt x="205706" y="192124"/>
                  </a:cubicBezTo>
                  <a:cubicBezTo>
                    <a:pt x="208032" y="194532"/>
                    <a:pt x="211870" y="194599"/>
                    <a:pt x="214277" y="192273"/>
                  </a:cubicBezTo>
                  <a:cubicBezTo>
                    <a:pt x="214328" y="192224"/>
                    <a:pt x="214378" y="192174"/>
                    <a:pt x="214427" y="192124"/>
                  </a:cubicBezTo>
                  <a:lnTo>
                    <a:pt x="305352" y="101198"/>
                  </a:lnTo>
                  <a:cubicBezTo>
                    <a:pt x="307718" y="98831"/>
                    <a:pt x="307718" y="94994"/>
                    <a:pt x="305352" y="92627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77" name="Grafik 25" descr="Monitor Silhouette">
            <a:extLst>
              <a:ext uri="{FF2B5EF4-FFF2-40B4-BE49-F238E27FC236}">
                <a16:creationId xmlns:a16="http://schemas.microsoft.com/office/drawing/2014/main" id="{6BDAC9DC-EC72-4BAC-9DD6-A025F272886A}"/>
              </a:ext>
            </a:extLst>
          </p:cNvPr>
          <p:cNvGrpSpPr/>
          <p:nvPr/>
        </p:nvGrpSpPr>
        <p:grpSpPr>
          <a:xfrm>
            <a:off x="8565465" y="4170278"/>
            <a:ext cx="484935" cy="412286"/>
            <a:chOff x="8565465" y="4170278"/>
            <a:chExt cx="484935" cy="412286"/>
          </a:xfrm>
          <a:solidFill>
            <a:schemeClr val="tx1"/>
          </a:solidFill>
        </p:grpSpPr>
        <p:sp>
          <p:nvSpPr>
            <p:cNvPr id="78" name="Freihandform: Form 77">
              <a:extLst>
                <a:ext uri="{FF2B5EF4-FFF2-40B4-BE49-F238E27FC236}">
                  <a16:creationId xmlns:a16="http://schemas.microsoft.com/office/drawing/2014/main" id="{3FC3D332-8FD8-48A4-B992-5386FDEAECBE}"/>
                </a:ext>
              </a:extLst>
            </p:cNvPr>
            <p:cNvSpPr/>
            <p:nvPr/>
          </p:nvSpPr>
          <p:spPr>
            <a:xfrm>
              <a:off x="8565465" y="4170278"/>
              <a:ext cx="484935" cy="412286"/>
            </a:xfrm>
            <a:custGeom>
              <a:avLst/>
              <a:gdLst>
                <a:gd name="connsiteX0" fmla="*/ 460689 w 484935"/>
                <a:gd name="connsiteY0" fmla="*/ 0 h 412286"/>
                <a:gd name="connsiteX1" fmla="*/ 24247 w 484935"/>
                <a:gd name="connsiteY1" fmla="*/ 0 h 412286"/>
                <a:gd name="connsiteX2" fmla="*/ 0 w 484935"/>
                <a:gd name="connsiteY2" fmla="*/ 24247 h 412286"/>
                <a:gd name="connsiteX3" fmla="*/ 0 w 484935"/>
                <a:gd name="connsiteY3" fmla="*/ 315299 h 412286"/>
                <a:gd name="connsiteX4" fmla="*/ 24247 w 484935"/>
                <a:gd name="connsiteY4" fmla="*/ 339546 h 412286"/>
                <a:gd name="connsiteX5" fmla="*/ 200036 w 484935"/>
                <a:gd name="connsiteY5" fmla="*/ 339546 h 412286"/>
                <a:gd name="connsiteX6" fmla="*/ 200036 w 484935"/>
                <a:gd name="connsiteY6" fmla="*/ 400163 h 412286"/>
                <a:gd name="connsiteX7" fmla="*/ 133357 w 484935"/>
                <a:gd name="connsiteY7" fmla="*/ 400163 h 412286"/>
                <a:gd name="connsiteX8" fmla="*/ 133357 w 484935"/>
                <a:gd name="connsiteY8" fmla="*/ 412286 h 412286"/>
                <a:gd name="connsiteX9" fmla="*/ 351578 w 484935"/>
                <a:gd name="connsiteY9" fmla="*/ 412286 h 412286"/>
                <a:gd name="connsiteX10" fmla="*/ 351578 w 484935"/>
                <a:gd name="connsiteY10" fmla="*/ 400163 h 412286"/>
                <a:gd name="connsiteX11" fmla="*/ 284900 w 484935"/>
                <a:gd name="connsiteY11" fmla="*/ 400163 h 412286"/>
                <a:gd name="connsiteX12" fmla="*/ 284900 w 484935"/>
                <a:gd name="connsiteY12" fmla="*/ 339546 h 412286"/>
                <a:gd name="connsiteX13" fmla="*/ 460689 w 484935"/>
                <a:gd name="connsiteY13" fmla="*/ 339546 h 412286"/>
                <a:gd name="connsiteX14" fmla="*/ 484936 w 484935"/>
                <a:gd name="connsiteY14" fmla="*/ 315299 h 412286"/>
                <a:gd name="connsiteX15" fmla="*/ 484936 w 484935"/>
                <a:gd name="connsiteY15" fmla="*/ 24247 h 412286"/>
                <a:gd name="connsiteX16" fmla="*/ 460689 w 484935"/>
                <a:gd name="connsiteY16" fmla="*/ 0 h 412286"/>
                <a:gd name="connsiteX17" fmla="*/ 272776 w 484935"/>
                <a:gd name="connsiteY17" fmla="*/ 400187 h 412286"/>
                <a:gd name="connsiteX18" fmla="*/ 212159 w 484935"/>
                <a:gd name="connsiteY18" fmla="*/ 400187 h 412286"/>
                <a:gd name="connsiteX19" fmla="*/ 212159 w 484935"/>
                <a:gd name="connsiteY19" fmla="*/ 339570 h 412286"/>
                <a:gd name="connsiteX20" fmla="*/ 272776 w 484935"/>
                <a:gd name="connsiteY20" fmla="*/ 339570 h 412286"/>
                <a:gd name="connsiteX21" fmla="*/ 472812 w 484935"/>
                <a:gd name="connsiteY21" fmla="*/ 315323 h 412286"/>
                <a:gd name="connsiteX22" fmla="*/ 460689 w 484935"/>
                <a:gd name="connsiteY22" fmla="*/ 327447 h 412286"/>
                <a:gd name="connsiteX23" fmla="*/ 24247 w 484935"/>
                <a:gd name="connsiteY23" fmla="*/ 327447 h 412286"/>
                <a:gd name="connsiteX24" fmla="*/ 12123 w 484935"/>
                <a:gd name="connsiteY24" fmla="*/ 315323 h 412286"/>
                <a:gd name="connsiteX25" fmla="*/ 12123 w 484935"/>
                <a:gd name="connsiteY25" fmla="*/ 24247 h 412286"/>
                <a:gd name="connsiteX26" fmla="*/ 24247 w 484935"/>
                <a:gd name="connsiteY26" fmla="*/ 12123 h 412286"/>
                <a:gd name="connsiteX27" fmla="*/ 460689 w 484935"/>
                <a:gd name="connsiteY27" fmla="*/ 12123 h 412286"/>
                <a:gd name="connsiteX28" fmla="*/ 472812 w 484935"/>
                <a:gd name="connsiteY28" fmla="*/ 24247 h 412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84935" h="412286">
                  <a:moveTo>
                    <a:pt x="460689" y="0"/>
                  </a:moveTo>
                  <a:lnTo>
                    <a:pt x="24247" y="0"/>
                  </a:lnTo>
                  <a:cubicBezTo>
                    <a:pt x="10872" y="40"/>
                    <a:pt x="40" y="10872"/>
                    <a:pt x="0" y="24247"/>
                  </a:cubicBezTo>
                  <a:lnTo>
                    <a:pt x="0" y="315299"/>
                  </a:lnTo>
                  <a:cubicBezTo>
                    <a:pt x="43" y="328673"/>
                    <a:pt x="10874" y="339503"/>
                    <a:pt x="24247" y="339546"/>
                  </a:cubicBezTo>
                  <a:lnTo>
                    <a:pt x="200036" y="339546"/>
                  </a:lnTo>
                  <a:lnTo>
                    <a:pt x="200036" y="400163"/>
                  </a:lnTo>
                  <a:lnTo>
                    <a:pt x="133357" y="400163"/>
                  </a:lnTo>
                  <a:lnTo>
                    <a:pt x="133357" y="412286"/>
                  </a:lnTo>
                  <a:lnTo>
                    <a:pt x="351578" y="412286"/>
                  </a:lnTo>
                  <a:lnTo>
                    <a:pt x="351578" y="400163"/>
                  </a:lnTo>
                  <a:lnTo>
                    <a:pt x="284900" y="400163"/>
                  </a:lnTo>
                  <a:lnTo>
                    <a:pt x="284900" y="339546"/>
                  </a:lnTo>
                  <a:lnTo>
                    <a:pt x="460689" y="339546"/>
                  </a:lnTo>
                  <a:cubicBezTo>
                    <a:pt x="474062" y="339503"/>
                    <a:pt x="484893" y="328673"/>
                    <a:pt x="484936" y="315299"/>
                  </a:cubicBezTo>
                  <a:lnTo>
                    <a:pt x="484936" y="24247"/>
                  </a:lnTo>
                  <a:cubicBezTo>
                    <a:pt x="484896" y="10872"/>
                    <a:pt x="474064" y="40"/>
                    <a:pt x="460689" y="0"/>
                  </a:cubicBezTo>
                  <a:close/>
                  <a:moveTo>
                    <a:pt x="272776" y="400187"/>
                  </a:moveTo>
                  <a:lnTo>
                    <a:pt x="212159" y="400187"/>
                  </a:lnTo>
                  <a:lnTo>
                    <a:pt x="212159" y="339570"/>
                  </a:lnTo>
                  <a:lnTo>
                    <a:pt x="272776" y="339570"/>
                  </a:lnTo>
                  <a:close/>
                  <a:moveTo>
                    <a:pt x="472812" y="315323"/>
                  </a:moveTo>
                  <a:cubicBezTo>
                    <a:pt x="472812" y="322019"/>
                    <a:pt x="467385" y="327447"/>
                    <a:pt x="460689" y="327447"/>
                  </a:cubicBezTo>
                  <a:lnTo>
                    <a:pt x="24247" y="327447"/>
                  </a:lnTo>
                  <a:cubicBezTo>
                    <a:pt x="17551" y="327447"/>
                    <a:pt x="12123" y="322019"/>
                    <a:pt x="12123" y="315323"/>
                  </a:cubicBezTo>
                  <a:lnTo>
                    <a:pt x="12123" y="24247"/>
                  </a:lnTo>
                  <a:cubicBezTo>
                    <a:pt x="12123" y="17551"/>
                    <a:pt x="17551" y="12123"/>
                    <a:pt x="24247" y="12123"/>
                  </a:cubicBezTo>
                  <a:lnTo>
                    <a:pt x="460689" y="12123"/>
                  </a:lnTo>
                  <a:cubicBezTo>
                    <a:pt x="467385" y="12123"/>
                    <a:pt x="472812" y="17551"/>
                    <a:pt x="472812" y="24247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" name="Freihandform: Form 78">
              <a:extLst>
                <a:ext uri="{FF2B5EF4-FFF2-40B4-BE49-F238E27FC236}">
                  <a16:creationId xmlns:a16="http://schemas.microsoft.com/office/drawing/2014/main" id="{0A7E821A-2967-47AF-A817-F7360ECC5FBD}"/>
                </a:ext>
              </a:extLst>
            </p:cNvPr>
            <p:cNvSpPr/>
            <p:nvPr/>
          </p:nvSpPr>
          <p:spPr>
            <a:xfrm>
              <a:off x="8595774" y="4200587"/>
              <a:ext cx="424318" cy="278922"/>
            </a:xfrm>
            <a:custGeom>
              <a:avLst/>
              <a:gdLst>
                <a:gd name="connsiteX0" fmla="*/ 12123 w 424318"/>
                <a:gd name="connsiteY0" fmla="*/ 0 h 278922"/>
                <a:gd name="connsiteX1" fmla="*/ 0 w 424318"/>
                <a:gd name="connsiteY1" fmla="*/ 0 h 278922"/>
                <a:gd name="connsiteX2" fmla="*/ 0 w 424318"/>
                <a:gd name="connsiteY2" fmla="*/ 278923 h 278922"/>
                <a:gd name="connsiteX3" fmla="*/ 424319 w 424318"/>
                <a:gd name="connsiteY3" fmla="*/ 278923 h 278922"/>
                <a:gd name="connsiteX4" fmla="*/ 424319 w 424318"/>
                <a:gd name="connsiteY4" fmla="*/ 0 h 278922"/>
                <a:gd name="connsiteX5" fmla="*/ 12123 w 424318"/>
                <a:gd name="connsiteY5" fmla="*/ 0 h 278922"/>
                <a:gd name="connsiteX6" fmla="*/ 412195 w 424318"/>
                <a:gd name="connsiteY6" fmla="*/ 266800 h 278922"/>
                <a:gd name="connsiteX7" fmla="*/ 12123 w 424318"/>
                <a:gd name="connsiteY7" fmla="*/ 266800 h 278922"/>
                <a:gd name="connsiteX8" fmla="*/ 12123 w 424318"/>
                <a:gd name="connsiteY8" fmla="*/ 12123 h 278922"/>
                <a:gd name="connsiteX9" fmla="*/ 412195 w 424318"/>
                <a:gd name="connsiteY9" fmla="*/ 12123 h 278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4318" h="278922">
                  <a:moveTo>
                    <a:pt x="12123" y="0"/>
                  </a:moveTo>
                  <a:lnTo>
                    <a:pt x="0" y="0"/>
                  </a:lnTo>
                  <a:lnTo>
                    <a:pt x="0" y="278923"/>
                  </a:lnTo>
                  <a:lnTo>
                    <a:pt x="424319" y="278923"/>
                  </a:lnTo>
                  <a:lnTo>
                    <a:pt x="424319" y="0"/>
                  </a:lnTo>
                  <a:lnTo>
                    <a:pt x="12123" y="0"/>
                  </a:lnTo>
                  <a:close/>
                  <a:moveTo>
                    <a:pt x="412195" y="266800"/>
                  </a:moveTo>
                  <a:lnTo>
                    <a:pt x="12123" y="266800"/>
                  </a:lnTo>
                  <a:lnTo>
                    <a:pt x="12123" y="12123"/>
                  </a:lnTo>
                  <a:lnTo>
                    <a:pt x="412195" y="12123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80" name="Grafik 26" descr="Drucker Silhouette">
            <a:extLst>
              <a:ext uri="{FF2B5EF4-FFF2-40B4-BE49-F238E27FC236}">
                <a16:creationId xmlns:a16="http://schemas.microsoft.com/office/drawing/2014/main" id="{778B73E2-BACD-40EB-8358-ADF52ABFC233}"/>
              </a:ext>
            </a:extLst>
          </p:cNvPr>
          <p:cNvGrpSpPr/>
          <p:nvPr/>
        </p:nvGrpSpPr>
        <p:grpSpPr>
          <a:xfrm>
            <a:off x="10366090" y="4136939"/>
            <a:ext cx="533429" cy="484935"/>
            <a:chOff x="10366090" y="4136939"/>
            <a:chExt cx="533429" cy="484935"/>
          </a:xfrm>
          <a:solidFill>
            <a:schemeClr val="tx1"/>
          </a:solidFill>
        </p:grpSpPr>
        <p:sp>
          <p:nvSpPr>
            <p:cNvPr id="81" name="Freihandform: Form 80">
              <a:extLst>
                <a:ext uri="{FF2B5EF4-FFF2-40B4-BE49-F238E27FC236}">
                  <a16:creationId xmlns:a16="http://schemas.microsoft.com/office/drawing/2014/main" id="{F1E87612-B4EA-4435-B07F-7A386348B4A3}"/>
                </a:ext>
              </a:extLst>
            </p:cNvPr>
            <p:cNvSpPr/>
            <p:nvPr/>
          </p:nvSpPr>
          <p:spPr>
            <a:xfrm>
              <a:off x="10366090" y="4136939"/>
              <a:ext cx="533429" cy="484935"/>
            </a:xfrm>
            <a:custGeom>
              <a:avLst/>
              <a:gdLst>
                <a:gd name="connsiteX0" fmla="*/ 504224 w 533429"/>
                <a:gd name="connsiteY0" fmla="*/ 128399 h 484935"/>
                <a:gd name="connsiteX1" fmla="*/ 400072 w 533429"/>
                <a:gd name="connsiteY1" fmla="*/ 128399 h 484935"/>
                <a:gd name="connsiteX2" fmla="*/ 400072 w 533429"/>
                <a:gd name="connsiteY2" fmla="*/ 88392 h 484935"/>
                <a:gd name="connsiteX3" fmla="*/ 311656 w 533429"/>
                <a:gd name="connsiteY3" fmla="*/ 0 h 484935"/>
                <a:gd name="connsiteX4" fmla="*/ 133357 w 533429"/>
                <a:gd name="connsiteY4" fmla="*/ 0 h 484935"/>
                <a:gd name="connsiteX5" fmla="*/ 133357 w 533429"/>
                <a:gd name="connsiteY5" fmla="*/ 128399 h 484935"/>
                <a:gd name="connsiteX6" fmla="*/ 29205 w 533429"/>
                <a:gd name="connsiteY6" fmla="*/ 128399 h 484935"/>
                <a:gd name="connsiteX7" fmla="*/ 0 w 533429"/>
                <a:gd name="connsiteY7" fmla="*/ 157604 h 484935"/>
                <a:gd name="connsiteX8" fmla="*/ 0 w 533429"/>
                <a:gd name="connsiteY8" fmla="*/ 352682 h 484935"/>
                <a:gd name="connsiteX9" fmla="*/ 29205 w 533429"/>
                <a:gd name="connsiteY9" fmla="*/ 381887 h 484935"/>
                <a:gd name="connsiteX10" fmla="*/ 133357 w 533429"/>
                <a:gd name="connsiteY10" fmla="*/ 381887 h 484935"/>
                <a:gd name="connsiteX11" fmla="*/ 133357 w 533429"/>
                <a:gd name="connsiteY11" fmla="*/ 484936 h 484935"/>
                <a:gd name="connsiteX12" fmla="*/ 400072 w 533429"/>
                <a:gd name="connsiteY12" fmla="*/ 484936 h 484935"/>
                <a:gd name="connsiteX13" fmla="*/ 400072 w 533429"/>
                <a:gd name="connsiteY13" fmla="*/ 381887 h 484935"/>
                <a:gd name="connsiteX14" fmla="*/ 504224 w 533429"/>
                <a:gd name="connsiteY14" fmla="*/ 381887 h 484935"/>
                <a:gd name="connsiteX15" fmla="*/ 533429 w 533429"/>
                <a:gd name="connsiteY15" fmla="*/ 352682 h 484935"/>
                <a:gd name="connsiteX16" fmla="*/ 533429 w 533429"/>
                <a:gd name="connsiteY16" fmla="*/ 157604 h 484935"/>
                <a:gd name="connsiteX17" fmla="*/ 504224 w 533429"/>
                <a:gd name="connsiteY17" fmla="*/ 128399 h 484935"/>
                <a:gd name="connsiteX18" fmla="*/ 315311 w 533429"/>
                <a:gd name="connsiteY18" fmla="*/ 20798 h 484935"/>
                <a:gd name="connsiteX19" fmla="*/ 379274 w 533429"/>
                <a:gd name="connsiteY19" fmla="*/ 84761 h 484935"/>
                <a:gd name="connsiteX20" fmla="*/ 379274 w 533429"/>
                <a:gd name="connsiteY20" fmla="*/ 84846 h 484935"/>
                <a:gd name="connsiteX21" fmla="*/ 379232 w 533429"/>
                <a:gd name="connsiteY21" fmla="*/ 84864 h 484935"/>
                <a:gd name="connsiteX22" fmla="*/ 315208 w 533429"/>
                <a:gd name="connsiteY22" fmla="*/ 84864 h 484935"/>
                <a:gd name="connsiteX23" fmla="*/ 315208 w 533429"/>
                <a:gd name="connsiteY23" fmla="*/ 20840 h 484935"/>
                <a:gd name="connsiteX24" fmla="*/ 315270 w 533429"/>
                <a:gd name="connsiteY24" fmla="*/ 20780 h 484935"/>
                <a:gd name="connsiteX25" fmla="*/ 315311 w 533429"/>
                <a:gd name="connsiteY25" fmla="*/ 20798 h 484935"/>
                <a:gd name="connsiteX26" fmla="*/ 145481 w 533429"/>
                <a:gd name="connsiteY26" fmla="*/ 12123 h 484935"/>
                <a:gd name="connsiteX27" fmla="*/ 303085 w 533429"/>
                <a:gd name="connsiteY27" fmla="*/ 12123 h 484935"/>
                <a:gd name="connsiteX28" fmla="*/ 303085 w 533429"/>
                <a:gd name="connsiteY28" fmla="*/ 96987 h 484935"/>
                <a:gd name="connsiteX29" fmla="*/ 387949 w 533429"/>
                <a:gd name="connsiteY29" fmla="*/ 96987 h 484935"/>
                <a:gd name="connsiteX30" fmla="*/ 387949 w 533429"/>
                <a:gd name="connsiteY30" fmla="*/ 181851 h 484935"/>
                <a:gd name="connsiteX31" fmla="*/ 145481 w 533429"/>
                <a:gd name="connsiteY31" fmla="*/ 181851 h 484935"/>
                <a:gd name="connsiteX32" fmla="*/ 387949 w 533429"/>
                <a:gd name="connsiteY32" fmla="*/ 472812 h 484935"/>
                <a:gd name="connsiteX33" fmla="*/ 145481 w 533429"/>
                <a:gd name="connsiteY33" fmla="*/ 472812 h 484935"/>
                <a:gd name="connsiteX34" fmla="*/ 145481 w 533429"/>
                <a:gd name="connsiteY34" fmla="*/ 303085 h 484935"/>
                <a:gd name="connsiteX35" fmla="*/ 387949 w 533429"/>
                <a:gd name="connsiteY35" fmla="*/ 303085 h 484935"/>
                <a:gd name="connsiteX36" fmla="*/ 521306 w 533429"/>
                <a:gd name="connsiteY36" fmla="*/ 352682 h 484935"/>
                <a:gd name="connsiteX37" fmla="*/ 504224 w 533429"/>
                <a:gd name="connsiteY37" fmla="*/ 369764 h 484935"/>
                <a:gd name="connsiteX38" fmla="*/ 400072 w 533429"/>
                <a:gd name="connsiteY38" fmla="*/ 369764 h 484935"/>
                <a:gd name="connsiteX39" fmla="*/ 400072 w 533429"/>
                <a:gd name="connsiteY39" fmla="*/ 290962 h 484935"/>
                <a:gd name="connsiteX40" fmla="*/ 133357 w 533429"/>
                <a:gd name="connsiteY40" fmla="*/ 290962 h 484935"/>
                <a:gd name="connsiteX41" fmla="*/ 133357 w 533429"/>
                <a:gd name="connsiteY41" fmla="*/ 369764 h 484935"/>
                <a:gd name="connsiteX42" fmla="*/ 29205 w 533429"/>
                <a:gd name="connsiteY42" fmla="*/ 369764 h 484935"/>
                <a:gd name="connsiteX43" fmla="*/ 12123 w 533429"/>
                <a:gd name="connsiteY43" fmla="*/ 352682 h 484935"/>
                <a:gd name="connsiteX44" fmla="*/ 12123 w 533429"/>
                <a:gd name="connsiteY44" fmla="*/ 157604 h 484935"/>
                <a:gd name="connsiteX45" fmla="*/ 29205 w 533429"/>
                <a:gd name="connsiteY45" fmla="*/ 140522 h 484935"/>
                <a:gd name="connsiteX46" fmla="*/ 133357 w 533429"/>
                <a:gd name="connsiteY46" fmla="*/ 140522 h 484935"/>
                <a:gd name="connsiteX47" fmla="*/ 133357 w 533429"/>
                <a:gd name="connsiteY47" fmla="*/ 193974 h 484935"/>
                <a:gd name="connsiteX48" fmla="*/ 400072 w 533429"/>
                <a:gd name="connsiteY48" fmla="*/ 193974 h 484935"/>
                <a:gd name="connsiteX49" fmla="*/ 400072 w 533429"/>
                <a:gd name="connsiteY49" fmla="*/ 140522 h 484935"/>
                <a:gd name="connsiteX50" fmla="*/ 504224 w 533429"/>
                <a:gd name="connsiteY50" fmla="*/ 140522 h 484935"/>
                <a:gd name="connsiteX51" fmla="*/ 521306 w 533429"/>
                <a:gd name="connsiteY51" fmla="*/ 157604 h 484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533429" h="484935">
                  <a:moveTo>
                    <a:pt x="504224" y="128399"/>
                  </a:moveTo>
                  <a:lnTo>
                    <a:pt x="400072" y="128399"/>
                  </a:lnTo>
                  <a:lnTo>
                    <a:pt x="400072" y="88392"/>
                  </a:lnTo>
                  <a:lnTo>
                    <a:pt x="311656" y="0"/>
                  </a:lnTo>
                  <a:lnTo>
                    <a:pt x="133357" y="0"/>
                  </a:lnTo>
                  <a:lnTo>
                    <a:pt x="133357" y="128399"/>
                  </a:lnTo>
                  <a:lnTo>
                    <a:pt x="29205" y="128399"/>
                  </a:lnTo>
                  <a:cubicBezTo>
                    <a:pt x="13076" y="128399"/>
                    <a:pt x="0" y="141475"/>
                    <a:pt x="0" y="157604"/>
                  </a:cubicBezTo>
                  <a:lnTo>
                    <a:pt x="0" y="352682"/>
                  </a:lnTo>
                  <a:cubicBezTo>
                    <a:pt x="0" y="368811"/>
                    <a:pt x="13076" y="381887"/>
                    <a:pt x="29205" y="381887"/>
                  </a:cubicBezTo>
                  <a:lnTo>
                    <a:pt x="133357" y="381887"/>
                  </a:lnTo>
                  <a:lnTo>
                    <a:pt x="133357" y="484936"/>
                  </a:lnTo>
                  <a:lnTo>
                    <a:pt x="400072" y="484936"/>
                  </a:lnTo>
                  <a:lnTo>
                    <a:pt x="400072" y="381887"/>
                  </a:lnTo>
                  <a:lnTo>
                    <a:pt x="504224" y="381887"/>
                  </a:lnTo>
                  <a:cubicBezTo>
                    <a:pt x="520354" y="381887"/>
                    <a:pt x="533429" y="368811"/>
                    <a:pt x="533429" y="352682"/>
                  </a:cubicBezTo>
                  <a:lnTo>
                    <a:pt x="533429" y="157604"/>
                  </a:lnTo>
                  <a:cubicBezTo>
                    <a:pt x="533429" y="141475"/>
                    <a:pt x="520354" y="128399"/>
                    <a:pt x="504224" y="128399"/>
                  </a:cubicBezTo>
                  <a:close/>
                  <a:moveTo>
                    <a:pt x="315311" y="20798"/>
                  </a:moveTo>
                  <a:lnTo>
                    <a:pt x="379274" y="84761"/>
                  </a:lnTo>
                  <a:cubicBezTo>
                    <a:pt x="379298" y="84784"/>
                    <a:pt x="379297" y="84823"/>
                    <a:pt x="379274" y="84846"/>
                  </a:cubicBezTo>
                  <a:cubicBezTo>
                    <a:pt x="379262" y="84857"/>
                    <a:pt x="379248" y="84864"/>
                    <a:pt x="379232" y="84864"/>
                  </a:cubicBezTo>
                  <a:lnTo>
                    <a:pt x="315208" y="84864"/>
                  </a:lnTo>
                  <a:lnTo>
                    <a:pt x="315208" y="20840"/>
                  </a:lnTo>
                  <a:cubicBezTo>
                    <a:pt x="315209" y="20807"/>
                    <a:pt x="315236" y="20780"/>
                    <a:pt x="315270" y="20780"/>
                  </a:cubicBezTo>
                  <a:cubicBezTo>
                    <a:pt x="315285" y="20781"/>
                    <a:pt x="315300" y="20787"/>
                    <a:pt x="315311" y="20798"/>
                  </a:cubicBezTo>
                  <a:close/>
                  <a:moveTo>
                    <a:pt x="145481" y="12123"/>
                  </a:moveTo>
                  <a:lnTo>
                    <a:pt x="303085" y="12123"/>
                  </a:lnTo>
                  <a:lnTo>
                    <a:pt x="303085" y="96987"/>
                  </a:lnTo>
                  <a:lnTo>
                    <a:pt x="387949" y="96987"/>
                  </a:lnTo>
                  <a:lnTo>
                    <a:pt x="387949" y="181851"/>
                  </a:lnTo>
                  <a:lnTo>
                    <a:pt x="145481" y="181851"/>
                  </a:lnTo>
                  <a:close/>
                  <a:moveTo>
                    <a:pt x="387949" y="472812"/>
                  </a:moveTo>
                  <a:lnTo>
                    <a:pt x="145481" y="472812"/>
                  </a:lnTo>
                  <a:lnTo>
                    <a:pt x="145481" y="303085"/>
                  </a:lnTo>
                  <a:lnTo>
                    <a:pt x="387949" y="303085"/>
                  </a:lnTo>
                  <a:close/>
                  <a:moveTo>
                    <a:pt x="521306" y="352682"/>
                  </a:moveTo>
                  <a:cubicBezTo>
                    <a:pt x="521306" y="362116"/>
                    <a:pt x="513658" y="369764"/>
                    <a:pt x="504224" y="369764"/>
                  </a:cubicBezTo>
                  <a:lnTo>
                    <a:pt x="400072" y="369764"/>
                  </a:lnTo>
                  <a:lnTo>
                    <a:pt x="400072" y="290962"/>
                  </a:lnTo>
                  <a:lnTo>
                    <a:pt x="133357" y="290962"/>
                  </a:lnTo>
                  <a:lnTo>
                    <a:pt x="133357" y="369764"/>
                  </a:lnTo>
                  <a:lnTo>
                    <a:pt x="29205" y="369764"/>
                  </a:lnTo>
                  <a:cubicBezTo>
                    <a:pt x="19771" y="369764"/>
                    <a:pt x="12123" y="362116"/>
                    <a:pt x="12123" y="352682"/>
                  </a:cubicBezTo>
                  <a:lnTo>
                    <a:pt x="12123" y="157604"/>
                  </a:lnTo>
                  <a:cubicBezTo>
                    <a:pt x="12123" y="148170"/>
                    <a:pt x="19771" y="140522"/>
                    <a:pt x="29205" y="140522"/>
                  </a:cubicBezTo>
                  <a:lnTo>
                    <a:pt x="133357" y="140522"/>
                  </a:lnTo>
                  <a:lnTo>
                    <a:pt x="133357" y="193974"/>
                  </a:lnTo>
                  <a:lnTo>
                    <a:pt x="400072" y="193974"/>
                  </a:lnTo>
                  <a:lnTo>
                    <a:pt x="400072" y="140522"/>
                  </a:lnTo>
                  <a:lnTo>
                    <a:pt x="504224" y="140522"/>
                  </a:lnTo>
                  <a:cubicBezTo>
                    <a:pt x="513658" y="140522"/>
                    <a:pt x="521306" y="148170"/>
                    <a:pt x="521306" y="157604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2" name="Freihandform: Form 81">
              <a:extLst>
                <a:ext uri="{FF2B5EF4-FFF2-40B4-BE49-F238E27FC236}">
                  <a16:creationId xmlns:a16="http://schemas.microsoft.com/office/drawing/2014/main" id="{3FB64CCD-577B-4400-BAA8-B5FE1A796CED}"/>
                </a:ext>
              </a:extLst>
            </p:cNvPr>
            <p:cNvSpPr/>
            <p:nvPr/>
          </p:nvSpPr>
          <p:spPr>
            <a:xfrm>
              <a:off x="10414584" y="4312728"/>
              <a:ext cx="24246" cy="24246"/>
            </a:xfrm>
            <a:custGeom>
              <a:avLst/>
              <a:gdLst>
                <a:gd name="connsiteX0" fmla="*/ 24247 w 24246"/>
                <a:gd name="connsiteY0" fmla="*/ 12123 h 24246"/>
                <a:gd name="connsiteX1" fmla="*/ 12123 w 24246"/>
                <a:gd name="connsiteY1" fmla="*/ 24247 h 24246"/>
                <a:gd name="connsiteX2" fmla="*/ 0 w 24246"/>
                <a:gd name="connsiteY2" fmla="*/ 12123 h 24246"/>
                <a:gd name="connsiteX3" fmla="*/ 12123 w 24246"/>
                <a:gd name="connsiteY3" fmla="*/ 0 h 24246"/>
                <a:gd name="connsiteX4" fmla="*/ 24247 w 24246"/>
                <a:gd name="connsiteY4" fmla="*/ 12123 h 24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46" h="24246">
                  <a:moveTo>
                    <a:pt x="24247" y="12123"/>
                  </a:moveTo>
                  <a:cubicBezTo>
                    <a:pt x="24247" y="18819"/>
                    <a:pt x="18819" y="24247"/>
                    <a:pt x="12123" y="24247"/>
                  </a:cubicBezTo>
                  <a:cubicBezTo>
                    <a:pt x="5428" y="24247"/>
                    <a:pt x="0" y="18819"/>
                    <a:pt x="0" y="12123"/>
                  </a:cubicBezTo>
                  <a:cubicBezTo>
                    <a:pt x="0" y="5428"/>
                    <a:pt x="5428" y="0"/>
                    <a:pt x="12123" y="0"/>
                  </a:cubicBezTo>
                  <a:cubicBezTo>
                    <a:pt x="18819" y="0"/>
                    <a:pt x="24247" y="5428"/>
                    <a:pt x="24247" y="12123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3" name="Freihandform: Form 82">
              <a:extLst>
                <a:ext uri="{FF2B5EF4-FFF2-40B4-BE49-F238E27FC236}">
                  <a16:creationId xmlns:a16="http://schemas.microsoft.com/office/drawing/2014/main" id="{4A772447-E083-4028-B58C-BB43B54A1E86}"/>
                </a:ext>
              </a:extLst>
            </p:cNvPr>
            <p:cNvSpPr/>
            <p:nvPr/>
          </p:nvSpPr>
          <p:spPr>
            <a:xfrm>
              <a:off x="10572188" y="4494579"/>
              <a:ext cx="121233" cy="12123"/>
            </a:xfrm>
            <a:custGeom>
              <a:avLst/>
              <a:gdLst>
                <a:gd name="connsiteX0" fmla="*/ 0 w 121233"/>
                <a:gd name="connsiteY0" fmla="*/ 0 h 12123"/>
                <a:gd name="connsiteX1" fmla="*/ 121234 w 121233"/>
                <a:gd name="connsiteY1" fmla="*/ 0 h 12123"/>
                <a:gd name="connsiteX2" fmla="*/ 121234 w 121233"/>
                <a:gd name="connsiteY2" fmla="*/ 12123 h 12123"/>
                <a:gd name="connsiteX3" fmla="*/ 0 w 121233"/>
                <a:gd name="connsiteY3" fmla="*/ 12123 h 12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233" h="12123">
                  <a:moveTo>
                    <a:pt x="0" y="0"/>
                  </a:moveTo>
                  <a:lnTo>
                    <a:pt x="121234" y="0"/>
                  </a:lnTo>
                  <a:lnTo>
                    <a:pt x="121234" y="12123"/>
                  </a:lnTo>
                  <a:lnTo>
                    <a:pt x="0" y="12123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4" name="Freihandform: Form 83">
              <a:extLst>
                <a:ext uri="{FF2B5EF4-FFF2-40B4-BE49-F238E27FC236}">
                  <a16:creationId xmlns:a16="http://schemas.microsoft.com/office/drawing/2014/main" id="{6B2E2D12-BC53-485F-8FF6-2BD607EC65D3}"/>
                </a:ext>
              </a:extLst>
            </p:cNvPr>
            <p:cNvSpPr/>
            <p:nvPr/>
          </p:nvSpPr>
          <p:spPr>
            <a:xfrm>
              <a:off x="10572188" y="4543073"/>
              <a:ext cx="121233" cy="12123"/>
            </a:xfrm>
            <a:custGeom>
              <a:avLst/>
              <a:gdLst>
                <a:gd name="connsiteX0" fmla="*/ 0 w 121233"/>
                <a:gd name="connsiteY0" fmla="*/ 0 h 12123"/>
                <a:gd name="connsiteX1" fmla="*/ 121234 w 121233"/>
                <a:gd name="connsiteY1" fmla="*/ 0 h 12123"/>
                <a:gd name="connsiteX2" fmla="*/ 121234 w 121233"/>
                <a:gd name="connsiteY2" fmla="*/ 12123 h 12123"/>
                <a:gd name="connsiteX3" fmla="*/ 0 w 121233"/>
                <a:gd name="connsiteY3" fmla="*/ 12123 h 12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233" h="12123">
                  <a:moveTo>
                    <a:pt x="0" y="0"/>
                  </a:moveTo>
                  <a:lnTo>
                    <a:pt x="121234" y="0"/>
                  </a:lnTo>
                  <a:lnTo>
                    <a:pt x="121234" y="12123"/>
                  </a:lnTo>
                  <a:lnTo>
                    <a:pt x="0" y="12123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85" name="Grafik 27" descr="Smartphone Silhouette">
            <a:extLst>
              <a:ext uri="{FF2B5EF4-FFF2-40B4-BE49-F238E27FC236}">
                <a16:creationId xmlns:a16="http://schemas.microsoft.com/office/drawing/2014/main" id="{D3EAD60B-8768-4950-A7A8-54994690396D}"/>
              </a:ext>
            </a:extLst>
          </p:cNvPr>
          <p:cNvGrpSpPr/>
          <p:nvPr/>
        </p:nvGrpSpPr>
        <p:grpSpPr>
          <a:xfrm>
            <a:off x="9568827" y="4109661"/>
            <a:ext cx="303084" cy="533580"/>
            <a:chOff x="9568827" y="4109661"/>
            <a:chExt cx="303084" cy="533580"/>
          </a:xfrm>
          <a:solidFill>
            <a:schemeClr val="tx1"/>
          </a:solidFill>
        </p:grpSpPr>
        <p:sp>
          <p:nvSpPr>
            <p:cNvPr id="86" name="Freihandform: Form 85">
              <a:extLst>
                <a:ext uri="{FF2B5EF4-FFF2-40B4-BE49-F238E27FC236}">
                  <a16:creationId xmlns:a16="http://schemas.microsoft.com/office/drawing/2014/main" id="{8C86CAC8-7B5E-460E-8527-2A02C99D2CD2}"/>
                </a:ext>
              </a:extLst>
            </p:cNvPr>
            <p:cNvSpPr/>
            <p:nvPr/>
          </p:nvSpPr>
          <p:spPr>
            <a:xfrm>
              <a:off x="9599135" y="4170278"/>
              <a:ext cx="242467" cy="412328"/>
            </a:xfrm>
            <a:custGeom>
              <a:avLst/>
              <a:gdLst>
                <a:gd name="connsiteX0" fmla="*/ 12123 w 242467"/>
                <a:gd name="connsiteY0" fmla="*/ 0 h 412328"/>
                <a:gd name="connsiteX1" fmla="*/ 0 w 242467"/>
                <a:gd name="connsiteY1" fmla="*/ 0 h 412328"/>
                <a:gd name="connsiteX2" fmla="*/ 0 w 242467"/>
                <a:gd name="connsiteY2" fmla="*/ 412329 h 412328"/>
                <a:gd name="connsiteX3" fmla="*/ 242468 w 242467"/>
                <a:gd name="connsiteY3" fmla="*/ 412329 h 412328"/>
                <a:gd name="connsiteX4" fmla="*/ 242468 w 242467"/>
                <a:gd name="connsiteY4" fmla="*/ 0 h 412328"/>
                <a:gd name="connsiteX5" fmla="*/ 12123 w 242467"/>
                <a:gd name="connsiteY5" fmla="*/ 0 h 412328"/>
                <a:gd name="connsiteX6" fmla="*/ 230345 w 242467"/>
                <a:gd name="connsiteY6" fmla="*/ 400205 h 412328"/>
                <a:gd name="connsiteX7" fmla="*/ 12123 w 242467"/>
                <a:gd name="connsiteY7" fmla="*/ 400205 h 412328"/>
                <a:gd name="connsiteX8" fmla="*/ 12123 w 242467"/>
                <a:gd name="connsiteY8" fmla="*/ 12123 h 412328"/>
                <a:gd name="connsiteX9" fmla="*/ 230345 w 242467"/>
                <a:gd name="connsiteY9" fmla="*/ 12123 h 41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2467" h="412328">
                  <a:moveTo>
                    <a:pt x="12123" y="0"/>
                  </a:moveTo>
                  <a:lnTo>
                    <a:pt x="0" y="0"/>
                  </a:lnTo>
                  <a:lnTo>
                    <a:pt x="0" y="412329"/>
                  </a:lnTo>
                  <a:lnTo>
                    <a:pt x="242468" y="412329"/>
                  </a:lnTo>
                  <a:lnTo>
                    <a:pt x="242468" y="0"/>
                  </a:lnTo>
                  <a:lnTo>
                    <a:pt x="12123" y="0"/>
                  </a:lnTo>
                  <a:close/>
                  <a:moveTo>
                    <a:pt x="230345" y="400205"/>
                  </a:moveTo>
                  <a:lnTo>
                    <a:pt x="12123" y="400205"/>
                  </a:lnTo>
                  <a:lnTo>
                    <a:pt x="12123" y="12123"/>
                  </a:lnTo>
                  <a:lnTo>
                    <a:pt x="230345" y="12123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7" name="Freihandform: Form 86">
              <a:extLst>
                <a:ext uri="{FF2B5EF4-FFF2-40B4-BE49-F238E27FC236}">
                  <a16:creationId xmlns:a16="http://schemas.microsoft.com/office/drawing/2014/main" id="{EB724CA2-ED7A-45B4-9C66-2F22EA7FCD2E}"/>
                </a:ext>
              </a:extLst>
            </p:cNvPr>
            <p:cNvSpPr/>
            <p:nvPr/>
          </p:nvSpPr>
          <p:spPr>
            <a:xfrm>
              <a:off x="9568827" y="4109661"/>
              <a:ext cx="303084" cy="533580"/>
            </a:xfrm>
            <a:custGeom>
              <a:avLst/>
              <a:gdLst>
                <a:gd name="connsiteX0" fmla="*/ 290962 w 303084"/>
                <a:gd name="connsiteY0" fmla="*/ 0 h 533580"/>
                <a:gd name="connsiteX1" fmla="*/ 12123 w 303084"/>
                <a:gd name="connsiteY1" fmla="*/ 0 h 533580"/>
                <a:gd name="connsiteX2" fmla="*/ 0 w 303084"/>
                <a:gd name="connsiteY2" fmla="*/ 12123 h 533580"/>
                <a:gd name="connsiteX3" fmla="*/ 0 w 303084"/>
                <a:gd name="connsiteY3" fmla="*/ 521458 h 533580"/>
                <a:gd name="connsiteX4" fmla="*/ 12123 w 303084"/>
                <a:gd name="connsiteY4" fmla="*/ 533581 h 533580"/>
                <a:gd name="connsiteX5" fmla="*/ 290962 w 303084"/>
                <a:gd name="connsiteY5" fmla="*/ 533581 h 533580"/>
                <a:gd name="connsiteX6" fmla="*/ 303085 w 303084"/>
                <a:gd name="connsiteY6" fmla="*/ 521458 h 533580"/>
                <a:gd name="connsiteX7" fmla="*/ 303085 w 303084"/>
                <a:gd name="connsiteY7" fmla="*/ 12123 h 533580"/>
                <a:gd name="connsiteX8" fmla="*/ 290962 w 303084"/>
                <a:gd name="connsiteY8" fmla="*/ 0 h 533580"/>
                <a:gd name="connsiteX9" fmla="*/ 290962 w 303084"/>
                <a:gd name="connsiteY9" fmla="*/ 521458 h 533580"/>
                <a:gd name="connsiteX10" fmla="*/ 12123 w 303084"/>
                <a:gd name="connsiteY10" fmla="*/ 521458 h 533580"/>
                <a:gd name="connsiteX11" fmla="*/ 12123 w 303084"/>
                <a:gd name="connsiteY11" fmla="*/ 12123 h 533580"/>
                <a:gd name="connsiteX12" fmla="*/ 290962 w 303084"/>
                <a:gd name="connsiteY12" fmla="*/ 12123 h 533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3084" h="533580">
                  <a:moveTo>
                    <a:pt x="290962" y="0"/>
                  </a:moveTo>
                  <a:lnTo>
                    <a:pt x="12123" y="0"/>
                  </a:lnTo>
                  <a:cubicBezTo>
                    <a:pt x="5436" y="20"/>
                    <a:pt x="20" y="5436"/>
                    <a:pt x="0" y="12123"/>
                  </a:cubicBezTo>
                  <a:lnTo>
                    <a:pt x="0" y="521458"/>
                  </a:lnTo>
                  <a:cubicBezTo>
                    <a:pt x="23" y="528144"/>
                    <a:pt x="5437" y="533558"/>
                    <a:pt x="12123" y="533581"/>
                  </a:cubicBezTo>
                  <a:lnTo>
                    <a:pt x="290962" y="533581"/>
                  </a:lnTo>
                  <a:cubicBezTo>
                    <a:pt x="297646" y="533554"/>
                    <a:pt x="303058" y="528142"/>
                    <a:pt x="303085" y="521458"/>
                  </a:cubicBezTo>
                  <a:lnTo>
                    <a:pt x="303085" y="12123"/>
                  </a:lnTo>
                  <a:cubicBezTo>
                    <a:pt x="303062" y="5438"/>
                    <a:pt x="297648" y="23"/>
                    <a:pt x="290962" y="0"/>
                  </a:cubicBezTo>
                  <a:close/>
                  <a:moveTo>
                    <a:pt x="290962" y="521458"/>
                  </a:moveTo>
                  <a:lnTo>
                    <a:pt x="12123" y="521458"/>
                  </a:lnTo>
                  <a:lnTo>
                    <a:pt x="12123" y="12123"/>
                  </a:lnTo>
                  <a:lnTo>
                    <a:pt x="290962" y="12123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8" name="Freihandform: Form 87">
              <a:extLst>
                <a:ext uri="{FF2B5EF4-FFF2-40B4-BE49-F238E27FC236}">
                  <a16:creationId xmlns:a16="http://schemas.microsoft.com/office/drawing/2014/main" id="{0DC24C3D-75B5-4CCB-AC22-2F1D821DA67B}"/>
                </a:ext>
              </a:extLst>
            </p:cNvPr>
            <p:cNvSpPr/>
            <p:nvPr/>
          </p:nvSpPr>
          <p:spPr>
            <a:xfrm>
              <a:off x="9690061" y="4139970"/>
              <a:ext cx="66678" cy="12123"/>
            </a:xfrm>
            <a:custGeom>
              <a:avLst/>
              <a:gdLst>
                <a:gd name="connsiteX0" fmla="*/ 6062 w 66678"/>
                <a:gd name="connsiteY0" fmla="*/ 12123 h 12123"/>
                <a:gd name="connsiteX1" fmla="*/ 60617 w 66678"/>
                <a:gd name="connsiteY1" fmla="*/ 12123 h 12123"/>
                <a:gd name="connsiteX2" fmla="*/ 66679 w 66678"/>
                <a:gd name="connsiteY2" fmla="*/ 6062 h 12123"/>
                <a:gd name="connsiteX3" fmla="*/ 60617 w 66678"/>
                <a:gd name="connsiteY3" fmla="*/ 0 h 12123"/>
                <a:gd name="connsiteX4" fmla="*/ 6062 w 66678"/>
                <a:gd name="connsiteY4" fmla="*/ 0 h 12123"/>
                <a:gd name="connsiteX5" fmla="*/ 0 w 66678"/>
                <a:gd name="connsiteY5" fmla="*/ 6062 h 12123"/>
                <a:gd name="connsiteX6" fmla="*/ 6062 w 66678"/>
                <a:gd name="connsiteY6" fmla="*/ 12123 h 12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678" h="12123">
                  <a:moveTo>
                    <a:pt x="6062" y="12123"/>
                  </a:moveTo>
                  <a:lnTo>
                    <a:pt x="60617" y="12123"/>
                  </a:lnTo>
                  <a:cubicBezTo>
                    <a:pt x="63965" y="12123"/>
                    <a:pt x="66679" y="9410"/>
                    <a:pt x="66679" y="6062"/>
                  </a:cubicBezTo>
                  <a:cubicBezTo>
                    <a:pt x="66679" y="2714"/>
                    <a:pt x="63965" y="0"/>
                    <a:pt x="60617" y="0"/>
                  </a:cubicBezTo>
                  <a:lnTo>
                    <a:pt x="6062" y="0"/>
                  </a:lnTo>
                  <a:cubicBezTo>
                    <a:pt x="2714" y="0"/>
                    <a:pt x="0" y="2714"/>
                    <a:pt x="0" y="6062"/>
                  </a:cubicBezTo>
                  <a:cubicBezTo>
                    <a:pt x="0" y="9410"/>
                    <a:pt x="2714" y="12123"/>
                    <a:pt x="6062" y="12123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89" name="Grafik 28" descr="Chat Silhouette">
            <a:extLst>
              <a:ext uri="{FF2B5EF4-FFF2-40B4-BE49-F238E27FC236}">
                <a16:creationId xmlns:a16="http://schemas.microsoft.com/office/drawing/2014/main" id="{CA82BA5F-598E-4BB8-8C93-E302A69F225C}"/>
              </a:ext>
            </a:extLst>
          </p:cNvPr>
          <p:cNvSpPr/>
          <p:nvPr/>
        </p:nvSpPr>
        <p:spPr>
          <a:xfrm>
            <a:off x="5828156" y="4206703"/>
            <a:ext cx="484935" cy="339503"/>
          </a:xfrm>
          <a:custGeom>
            <a:avLst/>
            <a:gdLst>
              <a:gd name="connsiteX0" fmla="*/ 460689 w 484935"/>
              <a:gd name="connsiteY0" fmla="*/ 66679 h 339503"/>
              <a:gd name="connsiteX1" fmla="*/ 303085 w 484935"/>
              <a:gd name="connsiteY1" fmla="*/ 66679 h 339503"/>
              <a:gd name="connsiteX2" fmla="*/ 303085 w 484935"/>
              <a:gd name="connsiteY2" fmla="*/ 24247 h 339503"/>
              <a:gd name="connsiteX3" fmla="*/ 278838 w 484935"/>
              <a:gd name="connsiteY3" fmla="*/ 0 h 339503"/>
              <a:gd name="connsiteX4" fmla="*/ 24247 w 484935"/>
              <a:gd name="connsiteY4" fmla="*/ 0 h 339503"/>
              <a:gd name="connsiteX5" fmla="*/ 0 w 484935"/>
              <a:gd name="connsiteY5" fmla="*/ 24247 h 339503"/>
              <a:gd name="connsiteX6" fmla="*/ 0 w 484935"/>
              <a:gd name="connsiteY6" fmla="*/ 187961 h 339503"/>
              <a:gd name="connsiteX7" fmla="*/ 24247 w 484935"/>
              <a:gd name="connsiteY7" fmla="*/ 212208 h 339503"/>
              <a:gd name="connsiteX8" fmla="*/ 60617 w 484935"/>
              <a:gd name="connsiteY8" fmla="*/ 212208 h 339503"/>
              <a:gd name="connsiteX9" fmla="*/ 60617 w 484935"/>
              <a:gd name="connsiteY9" fmla="*/ 272825 h 339503"/>
              <a:gd name="connsiteX10" fmla="*/ 121234 w 484935"/>
              <a:gd name="connsiteY10" fmla="*/ 212208 h 339503"/>
              <a:gd name="connsiteX11" fmla="*/ 181851 w 484935"/>
              <a:gd name="connsiteY11" fmla="*/ 212208 h 339503"/>
              <a:gd name="connsiteX12" fmla="*/ 181851 w 484935"/>
              <a:gd name="connsiteY12" fmla="*/ 254640 h 339503"/>
              <a:gd name="connsiteX13" fmla="*/ 206098 w 484935"/>
              <a:gd name="connsiteY13" fmla="*/ 278887 h 339503"/>
              <a:gd name="connsiteX14" fmla="*/ 363702 w 484935"/>
              <a:gd name="connsiteY14" fmla="*/ 278887 h 339503"/>
              <a:gd name="connsiteX15" fmla="*/ 424319 w 484935"/>
              <a:gd name="connsiteY15" fmla="*/ 339504 h 339503"/>
              <a:gd name="connsiteX16" fmla="*/ 424319 w 484935"/>
              <a:gd name="connsiteY16" fmla="*/ 278887 h 339503"/>
              <a:gd name="connsiteX17" fmla="*/ 460689 w 484935"/>
              <a:gd name="connsiteY17" fmla="*/ 278887 h 339503"/>
              <a:gd name="connsiteX18" fmla="*/ 484936 w 484935"/>
              <a:gd name="connsiteY18" fmla="*/ 254640 h 339503"/>
              <a:gd name="connsiteX19" fmla="*/ 484936 w 484935"/>
              <a:gd name="connsiteY19" fmla="*/ 90932 h 339503"/>
              <a:gd name="connsiteX20" fmla="*/ 460689 w 484935"/>
              <a:gd name="connsiteY20" fmla="*/ 66679 h 339503"/>
              <a:gd name="connsiteX21" fmla="*/ 181851 w 484935"/>
              <a:gd name="connsiteY21" fmla="*/ 90925 h 339503"/>
              <a:gd name="connsiteX22" fmla="*/ 181851 w 484935"/>
              <a:gd name="connsiteY22" fmla="*/ 200091 h 339503"/>
              <a:gd name="connsiteX23" fmla="*/ 116227 w 484935"/>
              <a:gd name="connsiteY23" fmla="*/ 200091 h 339503"/>
              <a:gd name="connsiteX24" fmla="*/ 112675 w 484935"/>
              <a:gd name="connsiteY24" fmla="*/ 203643 h 339503"/>
              <a:gd name="connsiteX25" fmla="*/ 72740 w 484935"/>
              <a:gd name="connsiteY25" fmla="*/ 243577 h 339503"/>
              <a:gd name="connsiteX26" fmla="*/ 72740 w 484935"/>
              <a:gd name="connsiteY26" fmla="*/ 200091 h 339503"/>
              <a:gd name="connsiteX27" fmla="*/ 24247 w 484935"/>
              <a:gd name="connsiteY27" fmla="*/ 200091 h 339503"/>
              <a:gd name="connsiteX28" fmla="*/ 12123 w 484935"/>
              <a:gd name="connsiteY28" fmla="*/ 187967 h 339503"/>
              <a:gd name="connsiteX29" fmla="*/ 12123 w 484935"/>
              <a:gd name="connsiteY29" fmla="*/ 24253 h 339503"/>
              <a:gd name="connsiteX30" fmla="*/ 24247 w 484935"/>
              <a:gd name="connsiteY30" fmla="*/ 12129 h 339503"/>
              <a:gd name="connsiteX31" fmla="*/ 278838 w 484935"/>
              <a:gd name="connsiteY31" fmla="*/ 12129 h 339503"/>
              <a:gd name="connsiteX32" fmla="*/ 290962 w 484935"/>
              <a:gd name="connsiteY32" fmla="*/ 24253 h 339503"/>
              <a:gd name="connsiteX33" fmla="*/ 290962 w 484935"/>
              <a:gd name="connsiteY33" fmla="*/ 66685 h 339503"/>
              <a:gd name="connsiteX34" fmla="*/ 206098 w 484935"/>
              <a:gd name="connsiteY34" fmla="*/ 66685 h 339503"/>
              <a:gd name="connsiteX35" fmla="*/ 181851 w 484935"/>
              <a:gd name="connsiteY35" fmla="*/ 90932 h 339503"/>
              <a:gd name="connsiteX36" fmla="*/ 472812 w 484935"/>
              <a:gd name="connsiteY36" fmla="*/ 254640 h 339503"/>
              <a:gd name="connsiteX37" fmla="*/ 460689 w 484935"/>
              <a:gd name="connsiteY37" fmla="*/ 266763 h 339503"/>
              <a:gd name="connsiteX38" fmla="*/ 412195 w 484935"/>
              <a:gd name="connsiteY38" fmla="*/ 266763 h 339503"/>
              <a:gd name="connsiteX39" fmla="*/ 412195 w 484935"/>
              <a:gd name="connsiteY39" fmla="*/ 310250 h 339503"/>
              <a:gd name="connsiteX40" fmla="*/ 372297 w 484935"/>
              <a:gd name="connsiteY40" fmla="*/ 270297 h 339503"/>
              <a:gd name="connsiteX41" fmla="*/ 368745 w 484935"/>
              <a:gd name="connsiteY41" fmla="*/ 266745 h 339503"/>
              <a:gd name="connsiteX42" fmla="*/ 206098 w 484935"/>
              <a:gd name="connsiteY42" fmla="*/ 266745 h 339503"/>
              <a:gd name="connsiteX43" fmla="*/ 193974 w 484935"/>
              <a:gd name="connsiteY43" fmla="*/ 254622 h 339503"/>
              <a:gd name="connsiteX44" fmla="*/ 193974 w 484935"/>
              <a:gd name="connsiteY44" fmla="*/ 90932 h 339503"/>
              <a:gd name="connsiteX45" fmla="*/ 206098 w 484935"/>
              <a:gd name="connsiteY45" fmla="*/ 78808 h 339503"/>
              <a:gd name="connsiteX46" fmla="*/ 460689 w 484935"/>
              <a:gd name="connsiteY46" fmla="*/ 78808 h 339503"/>
              <a:gd name="connsiteX47" fmla="*/ 472812 w 484935"/>
              <a:gd name="connsiteY47" fmla="*/ 90932 h 3395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484935" h="339503">
                <a:moveTo>
                  <a:pt x="460689" y="66679"/>
                </a:moveTo>
                <a:lnTo>
                  <a:pt x="303085" y="66679"/>
                </a:lnTo>
                <a:lnTo>
                  <a:pt x="303085" y="24247"/>
                </a:lnTo>
                <a:cubicBezTo>
                  <a:pt x="303045" y="10872"/>
                  <a:pt x="292213" y="40"/>
                  <a:pt x="278838" y="0"/>
                </a:cubicBezTo>
                <a:lnTo>
                  <a:pt x="24247" y="0"/>
                </a:lnTo>
                <a:cubicBezTo>
                  <a:pt x="10872" y="40"/>
                  <a:pt x="40" y="10872"/>
                  <a:pt x="0" y="24247"/>
                </a:cubicBezTo>
                <a:lnTo>
                  <a:pt x="0" y="187961"/>
                </a:lnTo>
                <a:cubicBezTo>
                  <a:pt x="40" y="201336"/>
                  <a:pt x="10872" y="212168"/>
                  <a:pt x="24247" y="212208"/>
                </a:cubicBezTo>
                <a:lnTo>
                  <a:pt x="60617" y="212208"/>
                </a:lnTo>
                <a:lnTo>
                  <a:pt x="60617" y="272825"/>
                </a:lnTo>
                <a:lnTo>
                  <a:pt x="121234" y="212208"/>
                </a:lnTo>
                <a:lnTo>
                  <a:pt x="181851" y="212208"/>
                </a:lnTo>
                <a:lnTo>
                  <a:pt x="181851" y="254640"/>
                </a:lnTo>
                <a:cubicBezTo>
                  <a:pt x="181891" y="268014"/>
                  <a:pt x="192723" y="278847"/>
                  <a:pt x="206098" y="278887"/>
                </a:cubicBezTo>
                <a:lnTo>
                  <a:pt x="363702" y="278887"/>
                </a:lnTo>
                <a:lnTo>
                  <a:pt x="424319" y="339504"/>
                </a:lnTo>
                <a:lnTo>
                  <a:pt x="424319" y="278887"/>
                </a:lnTo>
                <a:lnTo>
                  <a:pt x="460689" y="278887"/>
                </a:lnTo>
                <a:cubicBezTo>
                  <a:pt x="474064" y="278847"/>
                  <a:pt x="484896" y="268014"/>
                  <a:pt x="484936" y="254640"/>
                </a:cubicBezTo>
                <a:lnTo>
                  <a:pt x="484936" y="90932"/>
                </a:lnTo>
                <a:cubicBezTo>
                  <a:pt x="484899" y="77555"/>
                  <a:pt x="474066" y="66719"/>
                  <a:pt x="460689" y="66679"/>
                </a:cubicBezTo>
                <a:close/>
                <a:moveTo>
                  <a:pt x="181851" y="90925"/>
                </a:moveTo>
                <a:lnTo>
                  <a:pt x="181851" y="200091"/>
                </a:lnTo>
                <a:lnTo>
                  <a:pt x="116227" y="200091"/>
                </a:lnTo>
                <a:lnTo>
                  <a:pt x="112675" y="203643"/>
                </a:lnTo>
                <a:lnTo>
                  <a:pt x="72740" y="243577"/>
                </a:lnTo>
                <a:lnTo>
                  <a:pt x="72740" y="200091"/>
                </a:lnTo>
                <a:lnTo>
                  <a:pt x="24247" y="200091"/>
                </a:lnTo>
                <a:cubicBezTo>
                  <a:pt x="17551" y="200091"/>
                  <a:pt x="12123" y="194663"/>
                  <a:pt x="12123" y="187967"/>
                </a:cubicBezTo>
                <a:lnTo>
                  <a:pt x="12123" y="24253"/>
                </a:lnTo>
                <a:cubicBezTo>
                  <a:pt x="12123" y="17557"/>
                  <a:pt x="17551" y="12129"/>
                  <a:pt x="24247" y="12129"/>
                </a:cubicBezTo>
                <a:lnTo>
                  <a:pt x="278838" y="12129"/>
                </a:lnTo>
                <a:cubicBezTo>
                  <a:pt x="285534" y="12129"/>
                  <a:pt x="290962" y="17557"/>
                  <a:pt x="290962" y="24253"/>
                </a:cubicBezTo>
                <a:lnTo>
                  <a:pt x="290962" y="66685"/>
                </a:lnTo>
                <a:lnTo>
                  <a:pt x="206098" y="66685"/>
                </a:lnTo>
                <a:cubicBezTo>
                  <a:pt x="192723" y="66725"/>
                  <a:pt x="181891" y="77557"/>
                  <a:pt x="181851" y="90932"/>
                </a:cubicBezTo>
                <a:close/>
                <a:moveTo>
                  <a:pt x="472812" y="254640"/>
                </a:moveTo>
                <a:cubicBezTo>
                  <a:pt x="472812" y="261336"/>
                  <a:pt x="467385" y="266763"/>
                  <a:pt x="460689" y="266763"/>
                </a:cubicBezTo>
                <a:lnTo>
                  <a:pt x="412195" y="266763"/>
                </a:lnTo>
                <a:lnTo>
                  <a:pt x="412195" y="310250"/>
                </a:lnTo>
                <a:lnTo>
                  <a:pt x="372297" y="270297"/>
                </a:lnTo>
                <a:lnTo>
                  <a:pt x="368745" y="266745"/>
                </a:lnTo>
                <a:lnTo>
                  <a:pt x="206098" y="266745"/>
                </a:lnTo>
                <a:cubicBezTo>
                  <a:pt x="199402" y="266745"/>
                  <a:pt x="193974" y="261317"/>
                  <a:pt x="193974" y="254622"/>
                </a:cubicBezTo>
                <a:lnTo>
                  <a:pt x="193974" y="90932"/>
                </a:lnTo>
                <a:cubicBezTo>
                  <a:pt x="193974" y="84236"/>
                  <a:pt x="199402" y="78808"/>
                  <a:pt x="206098" y="78808"/>
                </a:cubicBezTo>
                <a:lnTo>
                  <a:pt x="460689" y="78808"/>
                </a:lnTo>
                <a:cubicBezTo>
                  <a:pt x="467385" y="78808"/>
                  <a:pt x="472812" y="84236"/>
                  <a:pt x="472812" y="90932"/>
                </a:cubicBezTo>
                <a:close/>
              </a:path>
            </a:pathLst>
          </a:custGeom>
          <a:solidFill>
            <a:schemeClr val="tx1"/>
          </a:solidFill>
          <a:ln w="6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91" name="Grafik 30" descr="Netzplandiagramm Silhouette">
            <a:extLst>
              <a:ext uri="{FF2B5EF4-FFF2-40B4-BE49-F238E27FC236}">
                <a16:creationId xmlns:a16="http://schemas.microsoft.com/office/drawing/2014/main" id="{1CCDBF89-71C1-4229-BB60-B4A3A6143F8E}"/>
              </a:ext>
            </a:extLst>
          </p:cNvPr>
          <p:cNvGrpSpPr/>
          <p:nvPr/>
        </p:nvGrpSpPr>
        <p:grpSpPr>
          <a:xfrm>
            <a:off x="8557604" y="3199184"/>
            <a:ext cx="412195" cy="412195"/>
            <a:chOff x="8557604" y="3199184"/>
            <a:chExt cx="412195" cy="412195"/>
          </a:xfrm>
          <a:solidFill>
            <a:schemeClr val="tx1"/>
          </a:solidFill>
        </p:grpSpPr>
        <p:sp>
          <p:nvSpPr>
            <p:cNvPr id="92" name="Freihandform: Form 91">
              <a:extLst>
                <a:ext uri="{FF2B5EF4-FFF2-40B4-BE49-F238E27FC236}">
                  <a16:creationId xmlns:a16="http://schemas.microsoft.com/office/drawing/2014/main" id="{FB6FC54E-3E95-4EBC-B417-7049BCD5B118}"/>
                </a:ext>
              </a:extLst>
            </p:cNvPr>
            <p:cNvSpPr/>
            <p:nvPr/>
          </p:nvSpPr>
          <p:spPr>
            <a:xfrm>
              <a:off x="8660653" y="3235554"/>
              <a:ext cx="206097" cy="339455"/>
            </a:xfrm>
            <a:custGeom>
              <a:avLst/>
              <a:gdLst>
                <a:gd name="connsiteX0" fmla="*/ 206098 w 206097"/>
                <a:gd name="connsiteY0" fmla="*/ 163666 h 339455"/>
                <a:gd name="connsiteX1" fmla="*/ 109111 w 206097"/>
                <a:gd name="connsiteY1" fmla="*/ 163666 h 339455"/>
                <a:gd name="connsiteX2" fmla="*/ 109111 w 206097"/>
                <a:gd name="connsiteY2" fmla="*/ 0 h 339455"/>
                <a:gd name="connsiteX3" fmla="*/ 0 w 206097"/>
                <a:gd name="connsiteY3" fmla="*/ 0 h 339455"/>
                <a:gd name="connsiteX4" fmla="*/ 0 w 206097"/>
                <a:gd name="connsiteY4" fmla="*/ 12123 h 339455"/>
                <a:gd name="connsiteX5" fmla="*/ 96987 w 206097"/>
                <a:gd name="connsiteY5" fmla="*/ 12123 h 339455"/>
                <a:gd name="connsiteX6" fmla="*/ 96987 w 206097"/>
                <a:gd name="connsiteY6" fmla="*/ 163666 h 339455"/>
                <a:gd name="connsiteX7" fmla="*/ 0 w 206097"/>
                <a:gd name="connsiteY7" fmla="*/ 163666 h 339455"/>
                <a:gd name="connsiteX8" fmla="*/ 0 w 206097"/>
                <a:gd name="connsiteY8" fmla="*/ 175789 h 339455"/>
                <a:gd name="connsiteX9" fmla="*/ 96987 w 206097"/>
                <a:gd name="connsiteY9" fmla="*/ 175789 h 339455"/>
                <a:gd name="connsiteX10" fmla="*/ 96987 w 206097"/>
                <a:gd name="connsiteY10" fmla="*/ 327332 h 339455"/>
                <a:gd name="connsiteX11" fmla="*/ 0 w 206097"/>
                <a:gd name="connsiteY11" fmla="*/ 327332 h 339455"/>
                <a:gd name="connsiteX12" fmla="*/ 0 w 206097"/>
                <a:gd name="connsiteY12" fmla="*/ 339455 h 339455"/>
                <a:gd name="connsiteX13" fmla="*/ 109111 w 206097"/>
                <a:gd name="connsiteY13" fmla="*/ 339455 h 339455"/>
                <a:gd name="connsiteX14" fmla="*/ 109111 w 206097"/>
                <a:gd name="connsiteY14" fmla="*/ 175789 h 339455"/>
                <a:gd name="connsiteX15" fmla="*/ 206098 w 206097"/>
                <a:gd name="connsiteY15" fmla="*/ 175789 h 339455"/>
                <a:gd name="connsiteX16" fmla="*/ 206098 w 206097"/>
                <a:gd name="connsiteY16" fmla="*/ 163666 h 339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6097" h="339455">
                  <a:moveTo>
                    <a:pt x="206098" y="163666"/>
                  </a:moveTo>
                  <a:lnTo>
                    <a:pt x="109111" y="163666"/>
                  </a:lnTo>
                  <a:lnTo>
                    <a:pt x="109111" y="0"/>
                  </a:lnTo>
                  <a:lnTo>
                    <a:pt x="0" y="0"/>
                  </a:lnTo>
                  <a:lnTo>
                    <a:pt x="0" y="12123"/>
                  </a:lnTo>
                  <a:lnTo>
                    <a:pt x="96987" y="12123"/>
                  </a:lnTo>
                  <a:lnTo>
                    <a:pt x="96987" y="163666"/>
                  </a:lnTo>
                  <a:lnTo>
                    <a:pt x="0" y="163666"/>
                  </a:lnTo>
                  <a:lnTo>
                    <a:pt x="0" y="175789"/>
                  </a:lnTo>
                  <a:lnTo>
                    <a:pt x="96987" y="175789"/>
                  </a:lnTo>
                  <a:lnTo>
                    <a:pt x="96987" y="327332"/>
                  </a:lnTo>
                  <a:lnTo>
                    <a:pt x="0" y="327332"/>
                  </a:lnTo>
                  <a:lnTo>
                    <a:pt x="0" y="339455"/>
                  </a:lnTo>
                  <a:lnTo>
                    <a:pt x="109111" y="339455"/>
                  </a:lnTo>
                  <a:lnTo>
                    <a:pt x="109111" y="175789"/>
                  </a:lnTo>
                  <a:lnTo>
                    <a:pt x="206098" y="175789"/>
                  </a:lnTo>
                  <a:lnTo>
                    <a:pt x="206098" y="163666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" name="Freihandform: Form 92">
              <a:extLst>
                <a:ext uri="{FF2B5EF4-FFF2-40B4-BE49-F238E27FC236}">
                  <a16:creationId xmlns:a16="http://schemas.microsoft.com/office/drawing/2014/main" id="{CDD2CF27-4A02-4250-9AA9-328A32EEEC21}"/>
                </a:ext>
              </a:extLst>
            </p:cNvPr>
            <p:cNvSpPr/>
            <p:nvPr/>
          </p:nvSpPr>
          <p:spPr>
            <a:xfrm>
              <a:off x="8557604" y="3199184"/>
              <a:ext cx="84863" cy="84863"/>
            </a:xfrm>
            <a:custGeom>
              <a:avLst/>
              <a:gdLst>
                <a:gd name="connsiteX0" fmla="*/ 72740 w 84863"/>
                <a:gd name="connsiteY0" fmla="*/ 72740 h 84863"/>
                <a:gd name="connsiteX1" fmla="*/ 12123 w 84863"/>
                <a:gd name="connsiteY1" fmla="*/ 72740 h 84863"/>
                <a:gd name="connsiteX2" fmla="*/ 12123 w 84863"/>
                <a:gd name="connsiteY2" fmla="*/ 12123 h 84863"/>
                <a:gd name="connsiteX3" fmla="*/ 72740 w 84863"/>
                <a:gd name="connsiteY3" fmla="*/ 12123 h 84863"/>
                <a:gd name="connsiteX4" fmla="*/ 0 w 84863"/>
                <a:gd name="connsiteY4" fmla="*/ 0 h 84863"/>
                <a:gd name="connsiteX5" fmla="*/ 0 w 84863"/>
                <a:gd name="connsiteY5" fmla="*/ 84864 h 84863"/>
                <a:gd name="connsiteX6" fmla="*/ 84864 w 84863"/>
                <a:gd name="connsiteY6" fmla="*/ 84864 h 84863"/>
                <a:gd name="connsiteX7" fmla="*/ 84864 w 84863"/>
                <a:gd name="connsiteY7" fmla="*/ 0 h 84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4863" h="84863">
                  <a:moveTo>
                    <a:pt x="72740" y="72740"/>
                  </a:moveTo>
                  <a:lnTo>
                    <a:pt x="12123" y="72740"/>
                  </a:lnTo>
                  <a:lnTo>
                    <a:pt x="12123" y="12123"/>
                  </a:lnTo>
                  <a:lnTo>
                    <a:pt x="72740" y="12123"/>
                  </a:lnTo>
                  <a:close/>
                  <a:moveTo>
                    <a:pt x="0" y="0"/>
                  </a:moveTo>
                  <a:lnTo>
                    <a:pt x="0" y="84864"/>
                  </a:lnTo>
                  <a:lnTo>
                    <a:pt x="84864" y="84864"/>
                  </a:lnTo>
                  <a:lnTo>
                    <a:pt x="84864" y="0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" name="Freihandform: Form 93">
              <a:extLst>
                <a:ext uri="{FF2B5EF4-FFF2-40B4-BE49-F238E27FC236}">
                  <a16:creationId xmlns:a16="http://schemas.microsoft.com/office/drawing/2014/main" id="{C5C2901A-233E-4391-95B2-0689BEC6C034}"/>
                </a:ext>
              </a:extLst>
            </p:cNvPr>
            <p:cNvSpPr/>
            <p:nvPr/>
          </p:nvSpPr>
          <p:spPr>
            <a:xfrm>
              <a:off x="8557604" y="3362849"/>
              <a:ext cx="84863" cy="84863"/>
            </a:xfrm>
            <a:custGeom>
              <a:avLst/>
              <a:gdLst>
                <a:gd name="connsiteX0" fmla="*/ 72740 w 84863"/>
                <a:gd name="connsiteY0" fmla="*/ 72740 h 84863"/>
                <a:gd name="connsiteX1" fmla="*/ 12123 w 84863"/>
                <a:gd name="connsiteY1" fmla="*/ 72740 h 84863"/>
                <a:gd name="connsiteX2" fmla="*/ 12123 w 84863"/>
                <a:gd name="connsiteY2" fmla="*/ 12123 h 84863"/>
                <a:gd name="connsiteX3" fmla="*/ 72740 w 84863"/>
                <a:gd name="connsiteY3" fmla="*/ 12123 h 84863"/>
                <a:gd name="connsiteX4" fmla="*/ 0 w 84863"/>
                <a:gd name="connsiteY4" fmla="*/ 0 h 84863"/>
                <a:gd name="connsiteX5" fmla="*/ 0 w 84863"/>
                <a:gd name="connsiteY5" fmla="*/ 84864 h 84863"/>
                <a:gd name="connsiteX6" fmla="*/ 84864 w 84863"/>
                <a:gd name="connsiteY6" fmla="*/ 84864 h 84863"/>
                <a:gd name="connsiteX7" fmla="*/ 84864 w 84863"/>
                <a:gd name="connsiteY7" fmla="*/ 0 h 84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4863" h="84863">
                  <a:moveTo>
                    <a:pt x="72740" y="72740"/>
                  </a:moveTo>
                  <a:lnTo>
                    <a:pt x="12123" y="72740"/>
                  </a:lnTo>
                  <a:lnTo>
                    <a:pt x="12123" y="12123"/>
                  </a:lnTo>
                  <a:lnTo>
                    <a:pt x="72740" y="12123"/>
                  </a:lnTo>
                  <a:close/>
                  <a:moveTo>
                    <a:pt x="0" y="0"/>
                  </a:moveTo>
                  <a:lnTo>
                    <a:pt x="0" y="84864"/>
                  </a:lnTo>
                  <a:lnTo>
                    <a:pt x="84864" y="84864"/>
                  </a:lnTo>
                  <a:lnTo>
                    <a:pt x="84864" y="0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" name="Freihandform: Form 94">
              <a:extLst>
                <a:ext uri="{FF2B5EF4-FFF2-40B4-BE49-F238E27FC236}">
                  <a16:creationId xmlns:a16="http://schemas.microsoft.com/office/drawing/2014/main" id="{6AE98375-903C-4BA2-80DB-09EBB153CC0D}"/>
                </a:ext>
              </a:extLst>
            </p:cNvPr>
            <p:cNvSpPr/>
            <p:nvPr/>
          </p:nvSpPr>
          <p:spPr>
            <a:xfrm>
              <a:off x="8557604" y="3526515"/>
              <a:ext cx="84863" cy="84863"/>
            </a:xfrm>
            <a:custGeom>
              <a:avLst/>
              <a:gdLst>
                <a:gd name="connsiteX0" fmla="*/ 72740 w 84863"/>
                <a:gd name="connsiteY0" fmla="*/ 72740 h 84863"/>
                <a:gd name="connsiteX1" fmla="*/ 12123 w 84863"/>
                <a:gd name="connsiteY1" fmla="*/ 72740 h 84863"/>
                <a:gd name="connsiteX2" fmla="*/ 12123 w 84863"/>
                <a:gd name="connsiteY2" fmla="*/ 12123 h 84863"/>
                <a:gd name="connsiteX3" fmla="*/ 72740 w 84863"/>
                <a:gd name="connsiteY3" fmla="*/ 12123 h 84863"/>
                <a:gd name="connsiteX4" fmla="*/ 0 w 84863"/>
                <a:gd name="connsiteY4" fmla="*/ 0 h 84863"/>
                <a:gd name="connsiteX5" fmla="*/ 0 w 84863"/>
                <a:gd name="connsiteY5" fmla="*/ 84864 h 84863"/>
                <a:gd name="connsiteX6" fmla="*/ 84864 w 84863"/>
                <a:gd name="connsiteY6" fmla="*/ 84864 h 84863"/>
                <a:gd name="connsiteX7" fmla="*/ 84864 w 84863"/>
                <a:gd name="connsiteY7" fmla="*/ 0 h 84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4863" h="84863">
                  <a:moveTo>
                    <a:pt x="72740" y="72740"/>
                  </a:moveTo>
                  <a:lnTo>
                    <a:pt x="12123" y="72740"/>
                  </a:lnTo>
                  <a:lnTo>
                    <a:pt x="12123" y="12123"/>
                  </a:lnTo>
                  <a:lnTo>
                    <a:pt x="72740" y="12123"/>
                  </a:lnTo>
                  <a:close/>
                  <a:moveTo>
                    <a:pt x="0" y="0"/>
                  </a:moveTo>
                  <a:lnTo>
                    <a:pt x="0" y="84864"/>
                  </a:lnTo>
                  <a:lnTo>
                    <a:pt x="84864" y="84864"/>
                  </a:lnTo>
                  <a:lnTo>
                    <a:pt x="84864" y="0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" name="Freihandform: Form 95">
              <a:extLst>
                <a:ext uri="{FF2B5EF4-FFF2-40B4-BE49-F238E27FC236}">
                  <a16:creationId xmlns:a16="http://schemas.microsoft.com/office/drawing/2014/main" id="{481C137C-892C-48EA-BBC1-5448F24ACD27}"/>
                </a:ext>
              </a:extLst>
            </p:cNvPr>
            <p:cNvSpPr/>
            <p:nvPr/>
          </p:nvSpPr>
          <p:spPr>
            <a:xfrm>
              <a:off x="8884936" y="3362849"/>
              <a:ext cx="84863" cy="84863"/>
            </a:xfrm>
            <a:custGeom>
              <a:avLst/>
              <a:gdLst>
                <a:gd name="connsiteX0" fmla="*/ 72740 w 84863"/>
                <a:gd name="connsiteY0" fmla="*/ 72740 h 84863"/>
                <a:gd name="connsiteX1" fmla="*/ 12123 w 84863"/>
                <a:gd name="connsiteY1" fmla="*/ 72740 h 84863"/>
                <a:gd name="connsiteX2" fmla="*/ 12123 w 84863"/>
                <a:gd name="connsiteY2" fmla="*/ 12123 h 84863"/>
                <a:gd name="connsiteX3" fmla="*/ 72740 w 84863"/>
                <a:gd name="connsiteY3" fmla="*/ 12123 h 84863"/>
                <a:gd name="connsiteX4" fmla="*/ 0 w 84863"/>
                <a:gd name="connsiteY4" fmla="*/ 0 h 84863"/>
                <a:gd name="connsiteX5" fmla="*/ 0 w 84863"/>
                <a:gd name="connsiteY5" fmla="*/ 84864 h 84863"/>
                <a:gd name="connsiteX6" fmla="*/ 84864 w 84863"/>
                <a:gd name="connsiteY6" fmla="*/ 84864 h 84863"/>
                <a:gd name="connsiteX7" fmla="*/ 84864 w 84863"/>
                <a:gd name="connsiteY7" fmla="*/ 0 h 84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4863" h="84863">
                  <a:moveTo>
                    <a:pt x="72740" y="72740"/>
                  </a:moveTo>
                  <a:lnTo>
                    <a:pt x="12123" y="72740"/>
                  </a:lnTo>
                  <a:lnTo>
                    <a:pt x="12123" y="12123"/>
                  </a:lnTo>
                  <a:lnTo>
                    <a:pt x="72740" y="12123"/>
                  </a:lnTo>
                  <a:close/>
                  <a:moveTo>
                    <a:pt x="0" y="0"/>
                  </a:moveTo>
                  <a:lnTo>
                    <a:pt x="0" y="84864"/>
                  </a:lnTo>
                  <a:lnTo>
                    <a:pt x="84864" y="84864"/>
                  </a:lnTo>
                  <a:lnTo>
                    <a:pt x="84864" y="0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97" name="Grafik 31" descr="Rede Silhouette">
            <a:extLst>
              <a:ext uri="{FF2B5EF4-FFF2-40B4-BE49-F238E27FC236}">
                <a16:creationId xmlns:a16="http://schemas.microsoft.com/office/drawing/2014/main" id="{51FA27FA-84CB-4A42-9BD8-0F6DCED054B0}"/>
              </a:ext>
            </a:extLst>
          </p:cNvPr>
          <p:cNvSpPr/>
          <p:nvPr/>
        </p:nvSpPr>
        <p:spPr>
          <a:xfrm>
            <a:off x="4952089" y="4188500"/>
            <a:ext cx="412197" cy="375891"/>
          </a:xfrm>
          <a:custGeom>
            <a:avLst/>
            <a:gdLst>
              <a:gd name="connsiteX0" fmla="*/ 391586 w 412197"/>
              <a:gd name="connsiteY0" fmla="*/ 12117 h 375891"/>
              <a:gd name="connsiteX1" fmla="*/ 400073 w 412197"/>
              <a:gd name="connsiteY1" fmla="*/ 21210 h 375891"/>
              <a:gd name="connsiteX2" fmla="*/ 400073 w 412197"/>
              <a:gd name="connsiteY2" fmla="*/ 271631 h 375891"/>
              <a:gd name="connsiteX3" fmla="*/ 391586 w 412197"/>
              <a:gd name="connsiteY3" fmla="*/ 280117 h 375891"/>
              <a:gd name="connsiteX4" fmla="*/ 317634 w 412197"/>
              <a:gd name="connsiteY4" fmla="*/ 280117 h 375891"/>
              <a:gd name="connsiteX5" fmla="*/ 317634 w 412197"/>
              <a:gd name="connsiteY5" fmla="*/ 346190 h 375891"/>
              <a:gd name="connsiteX6" fmla="*/ 255998 w 412197"/>
              <a:gd name="connsiteY6" fmla="*/ 283166 h 375891"/>
              <a:gd name="connsiteX7" fmla="*/ 252434 w 412197"/>
              <a:gd name="connsiteY7" fmla="*/ 279529 h 375891"/>
              <a:gd name="connsiteX8" fmla="*/ 20610 w 412197"/>
              <a:gd name="connsiteY8" fmla="*/ 279529 h 375891"/>
              <a:gd name="connsiteX9" fmla="*/ 12124 w 412197"/>
              <a:gd name="connsiteY9" fmla="*/ 271411 h 375891"/>
              <a:gd name="connsiteX10" fmla="*/ 12124 w 412197"/>
              <a:gd name="connsiteY10" fmla="*/ 271043 h 375891"/>
              <a:gd name="connsiteX11" fmla="*/ 12124 w 412197"/>
              <a:gd name="connsiteY11" fmla="*/ 20610 h 375891"/>
              <a:gd name="connsiteX12" fmla="*/ 20610 w 412197"/>
              <a:gd name="connsiteY12" fmla="*/ 12123 h 375891"/>
              <a:gd name="connsiteX13" fmla="*/ 391586 w 412197"/>
              <a:gd name="connsiteY13" fmla="*/ 12123 h 375891"/>
              <a:gd name="connsiteX14" fmla="*/ 391586 w 412197"/>
              <a:gd name="connsiteY14" fmla="*/ 0 h 375891"/>
              <a:gd name="connsiteX15" fmla="*/ 20610 w 412197"/>
              <a:gd name="connsiteY15" fmla="*/ 0 h 375891"/>
              <a:gd name="connsiteX16" fmla="*/ 1 w 412197"/>
              <a:gd name="connsiteY16" fmla="*/ 20610 h 375891"/>
              <a:gd name="connsiteX17" fmla="*/ 1 w 412197"/>
              <a:gd name="connsiteY17" fmla="*/ 271025 h 375891"/>
              <a:gd name="connsiteX18" fmla="*/ 20270 w 412197"/>
              <a:gd name="connsiteY18" fmla="*/ 291634 h 375891"/>
              <a:gd name="connsiteX19" fmla="*/ 20610 w 412197"/>
              <a:gd name="connsiteY19" fmla="*/ 291634 h 375891"/>
              <a:gd name="connsiteX20" fmla="*/ 247318 w 412197"/>
              <a:gd name="connsiteY20" fmla="*/ 291634 h 375891"/>
              <a:gd name="connsiteX21" fmla="*/ 329757 w 412197"/>
              <a:gd name="connsiteY21" fmla="*/ 375892 h 375891"/>
              <a:gd name="connsiteX22" fmla="*/ 329757 w 412197"/>
              <a:gd name="connsiteY22" fmla="*/ 292241 h 375891"/>
              <a:gd name="connsiteX23" fmla="*/ 391586 w 412197"/>
              <a:gd name="connsiteY23" fmla="*/ 292241 h 375891"/>
              <a:gd name="connsiteX24" fmla="*/ 412196 w 412197"/>
              <a:gd name="connsiteY24" fmla="*/ 271631 h 375891"/>
              <a:gd name="connsiteX25" fmla="*/ 412196 w 412197"/>
              <a:gd name="connsiteY25" fmla="*/ 21216 h 375891"/>
              <a:gd name="connsiteX26" fmla="*/ 391586 w 412197"/>
              <a:gd name="connsiteY26" fmla="*/ 0 h 3758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12197" h="375891">
                <a:moveTo>
                  <a:pt x="391586" y="12117"/>
                </a:moveTo>
                <a:cubicBezTo>
                  <a:pt x="396435" y="12299"/>
                  <a:pt x="400226" y="16361"/>
                  <a:pt x="400073" y="21210"/>
                </a:cubicBezTo>
                <a:lnTo>
                  <a:pt x="400073" y="271631"/>
                </a:lnTo>
                <a:cubicBezTo>
                  <a:pt x="399952" y="276267"/>
                  <a:pt x="396222" y="279996"/>
                  <a:pt x="391586" y="280117"/>
                </a:cubicBezTo>
                <a:lnTo>
                  <a:pt x="317634" y="280117"/>
                </a:lnTo>
                <a:lnTo>
                  <a:pt x="317634" y="346190"/>
                </a:lnTo>
                <a:lnTo>
                  <a:pt x="255998" y="283166"/>
                </a:lnTo>
                <a:lnTo>
                  <a:pt x="252434" y="279529"/>
                </a:lnTo>
                <a:lnTo>
                  <a:pt x="20610" y="279529"/>
                </a:lnTo>
                <a:cubicBezTo>
                  <a:pt x="16025" y="279631"/>
                  <a:pt x="12226" y="275996"/>
                  <a:pt x="12124" y="271411"/>
                </a:cubicBezTo>
                <a:cubicBezTo>
                  <a:pt x="12122" y="271288"/>
                  <a:pt x="12122" y="271165"/>
                  <a:pt x="12124" y="271043"/>
                </a:cubicBezTo>
                <a:lnTo>
                  <a:pt x="12124" y="20610"/>
                </a:lnTo>
                <a:cubicBezTo>
                  <a:pt x="12245" y="15974"/>
                  <a:pt x="15975" y="12245"/>
                  <a:pt x="20610" y="12123"/>
                </a:cubicBezTo>
                <a:lnTo>
                  <a:pt x="391586" y="12123"/>
                </a:lnTo>
                <a:moveTo>
                  <a:pt x="391586" y="0"/>
                </a:moveTo>
                <a:lnTo>
                  <a:pt x="20610" y="0"/>
                </a:lnTo>
                <a:cubicBezTo>
                  <a:pt x="9278" y="118"/>
                  <a:pt x="119" y="9277"/>
                  <a:pt x="1" y="20610"/>
                </a:cubicBezTo>
                <a:lnTo>
                  <a:pt x="1" y="271025"/>
                </a:lnTo>
                <a:cubicBezTo>
                  <a:pt x="-93" y="282313"/>
                  <a:pt x="8981" y="291540"/>
                  <a:pt x="20270" y="291634"/>
                </a:cubicBezTo>
                <a:cubicBezTo>
                  <a:pt x="20383" y="291635"/>
                  <a:pt x="20497" y="291635"/>
                  <a:pt x="20610" y="291634"/>
                </a:cubicBezTo>
                <a:lnTo>
                  <a:pt x="247318" y="291634"/>
                </a:lnTo>
                <a:lnTo>
                  <a:pt x="329757" y="375892"/>
                </a:lnTo>
                <a:lnTo>
                  <a:pt x="329757" y="292241"/>
                </a:lnTo>
                <a:lnTo>
                  <a:pt x="391586" y="292241"/>
                </a:lnTo>
                <a:cubicBezTo>
                  <a:pt x="402919" y="292122"/>
                  <a:pt x="412078" y="282964"/>
                  <a:pt x="412196" y="271631"/>
                </a:cubicBezTo>
                <a:lnTo>
                  <a:pt x="412196" y="21216"/>
                </a:lnTo>
                <a:cubicBezTo>
                  <a:pt x="412338" y="9676"/>
                  <a:pt x="403125" y="193"/>
                  <a:pt x="391586" y="0"/>
                </a:cubicBezTo>
                <a:close/>
              </a:path>
            </a:pathLst>
          </a:custGeom>
          <a:solidFill>
            <a:schemeClr val="tx1"/>
          </a:solidFill>
          <a:ln w="6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98" name="Grafik 32" descr="Kreise mit Linien Silhouette">
            <a:extLst>
              <a:ext uri="{FF2B5EF4-FFF2-40B4-BE49-F238E27FC236}">
                <a16:creationId xmlns:a16="http://schemas.microsoft.com/office/drawing/2014/main" id="{CE47A65D-A992-4EAB-B7D1-D37100E14B8A}"/>
              </a:ext>
            </a:extLst>
          </p:cNvPr>
          <p:cNvGrpSpPr/>
          <p:nvPr/>
        </p:nvGrpSpPr>
        <p:grpSpPr>
          <a:xfrm>
            <a:off x="10382215" y="3157338"/>
            <a:ext cx="515268" cy="515268"/>
            <a:chOff x="10382215" y="3157338"/>
            <a:chExt cx="515268" cy="515268"/>
          </a:xfrm>
          <a:solidFill>
            <a:schemeClr val="tx1"/>
          </a:solidFill>
        </p:grpSpPr>
        <p:sp>
          <p:nvSpPr>
            <p:cNvPr id="99" name="Freihandform: Form 98">
              <a:extLst>
                <a:ext uri="{FF2B5EF4-FFF2-40B4-BE49-F238E27FC236}">
                  <a16:creationId xmlns:a16="http://schemas.microsoft.com/office/drawing/2014/main" id="{A8B8F0AF-AB96-4F5A-BD88-A7D510861EDE}"/>
                </a:ext>
              </a:extLst>
            </p:cNvPr>
            <p:cNvSpPr/>
            <p:nvPr/>
          </p:nvSpPr>
          <p:spPr>
            <a:xfrm>
              <a:off x="10443655" y="3492626"/>
              <a:ext cx="118076" cy="120688"/>
            </a:xfrm>
            <a:custGeom>
              <a:avLst/>
              <a:gdLst>
                <a:gd name="connsiteX0" fmla="*/ 118076 w 118076"/>
                <a:gd name="connsiteY0" fmla="*/ 105521 h 120688"/>
                <a:gd name="connsiteX1" fmla="*/ 14812 w 118076"/>
                <a:gd name="connsiteY1" fmla="*/ 0 h 120688"/>
                <a:gd name="connsiteX2" fmla="*/ 0 w 118076"/>
                <a:gd name="connsiteY2" fmla="*/ 1996 h 120688"/>
                <a:gd name="connsiteX3" fmla="*/ 116429 w 118076"/>
                <a:gd name="connsiteY3" fmla="*/ 120689 h 120688"/>
                <a:gd name="connsiteX4" fmla="*/ 118076 w 118076"/>
                <a:gd name="connsiteY4" fmla="*/ 105521 h 120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076" h="120688">
                  <a:moveTo>
                    <a:pt x="118076" y="105521"/>
                  </a:moveTo>
                  <a:cubicBezTo>
                    <a:pt x="71280" y="85061"/>
                    <a:pt x="34257" y="47228"/>
                    <a:pt x="14812" y="0"/>
                  </a:cubicBezTo>
                  <a:cubicBezTo>
                    <a:pt x="9948" y="1128"/>
                    <a:pt x="4989" y="1796"/>
                    <a:pt x="0" y="1996"/>
                  </a:cubicBezTo>
                  <a:cubicBezTo>
                    <a:pt x="20997" y="55784"/>
                    <a:pt x="63055" y="98659"/>
                    <a:pt x="116429" y="120689"/>
                  </a:cubicBezTo>
                  <a:cubicBezTo>
                    <a:pt x="116492" y="115592"/>
                    <a:pt x="117044" y="110513"/>
                    <a:pt x="118076" y="105521"/>
                  </a:cubicBezTo>
                  <a:close/>
                </a:path>
              </a:pathLst>
            </a:custGeom>
            <a:solidFill>
              <a:schemeClr val="tx1"/>
            </a:solidFill>
            <a:ln w="724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" name="Freihandform: Form 99">
              <a:extLst>
                <a:ext uri="{FF2B5EF4-FFF2-40B4-BE49-F238E27FC236}">
                  <a16:creationId xmlns:a16="http://schemas.microsoft.com/office/drawing/2014/main" id="{E290874C-F0BF-4B8F-8C1D-69DD1163558F}"/>
                </a:ext>
              </a:extLst>
            </p:cNvPr>
            <p:cNvSpPr/>
            <p:nvPr/>
          </p:nvSpPr>
          <p:spPr>
            <a:xfrm>
              <a:off x="10717996" y="3492626"/>
              <a:ext cx="118039" cy="120688"/>
            </a:xfrm>
            <a:custGeom>
              <a:avLst/>
              <a:gdLst>
                <a:gd name="connsiteX0" fmla="*/ 103184 w 118039"/>
                <a:gd name="connsiteY0" fmla="*/ 0 h 120688"/>
                <a:gd name="connsiteX1" fmla="*/ 0 w 118039"/>
                <a:gd name="connsiteY1" fmla="*/ 105616 h 120688"/>
                <a:gd name="connsiteX2" fmla="*/ 1618 w 118039"/>
                <a:gd name="connsiteY2" fmla="*/ 120689 h 120688"/>
                <a:gd name="connsiteX3" fmla="*/ 118040 w 118039"/>
                <a:gd name="connsiteY3" fmla="*/ 2003 h 120688"/>
                <a:gd name="connsiteX4" fmla="*/ 103184 w 118039"/>
                <a:gd name="connsiteY4" fmla="*/ 0 h 120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039" h="120688">
                  <a:moveTo>
                    <a:pt x="103184" y="0"/>
                  </a:moveTo>
                  <a:cubicBezTo>
                    <a:pt x="83777" y="47247"/>
                    <a:pt x="46783" y="85113"/>
                    <a:pt x="0" y="105616"/>
                  </a:cubicBezTo>
                  <a:cubicBezTo>
                    <a:pt x="1016" y="110577"/>
                    <a:pt x="1557" y="115625"/>
                    <a:pt x="1618" y="120689"/>
                  </a:cubicBezTo>
                  <a:cubicBezTo>
                    <a:pt x="54993" y="98667"/>
                    <a:pt x="97051" y="55792"/>
                    <a:pt x="118040" y="2003"/>
                  </a:cubicBezTo>
                  <a:cubicBezTo>
                    <a:pt x="113036" y="1806"/>
                    <a:pt x="108062" y="1135"/>
                    <a:pt x="103184" y="0"/>
                  </a:cubicBezTo>
                  <a:close/>
                </a:path>
              </a:pathLst>
            </a:custGeom>
            <a:solidFill>
              <a:schemeClr val="tx1"/>
            </a:solidFill>
            <a:ln w="724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" name="Freihandform: Form 100">
              <a:extLst>
                <a:ext uri="{FF2B5EF4-FFF2-40B4-BE49-F238E27FC236}">
                  <a16:creationId xmlns:a16="http://schemas.microsoft.com/office/drawing/2014/main" id="{02E853C9-DC4A-400B-BA06-389CC5C03A03}"/>
                </a:ext>
              </a:extLst>
            </p:cNvPr>
            <p:cNvSpPr/>
            <p:nvPr/>
          </p:nvSpPr>
          <p:spPr>
            <a:xfrm>
              <a:off x="10446529" y="3223779"/>
              <a:ext cx="116886" cy="114266"/>
            </a:xfrm>
            <a:custGeom>
              <a:avLst/>
              <a:gdLst>
                <a:gd name="connsiteX0" fmla="*/ 113940 w 116886"/>
                <a:gd name="connsiteY0" fmla="*/ 0 h 114266"/>
                <a:gd name="connsiteX1" fmla="*/ 0 w 116886"/>
                <a:gd name="connsiteY1" fmla="*/ 111683 h 114266"/>
                <a:gd name="connsiteX2" fmla="*/ 14790 w 116886"/>
                <a:gd name="connsiteY2" fmla="*/ 114266 h 114266"/>
                <a:gd name="connsiteX3" fmla="*/ 116886 w 116886"/>
                <a:gd name="connsiteY3" fmla="*/ 14551 h 114266"/>
                <a:gd name="connsiteX4" fmla="*/ 113940 w 116886"/>
                <a:gd name="connsiteY4" fmla="*/ 0 h 114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6886" h="114266">
                  <a:moveTo>
                    <a:pt x="113940" y="0"/>
                  </a:moveTo>
                  <a:cubicBezTo>
                    <a:pt x="62844" y="20937"/>
                    <a:pt x="21956" y="61016"/>
                    <a:pt x="0" y="111683"/>
                  </a:cubicBezTo>
                  <a:cubicBezTo>
                    <a:pt x="5001" y="112070"/>
                    <a:pt x="9954" y="112935"/>
                    <a:pt x="14790" y="114266"/>
                  </a:cubicBezTo>
                  <a:cubicBezTo>
                    <a:pt x="35172" y="69441"/>
                    <a:pt x="71593" y="33869"/>
                    <a:pt x="116886" y="14551"/>
                  </a:cubicBezTo>
                  <a:cubicBezTo>
                    <a:pt x="115446" y="9805"/>
                    <a:pt x="114460" y="4933"/>
                    <a:pt x="113940" y="0"/>
                  </a:cubicBezTo>
                  <a:close/>
                </a:path>
              </a:pathLst>
            </a:custGeom>
            <a:solidFill>
              <a:schemeClr val="tx1"/>
            </a:solidFill>
            <a:ln w="724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" name="Freihandform: Form 101">
              <a:extLst>
                <a:ext uri="{FF2B5EF4-FFF2-40B4-BE49-F238E27FC236}">
                  <a16:creationId xmlns:a16="http://schemas.microsoft.com/office/drawing/2014/main" id="{00348454-E5E2-429F-AFE1-635803F2A253}"/>
                </a:ext>
              </a:extLst>
            </p:cNvPr>
            <p:cNvSpPr/>
            <p:nvPr/>
          </p:nvSpPr>
          <p:spPr>
            <a:xfrm>
              <a:off x="10716283" y="3223779"/>
              <a:ext cx="116849" cy="114266"/>
            </a:xfrm>
            <a:custGeom>
              <a:avLst/>
              <a:gdLst>
                <a:gd name="connsiteX0" fmla="*/ 2946 w 116849"/>
                <a:gd name="connsiteY0" fmla="*/ 0 h 114266"/>
                <a:gd name="connsiteX1" fmla="*/ 0 w 116849"/>
                <a:gd name="connsiteY1" fmla="*/ 14515 h 114266"/>
                <a:gd name="connsiteX2" fmla="*/ 102096 w 116849"/>
                <a:gd name="connsiteY2" fmla="*/ 114266 h 114266"/>
                <a:gd name="connsiteX3" fmla="*/ 116850 w 116849"/>
                <a:gd name="connsiteY3" fmla="*/ 111683 h 114266"/>
                <a:gd name="connsiteX4" fmla="*/ 2946 w 116849"/>
                <a:gd name="connsiteY4" fmla="*/ 0 h 114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6849" h="114266">
                  <a:moveTo>
                    <a:pt x="2946" y="0"/>
                  </a:moveTo>
                  <a:cubicBezTo>
                    <a:pt x="2424" y="4920"/>
                    <a:pt x="1438" y="9780"/>
                    <a:pt x="0" y="14515"/>
                  </a:cubicBezTo>
                  <a:cubicBezTo>
                    <a:pt x="45299" y="33842"/>
                    <a:pt x="81722" y="69428"/>
                    <a:pt x="102096" y="114266"/>
                  </a:cubicBezTo>
                  <a:cubicBezTo>
                    <a:pt x="106920" y="112937"/>
                    <a:pt x="111860" y="112072"/>
                    <a:pt x="116850" y="111683"/>
                  </a:cubicBezTo>
                  <a:cubicBezTo>
                    <a:pt x="94903" y="61023"/>
                    <a:pt x="54028" y="20945"/>
                    <a:pt x="2946" y="0"/>
                  </a:cubicBezTo>
                  <a:close/>
                </a:path>
              </a:pathLst>
            </a:custGeom>
            <a:solidFill>
              <a:schemeClr val="tx1"/>
            </a:solidFill>
            <a:ln w="724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" name="Freihandform: Form 102">
              <a:extLst>
                <a:ext uri="{FF2B5EF4-FFF2-40B4-BE49-F238E27FC236}">
                  <a16:creationId xmlns:a16="http://schemas.microsoft.com/office/drawing/2014/main" id="{C5D1B122-9DBE-4FC3-A97D-721D0523F132}"/>
                </a:ext>
              </a:extLst>
            </p:cNvPr>
            <p:cNvSpPr/>
            <p:nvPr/>
          </p:nvSpPr>
          <p:spPr>
            <a:xfrm>
              <a:off x="10382215" y="3356914"/>
              <a:ext cx="116116" cy="116116"/>
            </a:xfrm>
            <a:custGeom>
              <a:avLst/>
              <a:gdLst>
                <a:gd name="connsiteX0" fmla="*/ 58058 w 116116"/>
                <a:gd name="connsiteY0" fmla="*/ 14515 h 116116"/>
                <a:gd name="connsiteX1" fmla="*/ 101602 w 116116"/>
                <a:gd name="connsiteY1" fmla="*/ 58058 h 116116"/>
                <a:gd name="connsiteX2" fmla="*/ 58058 w 116116"/>
                <a:gd name="connsiteY2" fmla="*/ 101602 h 116116"/>
                <a:gd name="connsiteX3" fmla="*/ 14515 w 116116"/>
                <a:gd name="connsiteY3" fmla="*/ 58058 h 116116"/>
                <a:gd name="connsiteX4" fmla="*/ 58058 w 116116"/>
                <a:gd name="connsiteY4" fmla="*/ 14515 h 116116"/>
                <a:gd name="connsiteX5" fmla="*/ 58058 w 116116"/>
                <a:gd name="connsiteY5" fmla="*/ 0 h 116116"/>
                <a:gd name="connsiteX6" fmla="*/ 0 w 116116"/>
                <a:gd name="connsiteY6" fmla="*/ 58058 h 116116"/>
                <a:gd name="connsiteX7" fmla="*/ 58058 w 116116"/>
                <a:gd name="connsiteY7" fmla="*/ 116117 h 116116"/>
                <a:gd name="connsiteX8" fmla="*/ 116117 w 116116"/>
                <a:gd name="connsiteY8" fmla="*/ 58058 h 116116"/>
                <a:gd name="connsiteX9" fmla="*/ 58058 w 116116"/>
                <a:gd name="connsiteY9" fmla="*/ 0 h 116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6116" h="116116">
                  <a:moveTo>
                    <a:pt x="58058" y="14515"/>
                  </a:moveTo>
                  <a:cubicBezTo>
                    <a:pt x="82107" y="14515"/>
                    <a:pt x="101602" y="34010"/>
                    <a:pt x="101602" y="58058"/>
                  </a:cubicBezTo>
                  <a:cubicBezTo>
                    <a:pt x="101602" y="82107"/>
                    <a:pt x="82107" y="101602"/>
                    <a:pt x="58058" y="101602"/>
                  </a:cubicBezTo>
                  <a:cubicBezTo>
                    <a:pt x="34010" y="101602"/>
                    <a:pt x="14515" y="82107"/>
                    <a:pt x="14515" y="58058"/>
                  </a:cubicBezTo>
                  <a:cubicBezTo>
                    <a:pt x="14543" y="34022"/>
                    <a:pt x="34022" y="14543"/>
                    <a:pt x="58058" y="14515"/>
                  </a:cubicBezTo>
                  <a:moveTo>
                    <a:pt x="58058" y="0"/>
                  </a:moveTo>
                  <a:cubicBezTo>
                    <a:pt x="25993" y="0"/>
                    <a:pt x="0" y="25993"/>
                    <a:pt x="0" y="58058"/>
                  </a:cubicBezTo>
                  <a:cubicBezTo>
                    <a:pt x="0" y="90123"/>
                    <a:pt x="25993" y="116117"/>
                    <a:pt x="58058" y="116117"/>
                  </a:cubicBezTo>
                  <a:cubicBezTo>
                    <a:pt x="90123" y="116117"/>
                    <a:pt x="116117" y="90123"/>
                    <a:pt x="116117" y="58058"/>
                  </a:cubicBezTo>
                  <a:cubicBezTo>
                    <a:pt x="116117" y="25993"/>
                    <a:pt x="90123" y="0"/>
                    <a:pt x="58058" y="0"/>
                  </a:cubicBezTo>
                  <a:close/>
                </a:path>
              </a:pathLst>
            </a:custGeom>
            <a:solidFill>
              <a:schemeClr val="tx1"/>
            </a:solidFill>
            <a:ln w="724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" name="Freihandform: Form 103">
              <a:extLst>
                <a:ext uri="{FF2B5EF4-FFF2-40B4-BE49-F238E27FC236}">
                  <a16:creationId xmlns:a16="http://schemas.microsoft.com/office/drawing/2014/main" id="{DF6A76E2-C5CD-4588-B0ED-181CBA7BB00E}"/>
                </a:ext>
              </a:extLst>
            </p:cNvPr>
            <p:cNvSpPr/>
            <p:nvPr/>
          </p:nvSpPr>
          <p:spPr>
            <a:xfrm>
              <a:off x="10781366" y="3356914"/>
              <a:ext cx="116116" cy="116116"/>
            </a:xfrm>
            <a:custGeom>
              <a:avLst/>
              <a:gdLst>
                <a:gd name="connsiteX0" fmla="*/ 58058 w 116116"/>
                <a:gd name="connsiteY0" fmla="*/ 14515 h 116116"/>
                <a:gd name="connsiteX1" fmla="*/ 101602 w 116116"/>
                <a:gd name="connsiteY1" fmla="*/ 58058 h 116116"/>
                <a:gd name="connsiteX2" fmla="*/ 58058 w 116116"/>
                <a:gd name="connsiteY2" fmla="*/ 101602 h 116116"/>
                <a:gd name="connsiteX3" fmla="*/ 14515 w 116116"/>
                <a:gd name="connsiteY3" fmla="*/ 58058 h 116116"/>
                <a:gd name="connsiteX4" fmla="*/ 58058 w 116116"/>
                <a:gd name="connsiteY4" fmla="*/ 14515 h 116116"/>
                <a:gd name="connsiteX5" fmla="*/ 58058 w 116116"/>
                <a:gd name="connsiteY5" fmla="*/ 0 h 116116"/>
                <a:gd name="connsiteX6" fmla="*/ 0 w 116116"/>
                <a:gd name="connsiteY6" fmla="*/ 58058 h 116116"/>
                <a:gd name="connsiteX7" fmla="*/ 58058 w 116116"/>
                <a:gd name="connsiteY7" fmla="*/ 116117 h 116116"/>
                <a:gd name="connsiteX8" fmla="*/ 116117 w 116116"/>
                <a:gd name="connsiteY8" fmla="*/ 58058 h 116116"/>
                <a:gd name="connsiteX9" fmla="*/ 58058 w 116116"/>
                <a:gd name="connsiteY9" fmla="*/ 0 h 116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6116" h="116116">
                  <a:moveTo>
                    <a:pt x="58058" y="14515"/>
                  </a:moveTo>
                  <a:cubicBezTo>
                    <a:pt x="82107" y="14515"/>
                    <a:pt x="101602" y="34010"/>
                    <a:pt x="101602" y="58058"/>
                  </a:cubicBezTo>
                  <a:cubicBezTo>
                    <a:pt x="101602" y="82107"/>
                    <a:pt x="82107" y="101602"/>
                    <a:pt x="58058" y="101602"/>
                  </a:cubicBezTo>
                  <a:cubicBezTo>
                    <a:pt x="34010" y="101602"/>
                    <a:pt x="14515" y="82107"/>
                    <a:pt x="14515" y="58058"/>
                  </a:cubicBezTo>
                  <a:cubicBezTo>
                    <a:pt x="14543" y="34022"/>
                    <a:pt x="34021" y="14543"/>
                    <a:pt x="58058" y="14515"/>
                  </a:cubicBezTo>
                  <a:moveTo>
                    <a:pt x="58058" y="0"/>
                  </a:moveTo>
                  <a:cubicBezTo>
                    <a:pt x="25994" y="0"/>
                    <a:pt x="0" y="25993"/>
                    <a:pt x="0" y="58058"/>
                  </a:cubicBezTo>
                  <a:cubicBezTo>
                    <a:pt x="0" y="90123"/>
                    <a:pt x="25994" y="116117"/>
                    <a:pt x="58058" y="116117"/>
                  </a:cubicBezTo>
                  <a:cubicBezTo>
                    <a:pt x="90123" y="116117"/>
                    <a:pt x="116117" y="90123"/>
                    <a:pt x="116117" y="58058"/>
                  </a:cubicBezTo>
                  <a:cubicBezTo>
                    <a:pt x="116117" y="25993"/>
                    <a:pt x="90123" y="0"/>
                    <a:pt x="58058" y="0"/>
                  </a:cubicBezTo>
                  <a:close/>
                </a:path>
              </a:pathLst>
            </a:custGeom>
            <a:solidFill>
              <a:schemeClr val="tx1"/>
            </a:solidFill>
            <a:ln w="724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" name="Freihandform: Form 104">
              <a:extLst>
                <a:ext uri="{FF2B5EF4-FFF2-40B4-BE49-F238E27FC236}">
                  <a16:creationId xmlns:a16="http://schemas.microsoft.com/office/drawing/2014/main" id="{CD7F4B23-7194-4DF2-8DC7-54A9019523ED}"/>
                </a:ext>
              </a:extLst>
            </p:cNvPr>
            <p:cNvSpPr/>
            <p:nvPr/>
          </p:nvSpPr>
          <p:spPr>
            <a:xfrm>
              <a:off x="10581791" y="3556490"/>
              <a:ext cx="116116" cy="116116"/>
            </a:xfrm>
            <a:custGeom>
              <a:avLst/>
              <a:gdLst>
                <a:gd name="connsiteX0" fmla="*/ 58058 w 116116"/>
                <a:gd name="connsiteY0" fmla="*/ 14515 h 116116"/>
                <a:gd name="connsiteX1" fmla="*/ 101602 w 116116"/>
                <a:gd name="connsiteY1" fmla="*/ 58058 h 116116"/>
                <a:gd name="connsiteX2" fmla="*/ 58058 w 116116"/>
                <a:gd name="connsiteY2" fmla="*/ 101602 h 116116"/>
                <a:gd name="connsiteX3" fmla="*/ 14515 w 116116"/>
                <a:gd name="connsiteY3" fmla="*/ 58058 h 116116"/>
                <a:gd name="connsiteX4" fmla="*/ 58058 w 116116"/>
                <a:gd name="connsiteY4" fmla="*/ 14515 h 116116"/>
                <a:gd name="connsiteX5" fmla="*/ 58058 w 116116"/>
                <a:gd name="connsiteY5" fmla="*/ 0 h 116116"/>
                <a:gd name="connsiteX6" fmla="*/ 0 w 116116"/>
                <a:gd name="connsiteY6" fmla="*/ 58058 h 116116"/>
                <a:gd name="connsiteX7" fmla="*/ 58058 w 116116"/>
                <a:gd name="connsiteY7" fmla="*/ 116117 h 116116"/>
                <a:gd name="connsiteX8" fmla="*/ 116117 w 116116"/>
                <a:gd name="connsiteY8" fmla="*/ 58058 h 116116"/>
                <a:gd name="connsiteX9" fmla="*/ 58058 w 116116"/>
                <a:gd name="connsiteY9" fmla="*/ 0 h 116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6116" h="116116">
                  <a:moveTo>
                    <a:pt x="58058" y="14515"/>
                  </a:moveTo>
                  <a:cubicBezTo>
                    <a:pt x="82107" y="14515"/>
                    <a:pt x="101602" y="34010"/>
                    <a:pt x="101602" y="58058"/>
                  </a:cubicBezTo>
                  <a:cubicBezTo>
                    <a:pt x="101602" y="82107"/>
                    <a:pt x="82107" y="101602"/>
                    <a:pt x="58058" y="101602"/>
                  </a:cubicBezTo>
                  <a:cubicBezTo>
                    <a:pt x="34010" y="101602"/>
                    <a:pt x="14515" y="82107"/>
                    <a:pt x="14515" y="58058"/>
                  </a:cubicBezTo>
                  <a:cubicBezTo>
                    <a:pt x="14543" y="34021"/>
                    <a:pt x="34022" y="14543"/>
                    <a:pt x="58058" y="14515"/>
                  </a:cubicBezTo>
                  <a:moveTo>
                    <a:pt x="58058" y="0"/>
                  </a:moveTo>
                  <a:cubicBezTo>
                    <a:pt x="25993" y="0"/>
                    <a:pt x="0" y="25994"/>
                    <a:pt x="0" y="58058"/>
                  </a:cubicBezTo>
                  <a:cubicBezTo>
                    <a:pt x="0" y="90123"/>
                    <a:pt x="25993" y="116117"/>
                    <a:pt x="58058" y="116117"/>
                  </a:cubicBezTo>
                  <a:cubicBezTo>
                    <a:pt x="90123" y="116117"/>
                    <a:pt x="116117" y="90123"/>
                    <a:pt x="116117" y="58058"/>
                  </a:cubicBezTo>
                  <a:cubicBezTo>
                    <a:pt x="116117" y="25994"/>
                    <a:pt x="90123" y="0"/>
                    <a:pt x="58058" y="0"/>
                  </a:cubicBezTo>
                  <a:close/>
                </a:path>
              </a:pathLst>
            </a:custGeom>
            <a:solidFill>
              <a:schemeClr val="tx1"/>
            </a:solidFill>
            <a:ln w="724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" name="Freihandform: Form 105">
              <a:extLst>
                <a:ext uri="{FF2B5EF4-FFF2-40B4-BE49-F238E27FC236}">
                  <a16:creationId xmlns:a16="http://schemas.microsoft.com/office/drawing/2014/main" id="{7874F6B9-0EB8-4B89-B524-0F5045E07D13}"/>
                </a:ext>
              </a:extLst>
            </p:cNvPr>
            <p:cNvSpPr/>
            <p:nvPr/>
          </p:nvSpPr>
          <p:spPr>
            <a:xfrm>
              <a:off x="10581791" y="3157338"/>
              <a:ext cx="116116" cy="116116"/>
            </a:xfrm>
            <a:custGeom>
              <a:avLst/>
              <a:gdLst>
                <a:gd name="connsiteX0" fmla="*/ 58058 w 116116"/>
                <a:gd name="connsiteY0" fmla="*/ 14515 h 116116"/>
                <a:gd name="connsiteX1" fmla="*/ 101602 w 116116"/>
                <a:gd name="connsiteY1" fmla="*/ 58058 h 116116"/>
                <a:gd name="connsiteX2" fmla="*/ 58058 w 116116"/>
                <a:gd name="connsiteY2" fmla="*/ 101602 h 116116"/>
                <a:gd name="connsiteX3" fmla="*/ 14515 w 116116"/>
                <a:gd name="connsiteY3" fmla="*/ 58058 h 116116"/>
                <a:gd name="connsiteX4" fmla="*/ 58058 w 116116"/>
                <a:gd name="connsiteY4" fmla="*/ 14515 h 116116"/>
                <a:gd name="connsiteX5" fmla="*/ 58058 w 116116"/>
                <a:gd name="connsiteY5" fmla="*/ 0 h 116116"/>
                <a:gd name="connsiteX6" fmla="*/ 0 w 116116"/>
                <a:gd name="connsiteY6" fmla="*/ 58058 h 116116"/>
                <a:gd name="connsiteX7" fmla="*/ 58058 w 116116"/>
                <a:gd name="connsiteY7" fmla="*/ 116117 h 116116"/>
                <a:gd name="connsiteX8" fmla="*/ 116117 w 116116"/>
                <a:gd name="connsiteY8" fmla="*/ 58058 h 116116"/>
                <a:gd name="connsiteX9" fmla="*/ 58058 w 116116"/>
                <a:gd name="connsiteY9" fmla="*/ 0 h 116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6116" h="116116">
                  <a:moveTo>
                    <a:pt x="58058" y="14515"/>
                  </a:moveTo>
                  <a:cubicBezTo>
                    <a:pt x="82107" y="14515"/>
                    <a:pt x="101602" y="34010"/>
                    <a:pt x="101602" y="58058"/>
                  </a:cubicBezTo>
                  <a:cubicBezTo>
                    <a:pt x="101602" y="82107"/>
                    <a:pt x="82107" y="101602"/>
                    <a:pt x="58058" y="101602"/>
                  </a:cubicBezTo>
                  <a:cubicBezTo>
                    <a:pt x="34010" y="101602"/>
                    <a:pt x="14515" y="82107"/>
                    <a:pt x="14515" y="58058"/>
                  </a:cubicBezTo>
                  <a:cubicBezTo>
                    <a:pt x="14543" y="34022"/>
                    <a:pt x="34022" y="14543"/>
                    <a:pt x="58058" y="14515"/>
                  </a:cubicBezTo>
                  <a:moveTo>
                    <a:pt x="58058" y="0"/>
                  </a:moveTo>
                  <a:cubicBezTo>
                    <a:pt x="25993" y="0"/>
                    <a:pt x="0" y="25993"/>
                    <a:pt x="0" y="58058"/>
                  </a:cubicBezTo>
                  <a:cubicBezTo>
                    <a:pt x="0" y="90123"/>
                    <a:pt x="25993" y="116117"/>
                    <a:pt x="58058" y="116117"/>
                  </a:cubicBezTo>
                  <a:cubicBezTo>
                    <a:pt x="90123" y="116117"/>
                    <a:pt x="116117" y="90123"/>
                    <a:pt x="116117" y="58058"/>
                  </a:cubicBezTo>
                  <a:cubicBezTo>
                    <a:pt x="116117" y="25993"/>
                    <a:pt x="90123" y="0"/>
                    <a:pt x="58058" y="0"/>
                  </a:cubicBezTo>
                  <a:close/>
                </a:path>
              </a:pathLst>
            </a:custGeom>
            <a:solidFill>
              <a:schemeClr val="tx1"/>
            </a:solidFill>
            <a:ln w="724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07" name="Grafik 33" descr="Übertragen Silhouette">
            <a:extLst>
              <a:ext uri="{FF2B5EF4-FFF2-40B4-BE49-F238E27FC236}">
                <a16:creationId xmlns:a16="http://schemas.microsoft.com/office/drawing/2014/main" id="{4E9BCA3B-A8C7-4C4B-AA20-CBDBC44C9697}"/>
              </a:ext>
            </a:extLst>
          </p:cNvPr>
          <p:cNvGrpSpPr/>
          <p:nvPr/>
        </p:nvGrpSpPr>
        <p:grpSpPr>
          <a:xfrm>
            <a:off x="5390149" y="2268485"/>
            <a:ext cx="509187" cy="388098"/>
            <a:chOff x="5390149" y="2268485"/>
            <a:chExt cx="509187" cy="388098"/>
          </a:xfrm>
          <a:solidFill>
            <a:schemeClr val="tx1"/>
          </a:solidFill>
        </p:grpSpPr>
        <p:sp>
          <p:nvSpPr>
            <p:cNvPr id="108" name="Freihandform: Form 107">
              <a:extLst>
                <a:ext uri="{FF2B5EF4-FFF2-40B4-BE49-F238E27FC236}">
                  <a16:creationId xmlns:a16="http://schemas.microsoft.com/office/drawing/2014/main" id="{280FD179-1BBA-41FD-9058-D0C7B9FBB20B}"/>
                </a:ext>
              </a:extLst>
            </p:cNvPr>
            <p:cNvSpPr/>
            <p:nvPr/>
          </p:nvSpPr>
          <p:spPr>
            <a:xfrm>
              <a:off x="5390149" y="2268485"/>
              <a:ext cx="509187" cy="194123"/>
            </a:xfrm>
            <a:custGeom>
              <a:avLst/>
              <a:gdLst>
                <a:gd name="connsiteX0" fmla="*/ 503126 w 509187"/>
                <a:gd name="connsiteY0" fmla="*/ 91000 h 194123"/>
                <a:gd name="connsiteX1" fmla="*/ 20839 w 509187"/>
                <a:gd name="connsiteY1" fmla="*/ 91000 h 194123"/>
                <a:gd name="connsiteX2" fmla="*/ 20796 w 509187"/>
                <a:gd name="connsiteY2" fmla="*/ 90897 h 194123"/>
                <a:gd name="connsiteX3" fmla="*/ 101271 w 509187"/>
                <a:gd name="connsiteY3" fmla="*/ 10422 h 194123"/>
                <a:gd name="connsiteX4" fmla="*/ 101421 w 509187"/>
                <a:gd name="connsiteY4" fmla="*/ 1851 h 194123"/>
                <a:gd name="connsiteX5" fmla="*/ 92849 w 509187"/>
                <a:gd name="connsiteY5" fmla="*/ 1702 h 194123"/>
                <a:gd name="connsiteX6" fmla="*/ 92700 w 509187"/>
                <a:gd name="connsiteY6" fmla="*/ 1851 h 194123"/>
                <a:gd name="connsiteX7" fmla="*/ 1775 w 509187"/>
                <a:gd name="connsiteY7" fmla="*/ 92776 h 194123"/>
                <a:gd name="connsiteX8" fmla="*/ 1775 w 509187"/>
                <a:gd name="connsiteY8" fmla="*/ 101348 h 194123"/>
                <a:gd name="connsiteX9" fmla="*/ 92700 w 509187"/>
                <a:gd name="connsiteY9" fmla="*/ 192273 h 194123"/>
                <a:gd name="connsiteX10" fmla="*/ 101271 w 509187"/>
                <a:gd name="connsiteY10" fmla="*/ 192422 h 194123"/>
                <a:gd name="connsiteX11" fmla="*/ 101421 w 509187"/>
                <a:gd name="connsiteY11" fmla="*/ 183851 h 194123"/>
                <a:gd name="connsiteX12" fmla="*/ 101271 w 509187"/>
                <a:gd name="connsiteY12" fmla="*/ 183702 h 194123"/>
                <a:gd name="connsiteX13" fmla="*/ 20796 w 509187"/>
                <a:gd name="connsiteY13" fmla="*/ 103227 h 194123"/>
                <a:gd name="connsiteX14" fmla="*/ 20839 w 509187"/>
                <a:gd name="connsiteY14" fmla="*/ 103124 h 194123"/>
                <a:gd name="connsiteX15" fmla="*/ 503126 w 509187"/>
                <a:gd name="connsiteY15" fmla="*/ 103124 h 194123"/>
                <a:gd name="connsiteX16" fmla="*/ 509187 w 509187"/>
                <a:gd name="connsiteY16" fmla="*/ 97062 h 194123"/>
                <a:gd name="connsiteX17" fmla="*/ 503126 w 509187"/>
                <a:gd name="connsiteY17" fmla="*/ 91000 h 194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09187" h="194123">
                  <a:moveTo>
                    <a:pt x="503126" y="91000"/>
                  </a:moveTo>
                  <a:lnTo>
                    <a:pt x="20839" y="91000"/>
                  </a:lnTo>
                  <a:cubicBezTo>
                    <a:pt x="20760" y="91000"/>
                    <a:pt x="20742" y="90952"/>
                    <a:pt x="20796" y="90897"/>
                  </a:cubicBezTo>
                  <a:lnTo>
                    <a:pt x="101271" y="10422"/>
                  </a:lnTo>
                  <a:cubicBezTo>
                    <a:pt x="103680" y="8096"/>
                    <a:pt x="103746" y="4259"/>
                    <a:pt x="101421" y="1851"/>
                  </a:cubicBezTo>
                  <a:cubicBezTo>
                    <a:pt x="99095" y="-558"/>
                    <a:pt x="95257" y="-624"/>
                    <a:pt x="92849" y="1702"/>
                  </a:cubicBezTo>
                  <a:cubicBezTo>
                    <a:pt x="92798" y="1751"/>
                    <a:pt x="92749" y="1800"/>
                    <a:pt x="92700" y="1851"/>
                  </a:cubicBezTo>
                  <a:lnTo>
                    <a:pt x="1775" y="92776"/>
                  </a:lnTo>
                  <a:cubicBezTo>
                    <a:pt x="-592" y="95143"/>
                    <a:pt x="-592" y="98980"/>
                    <a:pt x="1775" y="101348"/>
                  </a:cubicBezTo>
                  <a:lnTo>
                    <a:pt x="92700" y="192273"/>
                  </a:lnTo>
                  <a:cubicBezTo>
                    <a:pt x="95026" y="194681"/>
                    <a:pt x="98863" y="194748"/>
                    <a:pt x="101271" y="192422"/>
                  </a:cubicBezTo>
                  <a:cubicBezTo>
                    <a:pt x="103680" y="190096"/>
                    <a:pt x="103746" y="186259"/>
                    <a:pt x="101421" y="183851"/>
                  </a:cubicBezTo>
                  <a:cubicBezTo>
                    <a:pt x="101372" y="183800"/>
                    <a:pt x="101322" y="183750"/>
                    <a:pt x="101271" y="183702"/>
                  </a:cubicBezTo>
                  <a:lnTo>
                    <a:pt x="20796" y="103227"/>
                  </a:lnTo>
                  <a:cubicBezTo>
                    <a:pt x="20742" y="103172"/>
                    <a:pt x="20760" y="103124"/>
                    <a:pt x="20839" y="103124"/>
                  </a:cubicBezTo>
                  <a:lnTo>
                    <a:pt x="503126" y="103124"/>
                  </a:lnTo>
                  <a:cubicBezTo>
                    <a:pt x="506474" y="103124"/>
                    <a:pt x="509187" y="100410"/>
                    <a:pt x="509187" y="97062"/>
                  </a:cubicBezTo>
                  <a:cubicBezTo>
                    <a:pt x="509187" y="93714"/>
                    <a:pt x="506474" y="91000"/>
                    <a:pt x="503126" y="91000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" name="Freihandform: Form 108">
              <a:extLst>
                <a:ext uri="{FF2B5EF4-FFF2-40B4-BE49-F238E27FC236}">
                  <a16:creationId xmlns:a16="http://schemas.microsoft.com/office/drawing/2014/main" id="{3ED3FBEE-00BA-4BAC-9130-E1332731636A}"/>
                </a:ext>
              </a:extLst>
            </p:cNvPr>
            <p:cNvSpPr/>
            <p:nvPr/>
          </p:nvSpPr>
          <p:spPr>
            <a:xfrm>
              <a:off x="5390154" y="2462459"/>
              <a:ext cx="509175" cy="194123"/>
            </a:xfrm>
            <a:custGeom>
              <a:avLst/>
              <a:gdLst>
                <a:gd name="connsiteX0" fmla="*/ 507401 w 509175"/>
                <a:gd name="connsiteY0" fmla="*/ 92776 h 194123"/>
                <a:gd name="connsiteX1" fmla="*/ 416475 w 509175"/>
                <a:gd name="connsiteY1" fmla="*/ 1851 h 194123"/>
                <a:gd name="connsiteX2" fmla="*/ 407904 w 509175"/>
                <a:gd name="connsiteY2" fmla="*/ 1702 h 194123"/>
                <a:gd name="connsiteX3" fmla="*/ 407755 w 509175"/>
                <a:gd name="connsiteY3" fmla="*/ 10273 h 194123"/>
                <a:gd name="connsiteX4" fmla="*/ 407904 w 509175"/>
                <a:gd name="connsiteY4" fmla="*/ 10422 h 194123"/>
                <a:gd name="connsiteX5" fmla="*/ 488379 w 509175"/>
                <a:gd name="connsiteY5" fmla="*/ 90897 h 194123"/>
                <a:gd name="connsiteX6" fmla="*/ 488336 w 509175"/>
                <a:gd name="connsiteY6" fmla="*/ 91000 h 194123"/>
                <a:gd name="connsiteX7" fmla="*/ 6062 w 509175"/>
                <a:gd name="connsiteY7" fmla="*/ 91000 h 194123"/>
                <a:gd name="connsiteX8" fmla="*/ 0 w 509175"/>
                <a:gd name="connsiteY8" fmla="*/ 97062 h 194123"/>
                <a:gd name="connsiteX9" fmla="*/ 6062 w 509175"/>
                <a:gd name="connsiteY9" fmla="*/ 103124 h 194123"/>
                <a:gd name="connsiteX10" fmla="*/ 488336 w 509175"/>
                <a:gd name="connsiteY10" fmla="*/ 103124 h 194123"/>
                <a:gd name="connsiteX11" fmla="*/ 488379 w 509175"/>
                <a:gd name="connsiteY11" fmla="*/ 103227 h 194123"/>
                <a:gd name="connsiteX12" fmla="*/ 407904 w 509175"/>
                <a:gd name="connsiteY12" fmla="*/ 183702 h 194123"/>
                <a:gd name="connsiteX13" fmla="*/ 407755 w 509175"/>
                <a:gd name="connsiteY13" fmla="*/ 192273 h 194123"/>
                <a:gd name="connsiteX14" fmla="*/ 416326 w 509175"/>
                <a:gd name="connsiteY14" fmla="*/ 192422 h 194123"/>
                <a:gd name="connsiteX15" fmla="*/ 416475 w 509175"/>
                <a:gd name="connsiteY15" fmla="*/ 192273 h 194123"/>
                <a:gd name="connsiteX16" fmla="*/ 507401 w 509175"/>
                <a:gd name="connsiteY16" fmla="*/ 101348 h 194123"/>
                <a:gd name="connsiteX17" fmla="*/ 507401 w 509175"/>
                <a:gd name="connsiteY17" fmla="*/ 92776 h 194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09175" h="194123">
                  <a:moveTo>
                    <a:pt x="507401" y="92776"/>
                  </a:moveTo>
                  <a:lnTo>
                    <a:pt x="416475" y="1851"/>
                  </a:lnTo>
                  <a:cubicBezTo>
                    <a:pt x="414149" y="-558"/>
                    <a:pt x="410312" y="-624"/>
                    <a:pt x="407904" y="1702"/>
                  </a:cubicBezTo>
                  <a:cubicBezTo>
                    <a:pt x="405495" y="4028"/>
                    <a:pt x="405429" y="7865"/>
                    <a:pt x="407755" y="10273"/>
                  </a:cubicBezTo>
                  <a:cubicBezTo>
                    <a:pt x="407804" y="10324"/>
                    <a:pt x="407853" y="10374"/>
                    <a:pt x="407904" y="10422"/>
                  </a:cubicBezTo>
                  <a:lnTo>
                    <a:pt x="488379" y="90897"/>
                  </a:lnTo>
                  <a:cubicBezTo>
                    <a:pt x="488433" y="90958"/>
                    <a:pt x="488415" y="91000"/>
                    <a:pt x="488336" y="91000"/>
                  </a:cubicBezTo>
                  <a:lnTo>
                    <a:pt x="6062" y="91000"/>
                  </a:lnTo>
                  <a:cubicBezTo>
                    <a:pt x="2714" y="91000"/>
                    <a:pt x="0" y="93714"/>
                    <a:pt x="0" y="97062"/>
                  </a:cubicBezTo>
                  <a:cubicBezTo>
                    <a:pt x="0" y="100410"/>
                    <a:pt x="2714" y="103124"/>
                    <a:pt x="6062" y="103124"/>
                  </a:cubicBezTo>
                  <a:lnTo>
                    <a:pt x="488336" y="103124"/>
                  </a:lnTo>
                  <a:cubicBezTo>
                    <a:pt x="488415" y="103124"/>
                    <a:pt x="488433" y="103172"/>
                    <a:pt x="488379" y="103227"/>
                  </a:cubicBezTo>
                  <a:lnTo>
                    <a:pt x="407904" y="183702"/>
                  </a:lnTo>
                  <a:cubicBezTo>
                    <a:pt x="405495" y="186028"/>
                    <a:pt x="405429" y="189865"/>
                    <a:pt x="407755" y="192273"/>
                  </a:cubicBezTo>
                  <a:cubicBezTo>
                    <a:pt x="410081" y="194681"/>
                    <a:pt x="413918" y="194748"/>
                    <a:pt x="416326" y="192422"/>
                  </a:cubicBezTo>
                  <a:cubicBezTo>
                    <a:pt x="416377" y="192373"/>
                    <a:pt x="416427" y="192323"/>
                    <a:pt x="416475" y="192273"/>
                  </a:cubicBezTo>
                  <a:lnTo>
                    <a:pt x="507401" y="101348"/>
                  </a:lnTo>
                  <a:cubicBezTo>
                    <a:pt x="509767" y="98980"/>
                    <a:pt x="509767" y="95143"/>
                    <a:pt x="507401" y="92776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10" name="Grafik 34" descr="Balkendiagramm mit Aufwärtstrend Silhouette">
            <a:extLst>
              <a:ext uri="{FF2B5EF4-FFF2-40B4-BE49-F238E27FC236}">
                <a16:creationId xmlns:a16="http://schemas.microsoft.com/office/drawing/2014/main" id="{D8C7B6FA-B290-419C-8A1C-342C28ECC6C7}"/>
              </a:ext>
            </a:extLst>
          </p:cNvPr>
          <p:cNvGrpSpPr/>
          <p:nvPr/>
        </p:nvGrpSpPr>
        <p:grpSpPr>
          <a:xfrm>
            <a:off x="9466983" y="3211307"/>
            <a:ext cx="412195" cy="412195"/>
            <a:chOff x="9466983" y="3211307"/>
            <a:chExt cx="412195" cy="412195"/>
          </a:xfrm>
          <a:solidFill>
            <a:schemeClr val="tx1"/>
          </a:solidFill>
        </p:grpSpPr>
        <p:sp>
          <p:nvSpPr>
            <p:cNvPr id="111" name="Freihandform: Form 110">
              <a:extLst>
                <a:ext uri="{FF2B5EF4-FFF2-40B4-BE49-F238E27FC236}">
                  <a16:creationId xmlns:a16="http://schemas.microsoft.com/office/drawing/2014/main" id="{F106533A-A0D7-48C2-8CF6-33BF0C3BA830}"/>
                </a:ext>
              </a:extLst>
            </p:cNvPr>
            <p:cNvSpPr/>
            <p:nvPr/>
          </p:nvSpPr>
          <p:spPr>
            <a:xfrm>
              <a:off x="9466983" y="3211307"/>
              <a:ext cx="412013" cy="412195"/>
            </a:xfrm>
            <a:custGeom>
              <a:avLst/>
              <a:gdLst>
                <a:gd name="connsiteX0" fmla="*/ 412014 w 412013"/>
                <a:gd name="connsiteY0" fmla="*/ 400072 h 412195"/>
                <a:gd name="connsiteX1" fmla="*/ 12123 w 412013"/>
                <a:gd name="connsiteY1" fmla="*/ 400072 h 412195"/>
                <a:gd name="connsiteX2" fmla="*/ 12123 w 412013"/>
                <a:gd name="connsiteY2" fmla="*/ 0 h 412195"/>
                <a:gd name="connsiteX3" fmla="*/ 0 w 412013"/>
                <a:gd name="connsiteY3" fmla="*/ 0 h 412195"/>
                <a:gd name="connsiteX4" fmla="*/ 0 w 412013"/>
                <a:gd name="connsiteY4" fmla="*/ 412195 h 412195"/>
                <a:gd name="connsiteX5" fmla="*/ 412014 w 412013"/>
                <a:gd name="connsiteY5" fmla="*/ 412195 h 412195"/>
                <a:gd name="connsiteX6" fmla="*/ 412014 w 412013"/>
                <a:gd name="connsiteY6" fmla="*/ 400072 h 412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2013" h="412195">
                  <a:moveTo>
                    <a:pt x="412014" y="400072"/>
                  </a:moveTo>
                  <a:lnTo>
                    <a:pt x="12123" y="400072"/>
                  </a:lnTo>
                  <a:lnTo>
                    <a:pt x="12123" y="0"/>
                  </a:lnTo>
                  <a:lnTo>
                    <a:pt x="0" y="0"/>
                  </a:lnTo>
                  <a:lnTo>
                    <a:pt x="0" y="412195"/>
                  </a:lnTo>
                  <a:lnTo>
                    <a:pt x="412014" y="412195"/>
                  </a:lnTo>
                  <a:lnTo>
                    <a:pt x="412014" y="400072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" name="Freihandform: Form 111">
              <a:extLst>
                <a:ext uri="{FF2B5EF4-FFF2-40B4-BE49-F238E27FC236}">
                  <a16:creationId xmlns:a16="http://schemas.microsoft.com/office/drawing/2014/main" id="{E00363D8-5FED-4727-9112-DEC597DDDAA7}"/>
                </a:ext>
              </a:extLst>
            </p:cNvPr>
            <p:cNvSpPr/>
            <p:nvPr/>
          </p:nvSpPr>
          <p:spPr>
            <a:xfrm>
              <a:off x="9782192" y="3211307"/>
              <a:ext cx="96987" cy="363701"/>
            </a:xfrm>
            <a:custGeom>
              <a:avLst/>
              <a:gdLst>
                <a:gd name="connsiteX0" fmla="*/ 96987 w 96987"/>
                <a:gd name="connsiteY0" fmla="*/ 0 h 363701"/>
                <a:gd name="connsiteX1" fmla="*/ 0 w 96987"/>
                <a:gd name="connsiteY1" fmla="*/ 0 h 363701"/>
                <a:gd name="connsiteX2" fmla="*/ 0 w 96987"/>
                <a:gd name="connsiteY2" fmla="*/ 363702 h 363701"/>
                <a:gd name="connsiteX3" fmla="*/ 96987 w 96987"/>
                <a:gd name="connsiteY3" fmla="*/ 363702 h 363701"/>
                <a:gd name="connsiteX4" fmla="*/ 84864 w 96987"/>
                <a:gd name="connsiteY4" fmla="*/ 351578 h 363701"/>
                <a:gd name="connsiteX5" fmla="*/ 12123 w 96987"/>
                <a:gd name="connsiteY5" fmla="*/ 351578 h 363701"/>
                <a:gd name="connsiteX6" fmla="*/ 12123 w 96987"/>
                <a:gd name="connsiteY6" fmla="*/ 12123 h 363701"/>
                <a:gd name="connsiteX7" fmla="*/ 84864 w 96987"/>
                <a:gd name="connsiteY7" fmla="*/ 12123 h 363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6987" h="363701">
                  <a:moveTo>
                    <a:pt x="96987" y="0"/>
                  </a:moveTo>
                  <a:lnTo>
                    <a:pt x="0" y="0"/>
                  </a:lnTo>
                  <a:lnTo>
                    <a:pt x="0" y="363702"/>
                  </a:lnTo>
                  <a:lnTo>
                    <a:pt x="96987" y="363702"/>
                  </a:lnTo>
                  <a:close/>
                  <a:moveTo>
                    <a:pt x="84864" y="351578"/>
                  </a:moveTo>
                  <a:lnTo>
                    <a:pt x="12123" y="351578"/>
                  </a:lnTo>
                  <a:lnTo>
                    <a:pt x="12123" y="12123"/>
                  </a:lnTo>
                  <a:lnTo>
                    <a:pt x="84864" y="12123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" name="Freihandform: Form 112">
              <a:extLst>
                <a:ext uri="{FF2B5EF4-FFF2-40B4-BE49-F238E27FC236}">
                  <a16:creationId xmlns:a16="http://schemas.microsoft.com/office/drawing/2014/main" id="{753AB0CA-6BE1-40DC-83D1-8C84657F9D82}"/>
                </a:ext>
              </a:extLst>
            </p:cNvPr>
            <p:cNvSpPr/>
            <p:nvPr/>
          </p:nvSpPr>
          <p:spPr>
            <a:xfrm>
              <a:off x="9648834" y="3344664"/>
              <a:ext cx="96987" cy="230344"/>
            </a:xfrm>
            <a:custGeom>
              <a:avLst/>
              <a:gdLst>
                <a:gd name="connsiteX0" fmla="*/ 0 w 96987"/>
                <a:gd name="connsiteY0" fmla="*/ 230345 h 230344"/>
                <a:gd name="connsiteX1" fmla="*/ 96987 w 96987"/>
                <a:gd name="connsiteY1" fmla="*/ 230345 h 230344"/>
                <a:gd name="connsiteX2" fmla="*/ 96987 w 96987"/>
                <a:gd name="connsiteY2" fmla="*/ 0 h 230344"/>
                <a:gd name="connsiteX3" fmla="*/ 0 w 96987"/>
                <a:gd name="connsiteY3" fmla="*/ 0 h 230344"/>
                <a:gd name="connsiteX4" fmla="*/ 12123 w 96987"/>
                <a:gd name="connsiteY4" fmla="*/ 12123 h 230344"/>
                <a:gd name="connsiteX5" fmla="*/ 84864 w 96987"/>
                <a:gd name="connsiteY5" fmla="*/ 12123 h 230344"/>
                <a:gd name="connsiteX6" fmla="*/ 84864 w 96987"/>
                <a:gd name="connsiteY6" fmla="*/ 218221 h 230344"/>
                <a:gd name="connsiteX7" fmla="*/ 12123 w 96987"/>
                <a:gd name="connsiteY7" fmla="*/ 218221 h 230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6987" h="230344">
                  <a:moveTo>
                    <a:pt x="0" y="230345"/>
                  </a:moveTo>
                  <a:lnTo>
                    <a:pt x="96987" y="230345"/>
                  </a:lnTo>
                  <a:lnTo>
                    <a:pt x="96987" y="0"/>
                  </a:lnTo>
                  <a:lnTo>
                    <a:pt x="0" y="0"/>
                  </a:lnTo>
                  <a:close/>
                  <a:moveTo>
                    <a:pt x="12123" y="12123"/>
                  </a:moveTo>
                  <a:lnTo>
                    <a:pt x="84864" y="12123"/>
                  </a:lnTo>
                  <a:lnTo>
                    <a:pt x="84864" y="218221"/>
                  </a:lnTo>
                  <a:lnTo>
                    <a:pt x="12123" y="218221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" name="Freihandform: Form 113">
              <a:extLst>
                <a:ext uri="{FF2B5EF4-FFF2-40B4-BE49-F238E27FC236}">
                  <a16:creationId xmlns:a16="http://schemas.microsoft.com/office/drawing/2014/main" id="{DA6F37B0-1B4A-4691-A595-82BFDFB3AB8F}"/>
                </a:ext>
              </a:extLst>
            </p:cNvPr>
            <p:cNvSpPr/>
            <p:nvPr/>
          </p:nvSpPr>
          <p:spPr>
            <a:xfrm>
              <a:off x="9515477" y="3453775"/>
              <a:ext cx="96987" cy="121233"/>
            </a:xfrm>
            <a:custGeom>
              <a:avLst/>
              <a:gdLst>
                <a:gd name="connsiteX0" fmla="*/ 0 w 96987"/>
                <a:gd name="connsiteY0" fmla="*/ 121234 h 121233"/>
                <a:gd name="connsiteX1" fmla="*/ 96987 w 96987"/>
                <a:gd name="connsiteY1" fmla="*/ 121234 h 121233"/>
                <a:gd name="connsiteX2" fmla="*/ 96987 w 96987"/>
                <a:gd name="connsiteY2" fmla="*/ 0 h 121233"/>
                <a:gd name="connsiteX3" fmla="*/ 0 w 96987"/>
                <a:gd name="connsiteY3" fmla="*/ 0 h 121233"/>
                <a:gd name="connsiteX4" fmla="*/ 12123 w 96987"/>
                <a:gd name="connsiteY4" fmla="*/ 12123 h 121233"/>
                <a:gd name="connsiteX5" fmla="*/ 84864 w 96987"/>
                <a:gd name="connsiteY5" fmla="*/ 12123 h 121233"/>
                <a:gd name="connsiteX6" fmla="*/ 84864 w 96987"/>
                <a:gd name="connsiteY6" fmla="*/ 109111 h 121233"/>
                <a:gd name="connsiteX7" fmla="*/ 12123 w 96987"/>
                <a:gd name="connsiteY7" fmla="*/ 109111 h 121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6987" h="121233">
                  <a:moveTo>
                    <a:pt x="0" y="121234"/>
                  </a:moveTo>
                  <a:lnTo>
                    <a:pt x="96987" y="121234"/>
                  </a:lnTo>
                  <a:lnTo>
                    <a:pt x="96987" y="0"/>
                  </a:lnTo>
                  <a:lnTo>
                    <a:pt x="0" y="0"/>
                  </a:lnTo>
                  <a:close/>
                  <a:moveTo>
                    <a:pt x="12123" y="12123"/>
                  </a:moveTo>
                  <a:lnTo>
                    <a:pt x="84864" y="12123"/>
                  </a:lnTo>
                  <a:lnTo>
                    <a:pt x="84864" y="109111"/>
                  </a:lnTo>
                  <a:lnTo>
                    <a:pt x="12123" y="109111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5" name="Freihandform: Form 114">
              <a:extLst>
                <a:ext uri="{FF2B5EF4-FFF2-40B4-BE49-F238E27FC236}">
                  <a16:creationId xmlns:a16="http://schemas.microsoft.com/office/drawing/2014/main" id="{261D39B1-B250-441B-B85B-815834A2303B}"/>
                </a:ext>
              </a:extLst>
            </p:cNvPr>
            <p:cNvSpPr/>
            <p:nvPr/>
          </p:nvSpPr>
          <p:spPr>
            <a:xfrm>
              <a:off x="9511191" y="3211307"/>
              <a:ext cx="198278" cy="198259"/>
            </a:xfrm>
            <a:custGeom>
              <a:avLst/>
              <a:gdLst>
                <a:gd name="connsiteX0" fmla="*/ 8571 w 198278"/>
                <a:gd name="connsiteY0" fmla="*/ 198260 h 198259"/>
                <a:gd name="connsiteX1" fmla="*/ 186052 w 198278"/>
                <a:gd name="connsiteY1" fmla="*/ 20779 h 198259"/>
                <a:gd name="connsiteX2" fmla="*/ 186137 w 198278"/>
                <a:gd name="connsiteY2" fmla="*/ 20780 h 198259"/>
                <a:gd name="connsiteX3" fmla="*/ 186155 w 198278"/>
                <a:gd name="connsiteY3" fmla="*/ 20822 h 198259"/>
                <a:gd name="connsiteX4" fmla="*/ 186155 w 198278"/>
                <a:gd name="connsiteY4" fmla="*/ 78802 h 198259"/>
                <a:gd name="connsiteX5" fmla="*/ 198278 w 198278"/>
                <a:gd name="connsiteY5" fmla="*/ 78802 h 198259"/>
                <a:gd name="connsiteX6" fmla="*/ 198278 w 198278"/>
                <a:gd name="connsiteY6" fmla="*/ 0 h 198259"/>
                <a:gd name="connsiteX7" fmla="*/ 119640 w 198278"/>
                <a:gd name="connsiteY7" fmla="*/ 0 h 198259"/>
                <a:gd name="connsiteX8" fmla="*/ 119640 w 198278"/>
                <a:gd name="connsiteY8" fmla="*/ 12123 h 198259"/>
                <a:gd name="connsiteX9" fmla="*/ 177420 w 198278"/>
                <a:gd name="connsiteY9" fmla="*/ 12123 h 198259"/>
                <a:gd name="connsiteX10" fmla="*/ 177480 w 198278"/>
                <a:gd name="connsiteY10" fmla="*/ 12185 h 198259"/>
                <a:gd name="connsiteX11" fmla="*/ 177462 w 198278"/>
                <a:gd name="connsiteY11" fmla="*/ 12226 h 198259"/>
                <a:gd name="connsiteX12" fmla="*/ 0 w 198278"/>
                <a:gd name="connsiteY12" fmla="*/ 189689 h 198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8278" h="198259">
                  <a:moveTo>
                    <a:pt x="8571" y="198260"/>
                  </a:moveTo>
                  <a:lnTo>
                    <a:pt x="186052" y="20779"/>
                  </a:lnTo>
                  <a:cubicBezTo>
                    <a:pt x="186075" y="20756"/>
                    <a:pt x="186114" y="20756"/>
                    <a:pt x="186137" y="20780"/>
                  </a:cubicBezTo>
                  <a:cubicBezTo>
                    <a:pt x="186148" y="20792"/>
                    <a:pt x="186155" y="20806"/>
                    <a:pt x="186155" y="20822"/>
                  </a:cubicBezTo>
                  <a:lnTo>
                    <a:pt x="186155" y="78802"/>
                  </a:lnTo>
                  <a:lnTo>
                    <a:pt x="198278" y="78802"/>
                  </a:lnTo>
                  <a:lnTo>
                    <a:pt x="198278" y="0"/>
                  </a:lnTo>
                  <a:lnTo>
                    <a:pt x="119640" y="0"/>
                  </a:lnTo>
                  <a:lnTo>
                    <a:pt x="119640" y="12123"/>
                  </a:lnTo>
                  <a:lnTo>
                    <a:pt x="177420" y="12123"/>
                  </a:lnTo>
                  <a:cubicBezTo>
                    <a:pt x="177453" y="12124"/>
                    <a:pt x="177480" y="12151"/>
                    <a:pt x="177480" y="12185"/>
                  </a:cubicBezTo>
                  <a:cubicBezTo>
                    <a:pt x="177479" y="12200"/>
                    <a:pt x="177473" y="12216"/>
                    <a:pt x="177462" y="12226"/>
                  </a:cubicBezTo>
                  <a:lnTo>
                    <a:pt x="0" y="189689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16" name="Grafik 35" descr="Prüfliste Silhouette">
            <a:extLst>
              <a:ext uri="{FF2B5EF4-FFF2-40B4-BE49-F238E27FC236}">
                <a16:creationId xmlns:a16="http://schemas.microsoft.com/office/drawing/2014/main" id="{A9E3C3F2-F6E1-4F03-A270-CD5F71C3D9FC}"/>
              </a:ext>
            </a:extLst>
          </p:cNvPr>
          <p:cNvGrpSpPr/>
          <p:nvPr/>
        </p:nvGrpSpPr>
        <p:grpSpPr>
          <a:xfrm>
            <a:off x="7713645" y="4133908"/>
            <a:ext cx="363701" cy="484935"/>
            <a:chOff x="7713645" y="4133908"/>
            <a:chExt cx="363701" cy="484935"/>
          </a:xfrm>
          <a:solidFill>
            <a:schemeClr val="tx1"/>
          </a:solidFill>
        </p:grpSpPr>
        <p:sp>
          <p:nvSpPr>
            <p:cNvPr id="117" name="Freihandform: Form 116">
              <a:extLst>
                <a:ext uri="{FF2B5EF4-FFF2-40B4-BE49-F238E27FC236}">
                  <a16:creationId xmlns:a16="http://schemas.microsoft.com/office/drawing/2014/main" id="{E78EB4F2-BEC4-4EF4-ACF3-B3C8E6B72DDC}"/>
                </a:ext>
              </a:extLst>
            </p:cNvPr>
            <p:cNvSpPr/>
            <p:nvPr/>
          </p:nvSpPr>
          <p:spPr>
            <a:xfrm>
              <a:off x="7776038" y="4202363"/>
              <a:ext cx="87373" cy="67412"/>
            </a:xfrm>
            <a:custGeom>
              <a:avLst/>
              <a:gdLst>
                <a:gd name="connsiteX0" fmla="*/ 28532 w 87373"/>
                <a:gd name="connsiteY0" fmla="*/ 50270 h 67412"/>
                <a:gd name="connsiteX1" fmla="*/ 8571 w 87373"/>
                <a:gd name="connsiteY1" fmla="*/ 30308 h 67412"/>
                <a:gd name="connsiteX2" fmla="*/ 0 w 87373"/>
                <a:gd name="connsiteY2" fmla="*/ 38880 h 67412"/>
                <a:gd name="connsiteX3" fmla="*/ 28532 w 87373"/>
                <a:gd name="connsiteY3" fmla="*/ 67412 h 67412"/>
                <a:gd name="connsiteX4" fmla="*/ 87373 w 87373"/>
                <a:gd name="connsiteY4" fmla="*/ 8571 h 67412"/>
                <a:gd name="connsiteX5" fmla="*/ 78802 w 87373"/>
                <a:gd name="connsiteY5" fmla="*/ 0 h 67412"/>
                <a:gd name="connsiteX6" fmla="*/ 28532 w 87373"/>
                <a:gd name="connsiteY6" fmla="*/ 50270 h 67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7373" h="67412">
                  <a:moveTo>
                    <a:pt x="28532" y="50270"/>
                  </a:moveTo>
                  <a:lnTo>
                    <a:pt x="8571" y="30308"/>
                  </a:lnTo>
                  <a:lnTo>
                    <a:pt x="0" y="38880"/>
                  </a:lnTo>
                  <a:lnTo>
                    <a:pt x="28532" y="67412"/>
                  </a:lnTo>
                  <a:lnTo>
                    <a:pt x="87373" y="8571"/>
                  </a:lnTo>
                  <a:lnTo>
                    <a:pt x="78802" y="0"/>
                  </a:lnTo>
                  <a:lnTo>
                    <a:pt x="28532" y="50270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8" name="Freihandform: Form 117">
              <a:extLst>
                <a:ext uri="{FF2B5EF4-FFF2-40B4-BE49-F238E27FC236}">
                  <a16:creationId xmlns:a16="http://schemas.microsoft.com/office/drawing/2014/main" id="{3B2C092D-8003-40F3-A9FC-EB0920ABA2F3}"/>
                </a:ext>
              </a:extLst>
            </p:cNvPr>
            <p:cNvSpPr/>
            <p:nvPr/>
          </p:nvSpPr>
          <p:spPr>
            <a:xfrm>
              <a:off x="7901558" y="4236957"/>
              <a:ext cx="115172" cy="12123"/>
            </a:xfrm>
            <a:custGeom>
              <a:avLst/>
              <a:gdLst>
                <a:gd name="connsiteX0" fmla="*/ 0 w 115172"/>
                <a:gd name="connsiteY0" fmla="*/ 0 h 12123"/>
                <a:gd name="connsiteX1" fmla="*/ 115172 w 115172"/>
                <a:gd name="connsiteY1" fmla="*/ 0 h 12123"/>
                <a:gd name="connsiteX2" fmla="*/ 115172 w 115172"/>
                <a:gd name="connsiteY2" fmla="*/ 12123 h 12123"/>
                <a:gd name="connsiteX3" fmla="*/ 0 w 115172"/>
                <a:gd name="connsiteY3" fmla="*/ 12123 h 12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172" h="12123">
                  <a:moveTo>
                    <a:pt x="0" y="0"/>
                  </a:moveTo>
                  <a:lnTo>
                    <a:pt x="115172" y="0"/>
                  </a:lnTo>
                  <a:lnTo>
                    <a:pt x="115172" y="12123"/>
                  </a:lnTo>
                  <a:lnTo>
                    <a:pt x="0" y="12123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9" name="Freihandform: Form 118">
              <a:extLst>
                <a:ext uri="{FF2B5EF4-FFF2-40B4-BE49-F238E27FC236}">
                  <a16:creationId xmlns:a16="http://schemas.microsoft.com/office/drawing/2014/main" id="{B6CD16C5-7EB9-4AF0-BD01-E5D6214D0884}"/>
                </a:ext>
              </a:extLst>
            </p:cNvPr>
            <p:cNvSpPr/>
            <p:nvPr/>
          </p:nvSpPr>
          <p:spPr>
            <a:xfrm>
              <a:off x="7776038" y="4293288"/>
              <a:ext cx="87373" cy="67412"/>
            </a:xfrm>
            <a:custGeom>
              <a:avLst/>
              <a:gdLst>
                <a:gd name="connsiteX0" fmla="*/ 28532 w 87373"/>
                <a:gd name="connsiteY0" fmla="*/ 50270 h 67412"/>
                <a:gd name="connsiteX1" fmla="*/ 8571 w 87373"/>
                <a:gd name="connsiteY1" fmla="*/ 30308 h 67412"/>
                <a:gd name="connsiteX2" fmla="*/ 0 w 87373"/>
                <a:gd name="connsiteY2" fmla="*/ 38880 h 67412"/>
                <a:gd name="connsiteX3" fmla="*/ 28532 w 87373"/>
                <a:gd name="connsiteY3" fmla="*/ 67412 h 67412"/>
                <a:gd name="connsiteX4" fmla="*/ 87373 w 87373"/>
                <a:gd name="connsiteY4" fmla="*/ 8571 h 67412"/>
                <a:gd name="connsiteX5" fmla="*/ 78802 w 87373"/>
                <a:gd name="connsiteY5" fmla="*/ 0 h 67412"/>
                <a:gd name="connsiteX6" fmla="*/ 28532 w 87373"/>
                <a:gd name="connsiteY6" fmla="*/ 50270 h 67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7373" h="67412">
                  <a:moveTo>
                    <a:pt x="28532" y="50270"/>
                  </a:moveTo>
                  <a:lnTo>
                    <a:pt x="8571" y="30308"/>
                  </a:lnTo>
                  <a:lnTo>
                    <a:pt x="0" y="38880"/>
                  </a:lnTo>
                  <a:lnTo>
                    <a:pt x="28532" y="67412"/>
                  </a:lnTo>
                  <a:lnTo>
                    <a:pt x="87373" y="8571"/>
                  </a:lnTo>
                  <a:lnTo>
                    <a:pt x="78802" y="0"/>
                  </a:lnTo>
                  <a:lnTo>
                    <a:pt x="28532" y="50270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0" name="Freihandform: Form 119">
              <a:extLst>
                <a:ext uri="{FF2B5EF4-FFF2-40B4-BE49-F238E27FC236}">
                  <a16:creationId xmlns:a16="http://schemas.microsoft.com/office/drawing/2014/main" id="{0297407B-4B4F-42B7-AB42-98319311577D}"/>
                </a:ext>
              </a:extLst>
            </p:cNvPr>
            <p:cNvSpPr/>
            <p:nvPr/>
          </p:nvSpPr>
          <p:spPr>
            <a:xfrm>
              <a:off x="7901558" y="4327882"/>
              <a:ext cx="115172" cy="12123"/>
            </a:xfrm>
            <a:custGeom>
              <a:avLst/>
              <a:gdLst>
                <a:gd name="connsiteX0" fmla="*/ 0 w 115172"/>
                <a:gd name="connsiteY0" fmla="*/ 0 h 12123"/>
                <a:gd name="connsiteX1" fmla="*/ 115172 w 115172"/>
                <a:gd name="connsiteY1" fmla="*/ 0 h 12123"/>
                <a:gd name="connsiteX2" fmla="*/ 115172 w 115172"/>
                <a:gd name="connsiteY2" fmla="*/ 12123 h 12123"/>
                <a:gd name="connsiteX3" fmla="*/ 0 w 115172"/>
                <a:gd name="connsiteY3" fmla="*/ 12123 h 12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172" h="12123">
                  <a:moveTo>
                    <a:pt x="0" y="0"/>
                  </a:moveTo>
                  <a:lnTo>
                    <a:pt x="115172" y="0"/>
                  </a:lnTo>
                  <a:lnTo>
                    <a:pt x="115172" y="12123"/>
                  </a:lnTo>
                  <a:lnTo>
                    <a:pt x="0" y="12123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1" name="Freihandform: Form 120">
              <a:extLst>
                <a:ext uri="{FF2B5EF4-FFF2-40B4-BE49-F238E27FC236}">
                  <a16:creationId xmlns:a16="http://schemas.microsoft.com/office/drawing/2014/main" id="{9C04CF4A-1D33-4DEB-8C47-293C0D12F772}"/>
                </a:ext>
              </a:extLst>
            </p:cNvPr>
            <p:cNvSpPr/>
            <p:nvPr/>
          </p:nvSpPr>
          <p:spPr>
            <a:xfrm>
              <a:off x="7776038" y="4384214"/>
              <a:ext cx="87373" cy="67412"/>
            </a:xfrm>
            <a:custGeom>
              <a:avLst/>
              <a:gdLst>
                <a:gd name="connsiteX0" fmla="*/ 28532 w 87373"/>
                <a:gd name="connsiteY0" fmla="*/ 50270 h 67412"/>
                <a:gd name="connsiteX1" fmla="*/ 8571 w 87373"/>
                <a:gd name="connsiteY1" fmla="*/ 30308 h 67412"/>
                <a:gd name="connsiteX2" fmla="*/ 0 w 87373"/>
                <a:gd name="connsiteY2" fmla="*/ 38880 h 67412"/>
                <a:gd name="connsiteX3" fmla="*/ 28532 w 87373"/>
                <a:gd name="connsiteY3" fmla="*/ 67412 h 67412"/>
                <a:gd name="connsiteX4" fmla="*/ 87373 w 87373"/>
                <a:gd name="connsiteY4" fmla="*/ 8571 h 67412"/>
                <a:gd name="connsiteX5" fmla="*/ 78802 w 87373"/>
                <a:gd name="connsiteY5" fmla="*/ 0 h 67412"/>
                <a:gd name="connsiteX6" fmla="*/ 28532 w 87373"/>
                <a:gd name="connsiteY6" fmla="*/ 50270 h 67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7373" h="67412">
                  <a:moveTo>
                    <a:pt x="28532" y="50270"/>
                  </a:moveTo>
                  <a:lnTo>
                    <a:pt x="8571" y="30308"/>
                  </a:lnTo>
                  <a:lnTo>
                    <a:pt x="0" y="38880"/>
                  </a:lnTo>
                  <a:lnTo>
                    <a:pt x="28532" y="67412"/>
                  </a:lnTo>
                  <a:lnTo>
                    <a:pt x="87373" y="8571"/>
                  </a:lnTo>
                  <a:lnTo>
                    <a:pt x="78802" y="0"/>
                  </a:lnTo>
                  <a:lnTo>
                    <a:pt x="28532" y="50270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2" name="Freihandform: Form 121">
              <a:extLst>
                <a:ext uri="{FF2B5EF4-FFF2-40B4-BE49-F238E27FC236}">
                  <a16:creationId xmlns:a16="http://schemas.microsoft.com/office/drawing/2014/main" id="{F8F62A02-FBDB-4DEB-9173-2D6B64A6E039}"/>
                </a:ext>
              </a:extLst>
            </p:cNvPr>
            <p:cNvSpPr/>
            <p:nvPr/>
          </p:nvSpPr>
          <p:spPr>
            <a:xfrm>
              <a:off x="7901558" y="4418808"/>
              <a:ext cx="115172" cy="12123"/>
            </a:xfrm>
            <a:custGeom>
              <a:avLst/>
              <a:gdLst>
                <a:gd name="connsiteX0" fmla="*/ 0 w 115172"/>
                <a:gd name="connsiteY0" fmla="*/ 0 h 12123"/>
                <a:gd name="connsiteX1" fmla="*/ 115172 w 115172"/>
                <a:gd name="connsiteY1" fmla="*/ 0 h 12123"/>
                <a:gd name="connsiteX2" fmla="*/ 115172 w 115172"/>
                <a:gd name="connsiteY2" fmla="*/ 12123 h 12123"/>
                <a:gd name="connsiteX3" fmla="*/ 0 w 115172"/>
                <a:gd name="connsiteY3" fmla="*/ 12123 h 12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172" h="12123">
                  <a:moveTo>
                    <a:pt x="0" y="0"/>
                  </a:moveTo>
                  <a:lnTo>
                    <a:pt x="115172" y="0"/>
                  </a:lnTo>
                  <a:lnTo>
                    <a:pt x="115172" y="12123"/>
                  </a:lnTo>
                  <a:lnTo>
                    <a:pt x="0" y="12123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3" name="Freihandform: Form 122">
              <a:extLst>
                <a:ext uri="{FF2B5EF4-FFF2-40B4-BE49-F238E27FC236}">
                  <a16:creationId xmlns:a16="http://schemas.microsoft.com/office/drawing/2014/main" id="{E7F7DDED-8C7E-4CD4-96D8-B7253D917AB3}"/>
                </a:ext>
              </a:extLst>
            </p:cNvPr>
            <p:cNvSpPr/>
            <p:nvPr/>
          </p:nvSpPr>
          <p:spPr>
            <a:xfrm>
              <a:off x="7776038" y="4475139"/>
              <a:ext cx="87373" cy="67412"/>
            </a:xfrm>
            <a:custGeom>
              <a:avLst/>
              <a:gdLst>
                <a:gd name="connsiteX0" fmla="*/ 28532 w 87373"/>
                <a:gd name="connsiteY0" fmla="*/ 50270 h 67412"/>
                <a:gd name="connsiteX1" fmla="*/ 8571 w 87373"/>
                <a:gd name="connsiteY1" fmla="*/ 30308 h 67412"/>
                <a:gd name="connsiteX2" fmla="*/ 0 w 87373"/>
                <a:gd name="connsiteY2" fmla="*/ 38880 h 67412"/>
                <a:gd name="connsiteX3" fmla="*/ 28532 w 87373"/>
                <a:gd name="connsiteY3" fmla="*/ 67412 h 67412"/>
                <a:gd name="connsiteX4" fmla="*/ 87373 w 87373"/>
                <a:gd name="connsiteY4" fmla="*/ 8571 h 67412"/>
                <a:gd name="connsiteX5" fmla="*/ 78802 w 87373"/>
                <a:gd name="connsiteY5" fmla="*/ 0 h 67412"/>
                <a:gd name="connsiteX6" fmla="*/ 28532 w 87373"/>
                <a:gd name="connsiteY6" fmla="*/ 50270 h 67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7373" h="67412">
                  <a:moveTo>
                    <a:pt x="28532" y="50270"/>
                  </a:moveTo>
                  <a:lnTo>
                    <a:pt x="8571" y="30308"/>
                  </a:lnTo>
                  <a:lnTo>
                    <a:pt x="0" y="38880"/>
                  </a:lnTo>
                  <a:lnTo>
                    <a:pt x="28532" y="67412"/>
                  </a:lnTo>
                  <a:lnTo>
                    <a:pt x="87373" y="8571"/>
                  </a:lnTo>
                  <a:lnTo>
                    <a:pt x="78802" y="0"/>
                  </a:lnTo>
                  <a:lnTo>
                    <a:pt x="28532" y="50270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4" name="Freihandform: Form 123">
              <a:extLst>
                <a:ext uri="{FF2B5EF4-FFF2-40B4-BE49-F238E27FC236}">
                  <a16:creationId xmlns:a16="http://schemas.microsoft.com/office/drawing/2014/main" id="{800FCC5B-FEE8-4FA7-A2EE-1184ADACAE90}"/>
                </a:ext>
              </a:extLst>
            </p:cNvPr>
            <p:cNvSpPr/>
            <p:nvPr/>
          </p:nvSpPr>
          <p:spPr>
            <a:xfrm>
              <a:off x="7901558" y="4509733"/>
              <a:ext cx="115172" cy="12123"/>
            </a:xfrm>
            <a:custGeom>
              <a:avLst/>
              <a:gdLst>
                <a:gd name="connsiteX0" fmla="*/ 0 w 115172"/>
                <a:gd name="connsiteY0" fmla="*/ 0 h 12123"/>
                <a:gd name="connsiteX1" fmla="*/ 115172 w 115172"/>
                <a:gd name="connsiteY1" fmla="*/ 0 h 12123"/>
                <a:gd name="connsiteX2" fmla="*/ 115172 w 115172"/>
                <a:gd name="connsiteY2" fmla="*/ 12123 h 12123"/>
                <a:gd name="connsiteX3" fmla="*/ 0 w 115172"/>
                <a:gd name="connsiteY3" fmla="*/ 12123 h 12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172" h="12123">
                  <a:moveTo>
                    <a:pt x="0" y="0"/>
                  </a:moveTo>
                  <a:lnTo>
                    <a:pt x="115172" y="0"/>
                  </a:lnTo>
                  <a:lnTo>
                    <a:pt x="115172" y="12123"/>
                  </a:lnTo>
                  <a:lnTo>
                    <a:pt x="0" y="12123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5" name="Freihandform: Form 124">
              <a:extLst>
                <a:ext uri="{FF2B5EF4-FFF2-40B4-BE49-F238E27FC236}">
                  <a16:creationId xmlns:a16="http://schemas.microsoft.com/office/drawing/2014/main" id="{88F6F698-5B33-42BF-BC86-BE54342E0496}"/>
                </a:ext>
              </a:extLst>
            </p:cNvPr>
            <p:cNvSpPr/>
            <p:nvPr/>
          </p:nvSpPr>
          <p:spPr>
            <a:xfrm>
              <a:off x="7713645" y="4133908"/>
              <a:ext cx="363701" cy="484935"/>
            </a:xfrm>
            <a:custGeom>
              <a:avLst/>
              <a:gdLst>
                <a:gd name="connsiteX0" fmla="*/ 0 w 363701"/>
                <a:gd name="connsiteY0" fmla="*/ 484936 h 484935"/>
                <a:gd name="connsiteX1" fmla="*/ 363702 w 363701"/>
                <a:gd name="connsiteY1" fmla="*/ 484936 h 484935"/>
                <a:gd name="connsiteX2" fmla="*/ 363702 w 363701"/>
                <a:gd name="connsiteY2" fmla="*/ 0 h 484935"/>
                <a:gd name="connsiteX3" fmla="*/ 0 w 363701"/>
                <a:gd name="connsiteY3" fmla="*/ 0 h 484935"/>
                <a:gd name="connsiteX4" fmla="*/ 12123 w 363701"/>
                <a:gd name="connsiteY4" fmla="*/ 12123 h 484935"/>
                <a:gd name="connsiteX5" fmla="*/ 351578 w 363701"/>
                <a:gd name="connsiteY5" fmla="*/ 12123 h 484935"/>
                <a:gd name="connsiteX6" fmla="*/ 351578 w 363701"/>
                <a:gd name="connsiteY6" fmla="*/ 472812 h 484935"/>
                <a:gd name="connsiteX7" fmla="*/ 12123 w 363701"/>
                <a:gd name="connsiteY7" fmla="*/ 472812 h 484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3701" h="484935">
                  <a:moveTo>
                    <a:pt x="0" y="484936"/>
                  </a:moveTo>
                  <a:lnTo>
                    <a:pt x="363702" y="484936"/>
                  </a:lnTo>
                  <a:lnTo>
                    <a:pt x="363702" y="0"/>
                  </a:lnTo>
                  <a:lnTo>
                    <a:pt x="0" y="0"/>
                  </a:lnTo>
                  <a:close/>
                  <a:moveTo>
                    <a:pt x="12123" y="12123"/>
                  </a:moveTo>
                  <a:lnTo>
                    <a:pt x="351578" y="12123"/>
                  </a:lnTo>
                  <a:lnTo>
                    <a:pt x="351578" y="472812"/>
                  </a:lnTo>
                  <a:lnTo>
                    <a:pt x="12123" y="472812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46" name="Gruppieren 245">
            <a:extLst>
              <a:ext uri="{FF2B5EF4-FFF2-40B4-BE49-F238E27FC236}">
                <a16:creationId xmlns:a16="http://schemas.microsoft.com/office/drawing/2014/main" id="{44A3EB78-BB26-4156-B061-5351FE9A8C59}"/>
              </a:ext>
            </a:extLst>
          </p:cNvPr>
          <p:cNvGrpSpPr/>
          <p:nvPr/>
        </p:nvGrpSpPr>
        <p:grpSpPr>
          <a:xfrm>
            <a:off x="5357739" y="4980086"/>
            <a:ext cx="448565" cy="478874"/>
            <a:chOff x="5357739" y="4980086"/>
            <a:chExt cx="448565" cy="478874"/>
          </a:xfrm>
        </p:grpSpPr>
        <p:sp>
          <p:nvSpPr>
            <p:cNvPr id="127" name="Freihandform: Form 126">
              <a:extLst>
                <a:ext uri="{FF2B5EF4-FFF2-40B4-BE49-F238E27FC236}">
                  <a16:creationId xmlns:a16="http://schemas.microsoft.com/office/drawing/2014/main" id="{4BD83A5F-952E-466E-A19D-2737E98A0A10}"/>
                </a:ext>
              </a:extLst>
            </p:cNvPr>
            <p:cNvSpPr/>
            <p:nvPr/>
          </p:nvSpPr>
          <p:spPr>
            <a:xfrm>
              <a:off x="5357739" y="4980086"/>
              <a:ext cx="442503" cy="218221"/>
            </a:xfrm>
            <a:custGeom>
              <a:avLst/>
              <a:gdLst>
                <a:gd name="connsiteX0" fmla="*/ 24247 w 442503"/>
                <a:gd name="connsiteY0" fmla="*/ 175789 h 218221"/>
                <a:gd name="connsiteX1" fmla="*/ 115172 w 442503"/>
                <a:gd name="connsiteY1" fmla="*/ 175789 h 218221"/>
                <a:gd name="connsiteX2" fmla="*/ 115172 w 442503"/>
                <a:gd name="connsiteY2" fmla="*/ 218221 h 218221"/>
                <a:gd name="connsiteX3" fmla="*/ 157604 w 442503"/>
                <a:gd name="connsiteY3" fmla="*/ 175789 h 218221"/>
                <a:gd name="connsiteX4" fmla="*/ 193974 w 442503"/>
                <a:gd name="connsiteY4" fmla="*/ 175789 h 218221"/>
                <a:gd name="connsiteX5" fmla="*/ 218221 w 442503"/>
                <a:gd name="connsiteY5" fmla="*/ 218221 h 218221"/>
                <a:gd name="connsiteX6" fmla="*/ 242468 w 442503"/>
                <a:gd name="connsiteY6" fmla="*/ 175789 h 218221"/>
                <a:gd name="connsiteX7" fmla="*/ 278838 w 442503"/>
                <a:gd name="connsiteY7" fmla="*/ 175789 h 218221"/>
                <a:gd name="connsiteX8" fmla="*/ 321270 w 442503"/>
                <a:gd name="connsiteY8" fmla="*/ 218221 h 218221"/>
                <a:gd name="connsiteX9" fmla="*/ 321270 w 442503"/>
                <a:gd name="connsiteY9" fmla="*/ 175789 h 218221"/>
                <a:gd name="connsiteX10" fmla="*/ 418257 w 442503"/>
                <a:gd name="connsiteY10" fmla="*/ 175789 h 218221"/>
                <a:gd name="connsiteX11" fmla="*/ 442504 w 442503"/>
                <a:gd name="connsiteY11" fmla="*/ 151542 h 218221"/>
                <a:gd name="connsiteX12" fmla="*/ 442504 w 442503"/>
                <a:gd name="connsiteY12" fmla="*/ 24247 h 218221"/>
                <a:gd name="connsiteX13" fmla="*/ 418257 w 442503"/>
                <a:gd name="connsiteY13" fmla="*/ 0 h 218221"/>
                <a:gd name="connsiteX14" fmla="*/ 24247 w 442503"/>
                <a:gd name="connsiteY14" fmla="*/ 0 h 218221"/>
                <a:gd name="connsiteX15" fmla="*/ 0 w 442503"/>
                <a:gd name="connsiteY15" fmla="*/ 24247 h 218221"/>
                <a:gd name="connsiteX16" fmla="*/ 0 w 442503"/>
                <a:gd name="connsiteY16" fmla="*/ 151542 h 218221"/>
                <a:gd name="connsiteX17" fmla="*/ 24247 w 442503"/>
                <a:gd name="connsiteY17" fmla="*/ 175789 h 218221"/>
                <a:gd name="connsiteX18" fmla="*/ 12123 w 442503"/>
                <a:gd name="connsiteY18" fmla="*/ 24247 h 218221"/>
                <a:gd name="connsiteX19" fmla="*/ 24247 w 442503"/>
                <a:gd name="connsiteY19" fmla="*/ 12123 h 218221"/>
                <a:gd name="connsiteX20" fmla="*/ 418257 w 442503"/>
                <a:gd name="connsiteY20" fmla="*/ 12123 h 218221"/>
                <a:gd name="connsiteX21" fmla="*/ 430381 w 442503"/>
                <a:gd name="connsiteY21" fmla="*/ 24247 h 218221"/>
                <a:gd name="connsiteX22" fmla="*/ 430381 w 442503"/>
                <a:gd name="connsiteY22" fmla="*/ 151542 h 218221"/>
                <a:gd name="connsiteX23" fmla="*/ 418257 w 442503"/>
                <a:gd name="connsiteY23" fmla="*/ 163666 h 218221"/>
                <a:gd name="connsiteX24" fmla="*/ 309147 w 442503"/>
                <a:gd name="connsiteY24" fmla="*/ 163666 h 218221"/>
                <a:gd name="connsiteX25" fmla="*/ 309147 w 442503"/>
                <a:gd name="connsiteY25" fmla="*/ 188955 h 218221"/>
                <a:gd name="connsiteX26" fmla="*/ 287409 w 442503"/>
                <a:gd name="connsiteY26" fmla="*/ 167218 h 218221"/>
                <a:gd name="connsiteX27" fmla="*/ 283857 w 442503"/>
                <a:gd name="connsiteY27" fmla="*/ 163666 h 218221"/>
                <a:gd name="connsiteX28" fmla="*/ 235430 w 442503"/>
                <a:gd name="connsiteY28" fmla="*/ 163666 h 218221"/>
                <a:gd name="connsiteX29" fmla="*/ 231945 w 442503"/>
                <a:gd name="connsiteY29" fmla="*/ 169776 h 218221"/>
                <a:gd name="connsiteX30" fmla="*/ 218221 w 442503"/>
                <a:gd name="connsiteY30" fmla="*/ 193786 h 218221"/>
                <a:gd name="connsiteX31" fmla="*/ 204504 w 442503"/>
                <a:gd name="connsiteY31" fmla="*/ 169776 h 218221"/>
                <a:gd name="connsiteX32" fmla="*/ 201012 w 442503"/>
                <a:gd name="connsiteY32" fmla="*/ 163666 h 218221"/>
                <a:gd name="connsiteX33" fmla="*/ 152585 w 442503"/>
                <a:gd name="connsiteY33" fmla="*/ 163666 h 218221"/>
                <a:gd name="connsiteX34" fmla="*/ 149033 w 442503"/>
                <a:gd name="connsiteY34" fmla="*/ 167218 h 218221"/>
                <a:gd name="connsiteX35" fmla="*/ 127296 w 442503"/>
                <a:gd name="connsiteY35" fmla="*/ 188955 h 218221"/>
                <a:gd name="connsiteX36" fmla="*/ 127296 w 442503"/>
                <a:gd name="connsiteY36" fmla="*/ 163666 h 218221"/>
                <a:gd name="connsiteX37" fmla="*/ 24247 w 442503"/>
                <a:gd name="connsiteY37" fmla="*/ 163666 h 218221"/>
                <a:gd name="connsiteX38" fmla="*/ 12123 w 442503"/>
                <a:gd name="connsiteY38" fmla="*/ 151542 h 218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42503" h="218221">
                  <a:moveTo>
                    <a:pt x="24247" y="175789"/>
                  </a:moveTo>
                  <a:lnTo>
                    <a:pt x="115172" y="175789"/>
                  </a:lnTo>
                  <a:lnTo>
                    <a:pt x="115172" y="218221"/>
                  </a:lnTo>
                  <a:lnTo>
                    <a:pt x="157604" y="175789"/>
                  </a:lnTo>
                  <a:lnTo>
                    <a:pt x="193974" y="175789"/>
                  </a:lnTo>
                  <a:lnTo>
                    <a:pt x="218221" y="218221"/>
                  </a:lnTo>
                  <a:lnTo>
                    <a:pt x="242468" y="175789"/>
                  </a:lnTo>
                  <a:lnTo>
                    <a:pt x="278838" y="175789"/>
                  </a:lnTo>
                  <a:lnTo>
                    <a:pt x="321270" y="218221"/>
                  </a:lnTo>
                  <a:lnTo>
                    <a:pt x="321270" y="175789"/>
                  </a:lnTo>
                  <a:lnTo>
                    <a:pt x="418257" y="175789"/>
                  </a:lnTo>
                  <a:cubicBezTo>
                    <a:pt x="431648" y="175789"/>
                    <a:pt x="442504" y="164933"/>
                    <a:pt x="442504" y="151542"/>
                  </a:cubicBezTo>
                  <a:lnTo>
                    <a:pt x="442504" y="24247"/>
                  </a:lnTo>
                  <a:cubicBezTo>
                    <a:pt x="442504" y="10856"/>
                    <a:pt x="431648" y="0"/>
                    <a:pt x="418257" y="0"/>
                  </a:cubicBezTo>
                  <a:lnTo>
                    <a:pt x="24247" y="0"/>
                  </a:lnTo>
                  <a:cubicBezTo>
                    <a:pt x="10856" y="0"/>
                    <a:pt x="0" y="10856"/>
                    <a:pt x="0" y="24247"/>
                  </a:cubicBezTo>
                  <a:lnTo>
                    <a:pt x="0" y="151542"/>
                  </a:lnTo>
                  <a:cubicBezTo>
                    <a:pt x="0" y="164933"/>
                    <a:pt x="10856" y="175789"/>
                    <a:pt x="24247" y="175789"/>
                  </a:cubicBezTo>
                  <a:close/>
                  <a:moveTo>
                    <a:pt x="12123" y="24247"/>
                  </a:moveTo>
                  <a:cubicBezTo>
                    <a:pt x="12123" y="17551"/>
                    <a:pt x="17551" y="12123"/>
                    <a:pt x="24247" y="12123"/>
                  </a:cubicBezTo>
                  <a:lnTo>
                    <a:pt x="418257" y="12123"/>
                  </a:lnTo>
                  <a:cubicBezTo>
                    <a:pt x="424953" y="12123"/>
                    <a:pt x="430381" y="17551"/>
                    <a:pt x="430381" y="24247"/>
                  </a:cubicBezTo>
                  <a:lnTo>
                    <a:pt x="430381" y="151542"/>
                  </a:lnTo>
                  <a:cubicBezTo>
                    <a:pt x="430381" y="158238"/>
                    <a:pt x="424953" y="163666"/>
                    <a:pt x="418257" y="163666"/>
                  </a:cubicBezTo>
                  <a:lnTo>
                    <a:pt x="309147" y="163666"/>
                  </a:lnTo>
                  <a:lnTo>
                    <a:pt x="309147" y="188955"/>
                  </a:lnTo>
                  <a:lnTo>
                    <a:pt x="287409" y="167218"/>
                  </a:lnTo>
                  <a:lnTo>
                    <a:pt x="283857" y="163666"/>
                  </a:lnTo>
                  <a:lnTo>
                    <a:pt x="235430" y="163666"/>
                  </a:lnTo>
                  <a:lnTo>
                    <a:pt x="231945" y="169776"/>
                  </a:lnTo>
                  <a:lnTo>
                    <a:pt x="218221" y="193786"/>
                  </a:lnTo>
                  <a:lnTo>
                    <a:pt x="204504" y="169776"/>
                  </a:lnTo>
                  <a:lnTo>
                    <a:pt x="201012" y="163666"/>
                  </a:lnTo>
                  <a:lnTo>
                    <a:pt x="152585" y="163666"/>
                  </a:lnTo>
                  <a:lnTo>
                    <a:pt x="149033" y="167218"/>
                  </a:lnTo>
                  <a:lnTo>
                    <a:pt x="127296" y="188955"/>
                  </a:lnTo>
                  <a:lnTo>
                    <a:pt x="127296" y="163666"/>
                  </a:lnTo>
                  <a:lnTo>
                    <a:pt x="24247" y="163666"/>
                  </a:lnTo>
                  <a:cubicBezTo>
                    <a:pt x="17551" y="163666"/>
                    <a:pt x="12123" y="158238"/>
                    <a:pt x="12123" y="151542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8" name="Freihandform: Form 127">
              <a:extLst>
                <a:ext uri="{FF2B5EF4-FFF2-40B4-BE49-F238E27FC236}">
                  <a16:creationId xmlns:a16="http://schemas.microsoft.com/office/drawing/2014/main" id="{D8BCFA0E-F7DF-4DC0-AC36-29E262738CE5}"/>
                </a:ext>
              </a:extLst>
            </p:cNvPr>
            <p:cNvSpPr/>
            <p:nvPr/>
          </p:nvSpPr>
          <p:spPr>
            <a:xfrm>
              <a:off x="5418356" y="5034641"/>
              <a:ext cx="284899" cy="12123"/>
            </a:xfrm>
            <a:custGeom>
              <a:avLst/>
              <a:gdLst>
                <a:gd name="connsiteX0" fmla="*/ 0 w 284899"/>
                <a:gd name="connsiteY0" fmla="*/ 0 h 12123"/>
                <a:gd name="connsiteX1" fmla="*/ 284900 w 284899"/>
                <a:gd name="connsiteY1" fmla="*/ 0 h 12123"/>
                <a:gd name="connsiteX2" fmla="*/ 284900 w 284899"/>
                <a:gd name="connsiteY2" fmla="*/ 12123 h 12123"/>
                <a:gd name="connsiteX3" fmla="*/ 0 w 284899"/>
                <a:gd name="connsiteY3" fmla="*/ 12123 h 12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4899" h="12123">
                  <a:moveTo>
                    <a:pt x="0" y="0"/>
                  </a:moveTo>
                  <a:lnTo>
                    <a:pt x="284900" y="0"/>
                  </a:lnTo>
                  <a:lnTo>
                    <a:pt x="284900" y="12123"/>
                  </a:lnTo>
                  <a:lnTo>
                    <a:pt x="0" y="12123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" name="Freihandform: Form 128">
              <a:extLst>
                <a:ext uri="{FF2B5EF4-FFF2-40B4-BE49-F238E27FC236}">
                  <a16:creationId xmlns:a16="http://schemas.microsoft.com/office/drawing/2014/main" id="{A0B3ADF0-DCAB-4823-A03B-41D0F0791E92}"/>
                </a:ext>
              </a:extLst>
            </p:cNvPr>
            <p:cNvSpPr/>
            <p:nvPr/>
          </p:nvSpPr>
          <p:spPr>
            <a:xfrm>
              <a:off x="5418356" y="5064950"/>
              <a:ext cx="321269" cy="12123"/>
            </a:xfrm>
            <a:custGeom>
              <a:avLst/>
              <a:gdLst>
                <a:gd name="connsiteX0" fmla="*/ 0 w 321269"/>
                <a:gd name="connsiteY0" fmla="*/ 0 h 12123"/>
                <a:gd name="connsiteX1" fmla="*/ 321270 w 321269"/>
                <a:gd name="connsiteY1" fmla="*/ 0 h 12123"/>
                <a:gd name="connsiteX2" fmla="*/ 321270 w 321269"/>
                <a:gd name="connsiteY2" fmla="*/ 12123 h 12123"/>
                <a:gd name="connsiteX3" fmla="*/ 0 w 321269"/>
                <a:gd name="connsiteY3" fmla="*/ 12123 h 12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1269" h="12123">
                  <a:moveTo>
                    <a:pt x="0" y="0"/>
                  </a:moveTo>
                  <a:lnTo>
                    <a:pt x="321270" y="0"/>
                  </a:lnTo>
                  <a:lnTo>
                    <a:pt x="321270" y="12123"/>
                  </a:lnTo>
                  <a:lnTo>
                    <a:pt x="0" y="12123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" name="Freihandform: Form 129">
              <a:extLst>
                <a:ext uri="{FF2B5EF4-FFF2-40B4-BE49-F238E27FC236}">
                  <a16:creationId xmlns:a16="http://schemas.microsoft.com/office/drawing/2014/main" id="{A6127C3C-030B-4DCB-BFE6-91EB77CA4846}"/>
                </a:ext>
              </a:extLst>
            </p:cNvPr>
            <p:cNvSpPr/>
            <p:nvPr/>
          </p:nvSpPr>
          <p:spPr>
            <a:xfrm>
              <a:off x="5418356" y="5095258"/>
              <a:ext cx="224282" cy="12123"/>
            </a:xfrm>
            <a:custGeom>
              <a:avLst/>
              <a:gdLst>
                <a:gd name="connsiteX0" fmla="*/ 0 w 224282"/>
                <a:gd name="connsiteY0" fmla="*/ 0 h 12123"/>
                <a:gd name="connsiteX1" fmla="*/ 224283 w 224282"/>
                <a:gd name="connsiteY1" fmla="*/ 0 h 12123"/>
                <a:gd name="connsiteX2" fmla="*/ 224283 w 224282"/>
                <a:gd name="connsiteY2" fmla="*/ 12123 h 12123"/>
                <a:gd name="connsiteX3" fmla="*/ 0 w 224282"/>
                <a:gd name="connsiteY3" fmla="*/ 12123 h 12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4282" h="12123">
                  <a:moveTo>
                    <a:pt x="0" y="0"/>
                  </a:moveTo>
                  <a:lnTo>
                    <a:pt x="224283" y="0"/>
                  </a:lnTo>
                  <a:lnTo>
                    <a:pt x="224283" y="12123"/>
                  </a:lnTo>
                  <a:lnTo>
                    <a:pt x="0" y="12123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1" name="Freihandform: Form 130">
              <a:extLst>
                <a:ext uri="{FF2B5EF4-FFF2-40B4-BE49-F238E27FC236}">
                  <a16:creationId xmlns:a16="http://schemas.microsoft.com/office/drawing/2014/main" id="{E6E3E3AE-27A5-488D-9DF6-B1BC626D4F04}"/>
                </a:ext>
              </a:extLst>
            </p:cNvPr>
            <p:cNvSpPr/>
            <p:nvPr/>
          </p:nvSpPr>
          <p:spPr>
            <a:xfrm>
              <a:off x="5662412" y="5228616"/>
              <a:ext cx="93810" cy="93810"/>
            </a:xfrm>
            <a:custGeom>
              <a:avLst/>
              <a:gdLst>
                <a:gd name="connsiteX0" fmla="*/ 0 w 93810"/>
                <a:gd name="connsiteY0" fmla="*/ 46918 h 93810"/>
                <a:gd name="connsiteX1" fmla="*/ 46918 w 93810"/>
                <a:gd name="connsiteY1" fmla="*/ 93811 h 93810"/>
                <a:gd name="connsiteX2" fmla="*/ 93811 w 93810"/>
                <a:gd name="connsiteY2" fmla="*/ 46893 h 93810"/>
                <a:gd name="connsiteX3" fmla="*/ 46905 w 93810"/>
                <a:gd name="connsiteY3" fmla="*/ 0 h 93810"/>
                <a:gd name="connsiteX4" fmla="*/ 0 w 93810"/>
                <a:gd name="connsiteY4" fmla="*/ 46918 h 93810"/>
                <a:gd name="connsiteX5" fmla="*/ 81687 w 93810"/>
                <a:gd name="connsiteY5" fmla="*/ 46918 h 93810"/>
                <a:gd name="connsiteX6" fmla="*/ 46893 w 93810"/>
                <a:gd name="connsiteY6" fmla="*/ 81687 h 93810"/>
                <a:gd name="connsiteX7" fmla="*/ 12123 w 93810"/>
                <a:gd name="connsiteY7" fmla="*/ 46893 h 93810"/>
                <a:gd name="connsiteX8" fmla="*/ 46905 w 93810"/>
                <a:gd name="connsiteY8" fmla="*/ 12123 h 93810"/>
                <a:gd name="connsiteX9" fmla="*/ 81687 w 93810"/>
                <a:gd name="connsiteY9" fmla="*/ 46918 h 93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3810" h="93810">
                  <a:moveTo>
                    <a:pt x="0" y="46918"/>
                  </a:moveTo>
                  <a:cubicBezTo>
                    <a:pt x="7" y="72823"/>
                    <a:pt x="21012" y="93817"/>
                    <a:pt x="46918" y="93811"/>
                  </a:cubicBezTo>
                  <a:cubicBezTo>
                    <a:pt x="72823" y="93804"/>
                    <a:pt x="93817" y="72799"/>
                    <a:pt x="93811" y="46893"/>
                  </a:cubicBezTo>
                  <a:cubicBezTo>
                    <a:pt x="93804" y="20993"/>
                    <a:pt x="72806" y="0"/>
                    <a:pt x="46905" y="0"/>
                  </a:cubicBezTo>
                  <a:cubicBezTo>
                    <a:pt x="20997" y="4"/>
                    <a:pt x="-4" y="21009"/>
                    <a:pt x="0" y="46918"/>
                  </a:cubicBezTo>
                  <a:close/>
                  <a:moveTo>
                    <a:pt x="81687" y="46918"/>
                  </a:moveTo>
                  <a:cubicBezTo>
                    <a:pt x="81681" y="66127"/>
                    <a:pt x="66103" y="81694"/>
                    <a:pt x="46893" y="81687"/>
                  </a:cubicBezTo>
                  <a:cubicBezTo>
                    <a:pt x="27684" y="81681"/>
                    <a:pt x="12117" y="66103"/>
                    <a:pt x="12123" y="46893"/>
                  </a:cubicBezTo>
                  <a:cubicBezTo>
                    <a:pt x="12130" y="27689"/>
                    <a:pt x="27701" y="12123"/>
                    <a:pt x="46905" y="12123"/>
                  </a:cubicBezTo>
                  <a:cubicBezTo>
                    <a:pt x="66110" y="12147"/>
                    <a:pt x="81670" y="27713"/>
                    <a:pt x="81687" y="46918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" name="Freihandform: Form 131">
              <a:extLst>
                <a:ext uri="{FF2B5EF4-FFF2-40B4-BE49-F238E27FC236}">
                  <a16:creationId xmlns:a16="http://schemas.microsoft.com/office/drawing/2014/main" id="{8EF1992F-7D5F-49F5-B77B-5863B35AA382}"/>
                </a:ext>
              </a:extLst>
            </p:cNvPr>
            <p:cNvSpPr/>
            <p:nvPr/>
          </p:nvSpPr>
          <p:spPr>
            <a:xfrm>
              <a:off x="5407821" y="5229858"/>
              <a:ext cx="93810" cy="93810"/>
            </a:xfrm>
            <a:custGeom>
              <a:avLst/>
              <a:gdLst>
                <a:gd name="connsiteX0" fmla="*/ 0 w 93810"/>
                <a:gd name="connsiteY0" fmla="*/ 46918 h 93810"/>
                <a:gd name="connsiteX1" fmla="*/ 46918 w 93810"/>
                <a:gd name="connsiteY1" fmla="*/ 93811 h 93810"/>
                <a:gd name="connsiteX2" fmla="*/ 93811 w 93810"/>
                <a:gd name="connsiteY2" fmla="*/ 46893 h 93810"/>
                <a:gd name="connsiteX3" fmla="*/ 46905 w 93810"/>
                <a:gd name="connsiteY3" fmla="*/ 0 h 93810"/>
                <a:gd name="connsiteX4" fmla="*/ 0 w 93810"/>
                <a:gd name="connsiteY4" fmla="*/ 46918 h 93810"/>
                <a:gd name="connsiteX5" fmla="*/ 81687 w 93810"/>
                <a:gd name="connsiteY5" fmla="*/ 46918 h 93810"/>
                <a:gd name="connsiteX6" fmla="*/ 46893 w 93810"/>
                <a:gd name="connsiteY6" fmla="*/ 81687 h 93810"/>
                <a:gd name="connsiteX7" fmla="*/ 12123 w 93810"/>
                <a:gd name="connsiteY7" fmla="*/ 46893 h 93810"/>
                <a:gd name="connsiteX8" fmla="*/ 46905 w 93810"/>
                <a:gd name="connsiteY8" fmla="*/ 12123 h 93810"/>
                <a:gd name="connsiteX9" fmla="*/ 81687 w 93810"/>
                <a:gd name="connsiteY9" fmla="*/ 46918 h 93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3810" h="93810">
                  <a:moveTo>
                    <a:pt x="0" y="46918"/>
                  </a:moveTo>
                  <a:cubicBezTo>
                    <a:pt x="7" y="72823"/>
                    <a:pt x="21012" y="93817"/>
                    <a:pt x="46918" y="93811"/>
                  </a:cubicBezTo>
                  <a:cubicBezTo>
                    <a:pt x="72823" y="93804"/>
                    <a:pt x="93818" y="72799"/>
                    <a:pt x="93811" y="46893"/>
                  </a:cubicBezTo>
                  <a:cubicBezTo>
                    <a:pt x="93804" y="20993"/>
                    <a:pt x="72806" y="0"/>
                    <a:pt x="46905" y="0"/>
                  </a:cubicBezTo>
                  <a:cubicBezTo>
                    <a:pt x="20997" y="4"/>
                    <a:pt x="-4" y="21009"/>
                    <a:pt x="0" y="46918"/>
                  </a:cubicBezTo>
                  <a:close/>
                  <a:moveTo>
                    <a:pt x="81687" y="46918"/>
                  </a:moveTo>
                  <a:cubicBezTo>
                    <a:pt x="81681" y="66127"/>
                    <a:pt x="66103" y="81694"/>
                    <a:pt x="46893" y="81687"/>
                  </a:cubicBezTo>
                  <a:cubicBezTo>
                    <a:pt x="27684" y="81681"/>
                    <a:pt x="12117" y="66103"/>
                    <a:pt x="12123" y="46893"/>
                  </a:cubicBezTo>
                  <a:cubicBezTo>
                    <a:pt x="12130" y="27689"/>
                    <a:pt x="27701" y="12123"/>
                    <a:pt x="46905" y="12123"/>
                  </a:cubicBezTo>
                  <a:cubicBezTo>
                    <a:pt x="66109" y="12150"/>
                    <a:pt x="81667" y="27714"/>
                    <a:pt x="81687" y="46918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" name="Freihandform: Form 132">
              <a:extLst>
                <a:ext uri="{FF2B5EF4-FFF2-40B4-BE49-F238E27FC236}">
                  <a16:creationId xmlns:a16="http://schemas.microsoft.com/office/drawing/2014/main" id="{082B701B-72E4-4781-A093-C3F817797A58}"/>
                </a:ext>
              </a:extLst>
            </p:cNvPr>
            <p:cNvSpPr/>
            <p:nvPr/>
          </p:nvSpPr>
          <p:spPr>
            <a:xfrm>
              <a:off x="5621077" y="5331010"/>
              <a:ext cx="185227" cy="90331"/>
            </a:xfrm>
            <a:custGeom>
              <a:avLst/>
              <a:gdLst>
                <a:gd name="connsiteX0" fmla="*/ 173910 w 185227"/>
                <a:gd name="connsiteY0" fmla="*/ 28654 h 90331"/>
                <a:gd name="connsiteX1" fmla="*/ 127490 w 185227"/>
                <a:gd name="connsiteY1" fmla="*/ 5947 h 90331"/>
                <a:gd name="connsiteX2" fmla="*/ 88240 w 185227"/>
                <a:gd name="connsiteY2" fmla="*/ 0 h 90331"/>
                <a:gd name="connsiteX3" fmla="*/ 49069 w 185227"/>
                <a:gd name="connsiteY3" fmla="*/ 5922 h 90331"/>
                <a:gd name="connsiteX4" fmla="*/ 2619 w 185227"/>
                <a:gd name="connsiteY4" fmla="*/ 28611 h 90331"/>
                <a:gd name="connsiteX5" fmla="*/ 0 w 185227"/>
                <a:gd name="connsiteY5" fmla="*/ 30975 h 90331"/>
                <a:gd name="connsiteX6" fmla="*/ 3673 w 185227"/>
                <a:gd name="connsiteY6" fmla="*/ 31945 h 90331"/>
                <a:gd name="connsiteX7" fmla="*/ 14348 w 185227"/>
                <a:gd name="connsiteY7" fmla="*/ 35376 h 90331"/>
                <a:gd name="connsiteX8" fmla="*/ 52331 w 185227"/>
                <a:gd name="connsiteY8" fmla="*/ 17627 h 90331"/>
                <a:gd name="connsiteX9" fmla="*/ 88240 w 185227"/>
                <a:gd name="connsiteY9" fmla="*/ 12172 h 90331"/>
                <a:gd name="connsiteX10" fmla="*/ 124083 w 185227"/>
                <a:gd name="connsiteY10" fmla="*/ 17627 h 90331"/>
                <a:gd name="connsiteX11" fmla="*/ 166285 w 185227"/>
                <a:gd name="connsiteY11" fmla="*/ 38128 h 90331"/>
                <a:gd name="connsiteX12" fmla="*/ 173104 w 185227"/>
                <a:gd name="connsiteY12" fmla="*/ 51537 h 90331"/>
                <a:gd name="connsiteX13" fmla="*/ 173104 w 185227"/>
                <a:gd name="connsiteY13" fmla="*/ 90331 h 90331"/>
                <a:gd name="connsiteX14" fmla="*/ 185227 w 185227"/>
                <a:gd name="connsiteY14" fmla="*/ 90331 h 90331"/>
                <a:gd name="connsiteX15" fmla="*/ 185227 w 185227"/>
                <a:gd name="connsiteY15" fmla="*/ 51537 h 90331"/>
                <a:gd name="connsiteX16" fmla="*/ 173910 w 185227"/>
                <a:gd name="connsiteY16" fmla="*/ 28654 h 90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85227" h="90331">
                  <a:moveTo>
                    <a:pt x="173910" y="28654"/>
                  </a:moveTo>
                  <a:cubicBezTo>
                    <a:pt x="160130" y="18025"/>
                    <a:pt x="144339" y="10301"/>
                    <a:pt x="127490" y="5947"/>
                  </a:cubicBezTo>
                  <a:cubicBezTo>
                    <a:pt x="114772" y="2036"/>
                    <a:pt x="101546" y="32"/>
                    <a:pt x="88240" y="0"/>
                  </a:cubicBezTo>
                  <a:cubicBezTo>
                    <a:pt x="74977" y="215"/>
                    <a:pt x="61803" y="2207"/>
                    <a:pt x="49069" y="5922"/>
                  </a:cubicBezTo>
                  <a:cubicBezTo>
                    <a:pt x="32399" y="10766"/>
                    <a:pt x="16687" y="18440"/>
                    <a:pt x="2619" y="28611"/>
                  </a:cubicBezTo>
                  <a:cubicBezTo>
                    <a:pt x="1702" y="29350"/>
                    <a:pt x="828" y="30139"/>
                    <a:pt x="0" y="30975"/>
                  </a:cubicBezTo>
                  <a:cubicBezTo>
                    <a:pt x="1212" y="31315"/>
                    <a:pt x="2425" y="31581"/>
                    <a:pt x="3673" y="31945"/>
                  </a:cubicBezTo>
                  <a:cubicBezTo>
                    <a:pt x="7359" y="32994"/>
                    <a:pt x="10887" y="34158"/>
                    <a:pt x="14348" y="35376"/>
                  </a:cubicBezTo>
                  <a:cubicBezTo>
                    <a:pt x="26052" y="27597"/>
                    <a:pt x="38855" y="21614"/>
                    <a:pt x="52331" y="17627"/>
                  </a:cubicBezTo>
                  <a:cubicBezTo>
                    <a:pt x="64005" y="14221"/>
                    <a:pt x="76081" y="12386"/>
                    <a:pt x="88240" y="12172"/>
                  </a:cubicBezTo>
                  <a:cubicBezTo>
                    <a:pt x="100392" y="12208"/>
                    <a:pt x="112471" y="14046"/>
                    <a:pt x="124083" y="17627"/>
                  </a:cubicBezTo>
                  <a:cubicBezTo>
                    <a:pt x="139390" y="21543"/>
                    <a:pt x="153745" y="28516"/>
                    <a:pt x="166285" y="38128"/>
                  </a:cubicBezTo>
                  <a:cubicBezTo>
                    <a:pt x="170452" y="41350"/>
                    <a:pt x="172955" y="46271"/>
                    <a:pt x="173104" y="51537"/>
                  </a:cubicBezTo>
                  <a:lnTo>
                    <a:pt x="173104" y="90331"/>
                  </a:lnTo>
                  <a:lnTo>
                    <a:pt x="185227" y="90331"/>
                  </a:lnTo>
                  <a:lnTo>
                    <a:pt x="185227" y="51537"/>
                  </a:lnTo>
                  <a:cubicBezTo>
                    <a:pt x="185083" y="42596"/>
                    <a:pt x="180928" y="34195"/>
                    <a:pt x="173910" y="28654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" name="Freihandform: Form 133">
              <a:extLst>
                <a:ext uri="{FF2B5EF4-FFF2-40B4-BE49-F238E27FC236}">
                  <a16:creationId xmlns:a16="http://schemas.microsoft.com/office/drawing/2014/main" id="{5032E801-CEE3-4EF2-AA7A-0332B7B06DA5}"/>
                </a:ext>
              </a:extLst>
            </p:cNvPr>
            <p:cNvSpPr/>
            <p:nvPr/>
          </p:nvSpPr>
          <p:spPr>
            <a:xfrm>
              <a:off x="5357739" y="5332271"/>
              <a:ext cx="184208" cy="90319"/>
            </a:xfrm>
            <a:custGeom>
              <a:avLst/>
              <a:gdLst>
                <a:gd name="connsiteX0" fmla="*/ 170079 w 184208"/>
                <a:gd name="connsiteY0" fmla="*/ 34552 h 90319"/>
                <a:gd name="connsiteX1" fmla="*/ 181784 w 184208"/>
                <a:gd name="connsiteY1" fmla="*/ 30648 h 90319"/>
                <a:gd name="connsiteX2" fmla="*/ 184209 w 184208"/>
                <a:gd name="connsiteY2" fmla="*/ 30042 h 90319"/>
                <a:gd name="connsiteX3" fmla="*/ 182663 w 184208"/>
                <a:gd name="connsiteY3" fmla="*/ 28660 h 90319"/>
                <a:gd name="connsiteX4" fmla="*/ 136243 w 184208"/>
                <a:gd name="connsiteY4" fmla="*/ 5940 h 90319"/>
                <a:gd name="connsiteX5" fmla="*/ 96987 w 184208"/>
                <a:gd name="connsiteY5" fmla="*/ 0 h 90319"/>
                <a:gd name="connsiteX6" fmla="*/ 57816 w 184208"/>
                <a:gd name="connsiteY6" fmla="*/ 5916 h 90319"/>
                <a:gd name="connsiteX7" fmla="*/ 11366 w 184208"/>
                <a:gd name="connsiteY7" fmla="*/ 28611 h 90319"/>
                <a:gd name="connsiteX8" fmla="*/ 0 w 184208"/>
                <a:gd name="connsiteY8" fmla="*/ 51524 h 90319"/>
                <a:gd name="connsiteX9" fmla="*/ 0 w 184208"/>
                <a:gd name="connsiteY9" fmla="*/ 90319 h 90319"/>
                <a:gd name="connsiteX10" fmla="*/ 12123 w 184208"/>
                <a:gd name="connsiteY10" fmla="*/ 90319 h 90319"/>
                <a:gd name="connsiteX11" fmla="*/ 12123 w 184208"/>
                <a:gd name="connsiteY11" fmla="*/ 51524 h 90319"/>
                <a:gd name="connsiteX12" fmla="*/ 18719 w 184208"/>
                <a:gd name="connsiteY12" fmla="*/ 38237 h 90319"/>
                <a:gd name="connsiteX13" fmla="*/ 61078 w 184208"/>
                <a:gd name="connsiteY13" fmla="*/ 17579 h 90319"/>
                <a:gd name="connsiteX14" fmla="*/ 96987 w 184208"/>
                <a:gd name="connsiteY14" fmla="*/ 12123 h 90319"/>
                <a:gd name="connsiteX15" fmla="*/ 132830 w 184208"/>
                <a:gd name="connsiteY15" fmla="*/ 17579 h 90319"/>
                <a:gd name="connsiteX16" fmla="*/ 170079 w 184208"/>
                <a:gd name="connsiteY16" fmla="*/ 34552 h 90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84208" h="90319">
                  <a:moveTo>
                    <a:pt x="170079" y="34552"/>
                  </a:moveTo>
                  <a:cubicBezTo>
                    <a:pt x="173977" y="33085"/>
                    <a:pt x="177887" y="31757"/>
                    <a:pt x="181784" y="30648"/>
                  </a:cubicBezTo>
                  <a:cubicBezTo>
                    <a:pt x="182615" y="30424"/>
                    <a:pt x="183385" y="30266"/>
                    <a:pt x="184209" y="30042"/>
                  </a:cubicBezTo>
                  <a:cubicBezTo>
                    <a:pt x="183700" y="29575"/>
                    <a:pt x="183209" y="29090"/>
                    <a:pt x="182663" y="28660"/>
                  </a:cubicBezTo>
                  <a:cubicBezTo>
                    <a:pt x="168885" y="18026"/>
                    <a:pt x="153093" y="10297"/>
                    <a:pt x="136243" y="5940"/>
                  </a:cubicBezTo>
                  <a:cubicBezTo>
                    <a:pt x="123522" y="2034"/>
                    <a:pt x="110294" y="33"/>
                    <a:pt x="96987" y="0"/>
                  </a:cubicBezTo>
                  <a:cubicBezTo>
                    <a:pt x="83725" y="217"/>
                    <a:pt x="70552" y="2206"/>
                    <a:pt x="57816" y="5916"/>
                  </a:cubicBezTo>
                  <a:cubicBezTo>
                    <a:pt x="41144" y="10758"/>
                    <a:pt x="25431" y="18435"/>
                    <a:pt x="11366" y="28611"/>
                  </a:cubicBezTo>
                  <a:cubicBezTo>
                    <a:pt x="4325" y="34152"/>
                    <a:pt x="152" y="42566"/>
                    <a:pt x="0" y="51524"/>
                  </a:cubicBezTo>
                  <a:lnTo>
                    <a:pt x="0" y="90319"/>
                  </a:lnTo>
                  <a:lnTo>
                    <a:pt x="12123" y="90319"/>
                  </a:lnTo>
                  <a:lnTo>
                    <a:pt x="12123" y="51524"/>
                  </a:lnTo>
                  <a:cubicBezTo>
                    <a:pt x="12236" y="46335"/>
                    <a:pt x="14654" y="41465"/>
                    <a:pt x="18719" y="38237"/>
                  </a:cubicBezTo>
                  <a:cubicBezTo>
                    <a:pt x="31577" y="29020"/>
                    <a:pt x="45897" y="22036"/>
                    <a:pt x="61078" y="17579"/>
                  </a:cubicBezTo>
                  <a:cubicBezTo>
                    <a:pt x="72752" y="14173"/>
                    <a:pt x="84828" y="12339"/>
                    <a:pt x="96987" y="12123"/>
                  </a:cubicBezTo>
                  <a:cubicBezTo>
                    <a:pt x="109138" y="12163"/>
                    <a:pt x="121217" y="14001"/>
                    <a:pt x="132830" y="17579"/>
                  </a:cubicBezTo>
                  <a:cubicBezTo>
                    <a:pt x="146103" y="21129"/>
                    <a:pt x="158691" y="26865"/>
                    <a:pt x="170079" y="34552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" name="Freihandform: Form 134">
              <a:extLst>
                <a:ext uri="{FF2B5EF4-FFF2-40B4-BE49-F238E27FC236}">
                  <a16:creationId xmlns:a16="http://schemas.microsoft.com/office/drawing/2014/main" id="{F50D86AC-4AC5-4A0D-82BA-4B0D7760433D}"/>
                </a:ext>
              </a:extLst>
            </p:cNvPr>
            <p:cNvSpPr/>
            <p:nvPr/>
          </p:nvSpPr>
          <p:spPr>
            <a:xfrm>
              <a:off x="5485035" y="5368641"/>
              <a:ext cx="193974" cy="90319"/>
            </a:xfrm>
            <a:custGeom>
              <a:avLst/>
              <a:gdLst>
                <a:gd name="connsiteX0" fmla="*/ 182657 w 193974"/>
                <a:gd name="connsiteY0" fmla="*/ 28642 h 90319"/>
                <a:gd name="connsiteX1" fmla="*/ 136237 w 193974"/>
                <a:gd name="connsiteY1" fmla="*/ 5922 h 90319"/>
                <a:gd name="connsiteX2" fmla="*/ 96987 w 193974"/>
                <a:gd name="connsiteY2" fmla="*/ 0 h 90319"/>
                <a:gd name="connsiteX3" fmla="*/ 57816 w 193974"/>
                <a:gd name="connsiteY3" fmla="*/ 5916 h 90319"/>
                <a:gd name="connsiteX4" fmla="*/ 11366 w 193974"/>
                <a:gd name="connsiteY4" fmla="*/ 28611 h 90319"/>
                <a:gd name="connsiteX5" fmla="*/ 0 w 193974"/>
                <a:gd name="connsiteY5" fmla="*/ 51524 h 90319"/>
                <a:gd name="connsiteX6" fmla="*/ 0 w 193974"/>
                <a:gd name="connsiteY6" fmla="*/ 90319 h 90319"/>
                <a:gd name="connsiteX7" fmla="*/ 12123 w 193974"/>
                <a:gd name="connsiteY7" fmla="*/ 90319 h 90319"/>
                <a:gd name="connsiteX8" fmla="*/ 12123 w 193974"/>
                <a:gd name="connsiteY8" fmla="*/ 51524 h 90319"/>
                <a:gd name="connsiteX9" fmla="*/ 18719 w 193974"/>
                <a:gd name="connsiteY9" fmla="*/ 38237 h 90319"/>
                <a:gd name="connsiteX10" fmla="*/ 61078 w 193974"/>
                <a:gd name="connsiteY10" fmla="*/ 17579 h 90319"/>
                <a:gd name="connsiteX11" fmla="*/ 96987 w 193974"/>
                <a:gd name="connsiteY11" fmla="*/ 12123 h 90319"/>
                <a:gd name="connsiteX12" fmla="*/ 132830 w 193974"/>
                <a:gd name="connsiteY12" fmla="*/ 17579 h 90319"/>
                <a:gd name="connsiteX13" fmla="*/ 175032 w 193974"/>
                <a:gd name="connsiteY13" fmla="*/ 38080 h 90319"/>
                <a:gd name="connsiteX14" fmla="*/ 181851 w 193974"/>
                <a:gd name="connsiteY14" fmla="*/ 51524 h 90319"/>
                <a:gd name="connsiteX15" fmla="*/ 181851 w 193974"/>
                <a:gd name="connsiteY15" fmla="*/ 90319 h 90319"/>
                <a:gd name="connsiteX16" fmla="*/ 193974 w 193974"/>
                <a:gd name="connsiteY16" fmla="*/ 90319 h 90319"/>
                <a:gd name="connsiteX17" fmla="*/ 193974 w 193974"/>
                <a:gd name="connsiteY17" fmla="*/ 51524 h 90319"/>
                <a:gd name="connsiteX18" fmla="*/ 182657 w 193974"/>
                <a:gd name="connsiteY18" fmla="*/ 28642 h 90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3974" h="90319">
                  <a:moveTo>
                    <a:pt x="182657" y="28642"/>
                  </a:moveTo>
                  <a:cubicBezTo>
                    <a:pt x="168879" y="18008"/>
                    <a:pt x="153087" y="10279"/>
                    <a:pt x="136237" y="5922"/>
                  </a:cubicBezTo>
                  <a:cubicBezTo>
                    <a:pt x="123517" y="2023"/>
                    <a:pt x="110291" y="27"/>
                    <a:pt x="96987" y="0"/>
                  </a:cubicBezTo>
                  <a:cubicBezTo>
                    <a:pt x="83725" y="217"/>
                    <a:pt x="70552" y="2206"/>
                    <a:pt x="57816" y="5916"/>
                  </a:cubicBezTo>
                  <a:cubicBezTo>
                    <a:pt x="41144" y="10758"/>
                    <a:pt x="25431" y="18435"/>
                    <a:pt x="11366" y="28611"/>
                  </a:cubicBezTo>
                  <a:cubicBezTo>
                    <a:pt x="4325" y="34152"/>
                    <a:pt x="152" y="42566"/>
                    <a:pt x="0" y="51524"/>
                  </a:cubicBezTo>
                  <a:lnTo>
                    <a:pt x="0" y="90319"/>
                  </a:lnTo>
                  <a:lnTo>
                    <a:pt x="12123" y="90319"/>
                  </a:lnTo>
                  <a:lnTo>
                    <a:pt x="12123" y="51524"/>
                  </a:lnTo>
                  <a:cubicBezTo>
                    <a:pt x="12236" y="46335"/>
                    <a:pt x="14654" y="41465"/>
                    <a:pt x="18719" y="38237"/>
                  </a:cubicBezTo>
                  <a:cubicBezTo>
                    <a:pt x="31577" y="29020"/>
                    <a:pt x="45897" y="22036"/>
                    <a:pt x="61078" y="17579"/>
                  </a:cubicBezTo>
                  <a:cubicBezTo>
                    <a:pt x="72752" y="14173"/>
                    <a:pt x="84828" y="12339"/>
                    <a:pt x="96987" y="12123"/>
                  </a:cubicBezTo>
                  <a:cubicBezTo>
                    <a:pt x="109138" y="12163"/>
                    <a:pt x="121217" y="14001"/>
                    <a:pt x="132830" y="17579"/>
                  </a:cubicBezTo>
                  <a:cubicBezTo>
                    <a:pt x="148136" y="21495"/>
                    <a:pt x="162492" y="28469"/>
                    <a:pt x="175032" y="38080"/>
                  </a:cubicBezTo>
                  <a:cubicBezTo>
                    <a:pt x="179209" y="41310"/>
                    <a:pt x="181712" y="46246"/>
                    <a:pt x="181851" y="51524"/>
                  </a:cubicBezTo>
                  <a:lnTo>
                    <a:pt x="181851" y="90319"/>
                  </a:lnTo>
                  <a:lnTo>
                    <a:pt x="193974" y="90319"/>
                  </a:lnTo>
                  <a:lnTo>
                    <a:pt x="193974" y="51524"/>
                  </a:lnTo>
                  <a:cubicBezTo>
                    <a:pt x="193833" y="42583"/>
                    <a:pt x="189677" y="34181"/>
                    <a:pt x="182657" y="28642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6" name="Freihandform: Form 135">
              <a:extLst>
                <a:ext uri="{FF2B5EF4-FFF2-40B4-BE49-F238E27FC236}">
                  <a16:creationId xmlns:a16="http://schemas.microsoft.com/office/drawing/2014/main" id="{AD4AA73D-C6E0-4BFD-A12C-AC6877F38888}"/>
                </a:ext>
              </a:extLst>
            </p:cNvPr>
            <p:cNvSpPr/>
            <p:nvPr/>
          </p:nvSpPr>
          <p:spPr>
            <a:xfrm>
              <a:off x="5535116" y="5266229"/>
              <a:ext cx="93810" cy="93810"/>
            </a:xfrm>
            <a:custGeom>
              <a:avLst/>
              <a:gdLst>
                <a:gd name="connsiteX0" fmla="*/ 0 w 93810"/>
                <a:gd name="connsiteY0" fmla="*/ 46918 h 93810"/>
                <a:gd name="connsiteX1" fmla="*/ 46918 w 93810"/>
                <a:gd name="connsiteY1" fmla="*/ 93811 h 93810"/>
                <a:gd name="connsiteX2" fmla="*/ 93811 w 93810"/>
                <a:gd name="connsiteY2" fmla="*/ 46893 h 93810"/>
                <a:gd name="connsiteX3" fmla="*/ 46905 w 93810"/>
                <a:gd name="connsiteY3" fmla="*/ 0 h 93810"/>
                <a:gd name="connsiteX4" fmla="*/ 0 w 93810"/>
                <a:gd name="connsiteY4" fmla="*/ 46918 h 93810"/>
                <a:gd name="connsiteX5" fmla="*/ 81687 w 93810"/>
                <a:gd name="connsiteY5" fmla="*/ 46918 h 93810"/>
                <a:gd name="connsiteX6" fmla="*/ 46893 w 93810"/>
                <a:gd name="connsiteY6" fmla="*/ 81687 h 93810"/>
                <a:gd name="connsiteX7" fmla="*/ 12123 w 93810"/>
                <a:gd name="connsiteY7" fmla="*/ 46893 h 93810"/>
                <a:gd name="connsiteX8" fmla="*/ 46905 w 93810"/>
                <a:gd name="connsiteY8" fmla="*/ 12123 h 93810"/>
                <a:gd name="connsiteX9" fmla="*/ 81687 w 93810"/>
                <a:gd name="connsiteY9" fmla="*/ 46918 h 93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3810" h="93810">
                  <a:moveTo>
                    <a:pt x="0" y="46918"/>
                  </a:moveTo>
                  <a:cubicBezTo>
                    <a:pt x="7" y="72823"/>
                    <a:pt x="21012" y="93817"/>
                    <a:pt x="46918" y="93811"/>
                  </a:cubicBezTo>
                  <a:cubicBezTo>
                    <a:pt x="72823" y="93804"/>
                    <a:pt x="93818" y="72799"/>
                    <a:pt x="93811" y="46893"/>
                  </a:cubicBezTo>
                  <a:cubicBezTo>
                    <a:pt x="93804" y="20993"/>
                    <a:pt x="72806" y="0"/>
                    <a:pt x="46905" y="0"/>
                  </a:cubicBezTo>
                  <a:cubicBezTo>
                    <a:pt x="20997" y="4"/>
                    <a:pt x="-4" y="21009"/>
                    <a:pt x="0" y="46918"/>
                  </a:cubicBezTo>
                  <a:close/>
                  <a:moveTo>
                    <a:pt x="81687" y="46918"/>
                  </a:moveTo>
                  <a:cubicBezTo>
                    <a:pt x="81681" y="66127"/>
                    <a:pt x="66103" y="81694"/>
                    <a:pt x="46893" y="81687"/>
                  </a:cubicBezTo>
                  <a:cubicBezTo>
                    <a:pt x="27684" y="81681"/>
                    <a:pt x="12117" y="66103"/>
                    <a:pt x="12123" y="46893"/>
                  </a:cubicBezTo>
                  <a:cubicBezTo>
                    <a:pt x="12130" y="27689"/>
                    <a:pt x="27701" y="12123"/>
                    <a:pt x="46905" y="12123"/>
                  </a:cubicBezTo>
                  <a:cubicBezTo>
                    <a:pt x="66109" y="12150"/>
                    <a:pt x="81667" y="27714"/>
                    <a:pt x="81687" y="46918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37" name="Grafik 37" descr="Dokument Silhouette">
            <a:extLst>
              <a:ext uri="{FF2B5EF4-FFF2-40B4-BE49-F238E27FC236}">
                <a16:creationId xmlns:a16="http://schemas.microsoft.com/office/drawing/2014/main" id="{76193D15-3C5B-490F-9597-1F42EC6CFB91}"/>
              </a:ext>
            </a:extLst>
          </p:cNvPr>
          <p:cNvGrpSpPr/>
          <p:nvPr/>
        </p:nvGrpSpPr>
        <p:grpSpPr>
          <a:xfrm>
            <a:off x="6801209" y="4133908"/>
            <a:ext cx="363701" cy="484935"/>
            <a:chOff x="6801209" y="4133908"/>
            <a:chExt cx="363701" cy="484935"/>
          </a:xfrm>
          <a:solidFill>
            <a:schemeClr val="tx1"/>
          </a:solidFill>
        </p:grpSpPr>
        <p:sp>
          <p:nvSpPr>
            <p:cNvPr id="138" name="Freihandform: Form 137">
              <a:extLst>
                <a:ext uri="{FF2B5EF4-FFF2-40B4-BE49-F238E27FC236}">
                  <a16:creationId xmlns:a16="http://schemas.microsoft.com/office/drawing/2014/main" id="{FC0F7AD7-1E2D-4FC0-A4DA-A7E3889ABEEC}"/>
                </a:ext>
              </a:extLst>
            </p:cNvPr>
            <p:cNvSpPr/>
            <p:nvPr/>
          </p:nvSpPr>
          <p:spPr>
            <a:xfrm>
              <a:off x="6861826" y="4340006"/>
              <a:ext cx="242467" cy="12123"/>
            </a:xfrm>
            <a:custGeom>
              <a:avLst/>
              <a:gdLst>
                <a:gd name="connsiteX0" fmla="*/ 0 w 242467"/>
                <a:gd name="connsiteY0" fmla="*/ 0 h 12123"/>
                <a:gd name="connsiteX1" fmla="*/ 242468 w 242467"/>
                <a:gd name="connsiteY1" fmla="*/ 0 h 12123"/>
                <a:gd name="connsiteX2" fmla="*/ 242468 w 242467"/>
                <a:gd name="connsiteY2" fmla="*/ 12123 h 12123"/>
                <a:gd name="connsiteX3" fmla="*/ 0 w 242467"/>
                <a:gd name="connsiteY3" fmla="*/ 12123 h 12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2467" h="12123">
                  <a:moveTo>
                    <a:pt x="0" y="0"/>
                  </a:moveTo>
                  <a:lnTo>
                    <a:pt x="242468" y="0"/>
                  </a:lnTo>
                  <a:lnTo>
                    <a:pt x="242468" y="12123"/>
                  </a:lnTo>
                  <a:lnTo>
                    <a:pt x="0" y="12123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9" name="Freihandform: Form 138">
              <a:extLst>
                <a:ext uri="{FF2B5EF4-FFF2-40B4-BE49-F238E27FC236}">
                  <a16:creationId xmlns:a16="http://schemas.microsoft.com/office/drawing/2014/main" id="{C50C0663-E8E3-4AD2-8D6F-E537CF54215B}"/>
                </a:ext>
              </a:extLst>
            </p:cNvPr>
            <p:cNvSpPr/>
            <p:nvPr/>
          </p:nvSpPr>
          <p:spPr>
            <a:xfrm>
              <a:off x="6861826" y="4291512"/>
              <a:ext cx="115172" cy="12123"/>
            </a:xfrm>
            <a:custGeom>
              <a:avLst/>
              <a:gdLst>
                <a:gd name="connsiteX0" fmla="*/ 0 w 115172"/>
                <a:gd name="connsiteY0" fmla="*/ 0 h 12123"/>
                <a:gd name="connsiteX1" fmla="*/ 115172 w 115172"/>
                <a:gd name="connsiteY1" fmla="*/ 0 h 12123"/>
                <a:gd name="connsiteX2" fmla="*/ 115172 w 115172"/>
                <a:gd name="connsiteY2" fmla="*/ 12123 h 12123"/>
                <a:gd name="connsiteX3" fmla="*/ 0 w 115172"/>
                <a:gd name="connsiteY3" fmla="*/ 12123 h 12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172" h="12123">
                  <a:moveTo>
                    <a:pt x="0" y="0"/>
                  </a:moveTo>
                  <a:lnTo>
                    <a:pt x="115172" y="0"/>
                  </a:lnTo>
                  <a:lnTo>
                    <a:pt x="115172" y="12123"/>
                  </a:lnTo>
                  <a:lnTo>
                    <a:pt x="0" y="12123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0" name="Freihandform: Form 139">
              <a:extLst>
                <a:ext uri="{FF2B5EF4-FFF2-40B4-BE49-F238E27FC236}">
                  <a16:creationId xmlns:a16="http://schemas.microsoft.com/office/drawing/2014/main" id="{CDDD6AC4-3C3B-446B-97CC-8A750ACD8B99}"/>
                </a:ext>
              </a:extLst>
            </p:cNvPr>
            <p:cNvSpPr/>
            <p:nvPr/>
          </p:nvSpPr>
          <p:spPr>
            <a:xfrm>
              <a:off x="6861826" y="4388499"/>
              <a:ext cx="242467" cy="12123"/>
            </a:xfrm>
            <a:custGeom>
              <a:avLst/>
              <a:gdLst>
                <a:gd name="connsiteX0" fmla="*/ 0 w 242467"/>
                <a:gd name="connsiteY0" fmla="*/ 0 h 12123"/>
                <a:gd name="connsiteX1" fmla="*/ 242468 w 242467"/>
                <a:gd name="connsiteY1" fmla="*/ 0 h 12123"/>
                <a:gd name="connsiteX2" fmla="*/ 242468 w 242467"/>
                <a:gd name="connsiteY2" fmla="*/ 12123 h 12123"/>
                <a:gd name="connsiteX3" fmla="*/ 0 w 242467"/>
                <a:gd name="connsiteY3" fmla="*/ 12123 h 12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2467" h="12123">
                  <a:moveTo>
                    <a:pt x="0" y="0"/>
                  </a:moveTo>
                  <a:lnTo>
                    <a:pt x="242468" y="0"/>
                  </a:lnTo>
                  <a:lnTo>
                    <a:pt x="242468" y="12123"/>
                  </a:lnTo>
                  <a:lnTo>
                    <a:pt x="0" y="12123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1" name="Freihandform: Form 140">
              <a:extLst>
                <a:ext uri="{FF2B5EF4-FFF2-40B4-BE49-F238E27FC236}">
                  <a16:creationId xmlns:a16="http://schemas.microsoft.com/office/drawing/2014/main" id="{B936FE40-228D-4282-8B23-221C966F3F12}"/>
                </a:ext>
              </a:extLst>
            </p:cNvPr>
            <p:cNvSpPr/>
            <p:nvPr/>
          </p:nvSpPr>
          <p:spPr>
            <a:xfrm>
              <a:off x="6861826" y="4436993"/>
              <a:ext cx="242467" cy="12123"/>
            </a:xfrm>
            <a:custGeom>
              <a:avLst/>
              <a:gdLst>
                <a:gd name="connsiteX0" fmla="*/ 0 w 242467"/>
                <a:gd name="connsiteY0" fmla="*/ 0 h 12123"/>
                <a:gd name="connsiteX1" fmla="*/ 242468 w 242467"/>
                <a:gd name="connsiteY1" fmla="*/ 0 h 12123"/>
                <a:gd name="connsiteX2" fmla="*/ 242468 w 242467"/>
                <a:gd name="connsiteY2" fmla="*/ 12123 h 12123"/>
                <a:gd name="connsiteX3" fmla="*/ 0 w 242467"/>
                <a:gd name="connsiteY3" fmla="*/ 12123 h 12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2467" h="12123">
                  <a:moveTo>
                    <a:pt x="0" y="0"/>
                  </a:moveTo>
                  <a:lnTo>
                    <a:pt x="242468" y="0"/>
                  </a:lnTo>
                  <a:lnTo>
                    <a:pt x="242468" y="12123"/>
                  </a:lnTo>
                  <a:lnTo>
                    <a:pt x="0" y="12123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2" name="Freihandform: Form 141">
              <a:extLst>
                <a:ext uri="{FF2B5EF4-FFF2-40B4-BE49-F238E27FC236}">
                  <a16:creationId xmlns:a16="http://schemas.microsoft.com/office/drawing/2014/main" id="{AE90DAC5-6F77-4BC8-B202-7F2CA65E9355}"/>
                </a:ext>
              </a:extLst>
            </p:cNvPr>
            <p:cNvSpPr/>
            <p:nvPr/>
          </p:nvSpPr>
          <p:spPr>
            <a:xfrm>
              <a:off x="6861826" y="4485487"/>
              <a:ext cx="242467" cy="12123"/>
            </a:xfrm>
            <a:custGeom>
              <a:avLst/>
              <a:gdLst>
                <a:gd name="connsiteX0" fmla="*/ 0 w 242467"/>
                <a:gd name="connsiteY0" fmla="*/ 0 h 12123"/>
                <a:gd name="connsiteX1" fmla="*/ 242468 w 242467"/>
                <a:gd name="connsiteY1" fmla="*/ 0 h 12123"/>
                <a:gd name="connsiteX2" fmla="*/ 242468 w 242467"/>
                <a:gd name="connsiteY2" fmla="*/ 12123 h 12123"/>
                <a:gd name="connsiteX3" fmla="*/ 0 w 242467"/>
                <a:gd name="connsiteY3" fmla="*/ 12123 h 12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2467" h="12123">
                  <a:moveTo>
                    <a:pt x="0" y="0"/>
                  </a:moveTo>
                  <a:lnTo>
                    <a:pt x="242468" y="0"/>
                  </a:lnTo>
                  <a:lnTo>
                    <a:pt x="242468" y="12123"/>
                  </a:lnTo>
                  <a:lnTo>
                    <a:pt x="0" y="12123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3" name="Freihandform: Form 142">
              <a:extLst>
                <a:ext uri="{FF2B5EF4-FFF2-40B4-BE49-F238E27FC236}">
                  <a16:creationId xmlns:a16="http://schemas.microsoft.com/office/drawing/2014/main" id="{2405815F-36E7-4582-BFAE-6D2C5ED2F3BD}"/>
                </a:ext>
              </a:extLst>
            </p:cNvPr>
            <p:cNvSpPr/>
            <p:nvPr/>
          </p:nvSpPr>
          <p:spPr>
            <a:xfrm>
              <a:off x="6861826" y="4533980"/>
              <a:ext cx="242467" cy="12123"/>
            </a:xfrm>
            <a:custGeom>
              <a:avLst/>
              <a:gdLst>
                <a:gd name="connsiteX0" fmla="*/ 0 w 242467"/>
                <a:gd name="connsiteY0" fmla="*/ 0 h 12123"/>
                <a:gd name="connsiteX1" fmla="*/ 242468 w 242467"/>
                <a:gd name="connsiteY1" fmla="*/ 0 h 12123"/>
                <a:gd name="connsiteX2" fmla="*/ 242468 w 242467"/>
                <a:gd name="connsiteY2" fmla="*/ 12123 h 12123"/>
                <a:gd name="connsiteX3" fmla="*/ 0 w 242467"/>
                <a:gd name="connsiteY3" fmla="*/ 12123 h 12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2467" h="12123">
                  <a:moveTo>
                    <a:pt x="0" y="0"/>
                  </a:moveTo>
                  <a:lnTo>
                    <a:pt x="242468" y="0"/>
                  </a:lnTo>
                  <a:lnTo>
                    <a:pt x="242468" y="12123"/>
                  </a:lnTo>
                  <a:lnTo>
                    <a:pt x="0" y="12123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4" name="Freihandform: Form 143">
              <a:extLst>
                <a:ext uri="{FF2B5EF4-FFF2-40B4-BE49-F238E27FC236}">
                  <a16:creationId xmlns:a16="http://schemas.microsoft.com/office/drawing/2014/main" id="{B06D1CA3-15E0-47F1-A5A6-DE6C8E662C53}"/>
                </a:ext>
              </a:extLst>
            </p:cNvPr>
            <p:cNvSpPr/>
            <p:nvPr/>
          </p:nvSpPr>
          <p:spPr>
            <a:xfrm>
              <a:off x="6801209" y="4133908"/>
              <a:ext cx="363701" cy="484935"/>
            </a:xfrm>
            <a:custGeom>
              <a:avLst/>
              <a:gdLst>
                <a:gd name="connsiteX0" fmla="*/ 0 w 363701"/>
                <a:gd name="connsiteY0" fmla="*/ 0 h 484935"/>
                <a:gd name="connsiteX1" fmla="*/ 0 w 363701"/>
                <a:gd name="connsiteY1" fmla="*/ 484936 h 484935"/>
                <a:gd name="connsiteX2" fmla="*/ 363702 w 363701"/>
                <a:gd name="connsiteY2" fmla="*/ 484936 h 484935"/>
                <a:gd name="connsiteX3" fmla="*/ 363702 w 363701"/>
                <a:gd name="connsiteY3" fmla="*/ 130848 h 484935"/>
                <a:gd name="connsiteX4" fmla="*/ 232854 w 363701"/>
                <a:gd name="connsiteY4" fmla="*/ 0 h 484935"/>
                <a:gd name="connsiteX5" fmla="*/ 236509 w 363701"/>
                <a:gd name="connsiteY5" fmla="*/ 20798 h 484935"/>
                <a:gd name="connsiteX6" fmla="*/ 342904 w 363701"/>
                <a:gd name="connsiteY6" fmla="*/ 127193 h 484935"/>
                <a:gd name="connsiteX7" fmla="*/ 342904 w 363701"/>
                <a:gd name="connsiteY7" fmla="*/ 127278 h 484935"/>
                <a:gd name="connsiteX8" fmla="*/ 342862 w 363701"/>
                <a:gd name="connsiteY8" fmla="*/ 127296 h 484935"/>
                <a:gd name="connsiteX9" fmla="*/ 236406 w 363701"/>
                <a:gd name="connsiteY9" fmla="*/ 127296 h 484935"/>
                <a:gd name="connsiteX10" fmla="*/ 236406 w 363701"/>
                <a:gd name="connsiteY10" fmla="*/ 20840 h 484935"/>
                <a:gd name="connsiteX11" fmla="*/ 236467 w 363701"/>
                <a:gd name="connsiteY11" fmla="*/ 20780 h 484935"/>
                <a:gd name="connsiteX12" fmla="*/ 236509 w 363701"/>
                <a:gd name="connsiteY12" fmla="*/ 20798 h 484935"/>
                <a:gd name="connsiteX13" fmla="*/ 12123 w 363701"/>
                <a:gd name="connsiteY13" fmla="*/ 472812 h 484935"/>
                <a:gd name="connsiteX14" fmla="*/ 12123 w 363701"/>
                <a:gd name="connsiteY14" fmla="*/ 12123 h 484935"/>
                <a:gd name="connsiteX15" fmla="*/ 224283 w 363701"/>
                <a:gd name="connsiteY15" fmla="*/ 12123 h 484935"/>
                <a:gd name="connsiteX16" fmla="*/ 224283 w 363701"/>
                <a:gd name="connsiteY16" fmla="*/ 139419 h 484935"/>
                <a:gd name="connsiteX17" fmla="*/ 351578 w 363701"/>
                <a:gd name="connsiteY17" fmla="*/ 139419 h 484935"/>
                <a:gd name="connsiteX18" fmla="*/ 351578 w 363701"/>
                <a:gd name="connsiteY18" fmla="*/ 472812 h 484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63701" h="484935">
                  <a:moveTo>
                    <a:pt x="0" y="0"/>
                  </a:moveTo>
                  <a:lnTo>
                    <a:pt x="0" y="484936"/>
                  </a:lnTo>
                  <a:lnTo>
                    <a:pt x="363702" y="484936"/>
                  </a:lnTo>
                  <a:lnTo>
                    <a:pt x="363702" y="130848"/>
                  </a:lnTo>
                  <a:lnTo>
                    <a:pt x="232854" y="0"/>
                  </a:lnTo>
                  <a:close/>
                  <a:moveTo>
                    <a:pt x="236509" y="20798"/>
                  </a:moveTo>
                  <a:lnTo>
                    <a:pt x="342904" y="127193"/>
                  </a:lnTo>
                  <a:cubicBezTo>
                    <a:pt x="342928" y="127216"/>
                    <a:pt x="342927" y="127255"/>
                    <a:pt x="342904" y="127278"/>
                  </a:cubicBezTo>
                  <a:cubicBezTo>
                    <a:pt x="342892" y="127289"/>
                    <a:pt x="342878" y="127296"/>
                    <a:pt x="342862" y="127296"/>
                  </a:cubicBezTo>
                  <a:lnTo>
                    <a:pt x="236406" y="127296"/>
                  </a:lnTo>
                  <a:lnTo>
                    <a:pt x="236406" y="20840"/>
                  </a:lnTo>
                  <a:cubicBezTo>
                    <a:pt x="236407" y="20807"/>
                    <a:pt x="236434" y="20780"/>
                    <a:pt x="236467" y="20780"/>
                  </a:cubicBezTo>
                  <a:cubicBezTo>
                    <a:pt x="236483" y="20781"/>
                    <a:pt x="236498" y="20787"/>
                    <a:pt x="236509" y="20798"/>
                  </a:cubicBezTo>
                  <a:close/>
                  <a:moveTo>
                    <a:pt x="12123" y="472812"/>
                  </a:moveTo>
                  <a:lnTo>
                    <a:pt x="12123" y="12123"/>
                  </a:lnTo>
                  <a:lnTo>
                    <a:pt x="224283" y="12123"/>
                  </a:lnTo>
                  <a:lnTo>
                    <a:pt x="224283" y="139419"/>
                  </a:lnTo>
                  <a:lnTo>
                    <a:pt x="351578" y="139419"/>
                  </a:lnTo>
                  <a:lnTo>
                    <a:pt x="351578" y="472812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46" name="Grafik 39" descr="Geöffneter Ordner Silhouette">
            <a:extLst>
              <a:ext uri="{FF2B5EF4-FFF2-40B4-BE49-F238E27FC236}">
                <a16:creationId xmlns:a16="http://schemas.microsoft.com/office/drawing/2014/main" id="{21571182-5E55-4059-B302-917D8942D5EA}"/>
              </a:ext>
            </a:extLst>
          </p:cNvPr>
          <p:cNvSpPr/>
          <p:nvPr/>
        </p:nvSpPr>
        <p:spPr>
          <a:xfrm>
            <a:off x="3096909" y="4206685"/>
            <a:ext cx="472814" cy="339546"/>
          </a:xfrm>
          <a:custGeom>
            <a:avLst/>
            <a:gdLst>
              <a:gd name="connsiteX0" fmla="*/ 11742 w 472814"/>
              <a:gd name="connsiteY0" fmla="*/ 339382 h 339546"/>
              <a:gd name="connsiteX1" fmla="*/ 12396 w 472814"/>
              <a:gd name="connsiteY1" fmla="*/ 339546 h 339546"/>
              <a:gd name="connsiteX2" fmla="*/ 387949 w 472814"/>
              <a:gd name="connsiteY2" fmla="*/ 339546 h 339546"/>
              <a:gd name="connsiteX3" fmla="*/ 470388 w 472814"/>
              <a:gd name="connsiteY3" fmla="*/ 162496 h 339546"/>
              <a:gd name="connsiteX4" fmla="*/ 458801 w 472814"/>
              <a:gd name="connsiteY4" fmla="*/ 129595 h 339546"/>
              <a:gd name="connsiteX5" fmla="*/ 450990 w 472814"/>
              <a:gd name="connsiteY5" fmla="*/ 127338 h 339546"/>
              <a:gd name="connsiteX6" fmla="*/ 424319 w 472814"/>
              <a:gd name="connsiteY6" fmla="*/ 127338 h 339546"/>
              <a:gd name="connsiteX7" fmla="*/ 424319 w 472814"/>
              <a:gd name="connsiteY7" fmla="*/ 72783 h 339546"/>
              <a:gd name="connsiteX8" fmla="*/ 400072 w 472814"/>
              <a:gd name="connsiteY8" fmla="*/ 48536 h 339546"/>
              <a:gd name="connsiteX9" fmla="*/ 219918 w 472814"/>
              <a:gd name="connsiteY9" fmla="*/ 48536 h 339546"/>
              <a:gd name="connsiteX10" fmla="*/ 216827 w 472814"/>
              <a:gd name="connsiteY10" fmla="*/ 47603 h 339546"/>
              <a:gd name="connsiteX11" fmla="*/ 151542 w 472814"/>
              <a:gd name="connsiteY11" fmla="*/ 4243 h 339546"/>
              <a:gd name="connsiteX12" fmla="*/ 138207 w 472814"/>
              <a:gd name="connsiteY12" fmla="*/ 0 h 339546"/>
              <a:gd name="connsiteX13" fmla="*/ 24247 w 472814"/>
              <a:gd name="connsiteY13" fmla="*/ 0 h 339546"/>
              <a:gd name="connsiteX14" fmla="*/ 0 w 472814"/>
              <a:gd name="connsiteY14" fmla="*/ 24247 h 339546"/>
              <a:gd name="connsiteX15" fmla="*/ 0 w 472814"/>
              <a:gd name="connsiteY15" fmla="*/ 327295 h 339546"/>
              <a:gd name="connsiteX16" fmla="*/ 11742 w 472814"/>
              <a:gd name="connsiteY16" fmla="*/ 339382 h 339546"/>
              <a:gd name="connsiteX17" fmla="*/ 450342 w 472814"/>
              <a:gd name="connsiteY17" fmla="*/ 139449 h 339546"/>
              <a:gd name="connsiteX18" fmla="*/ 460522 w 472814"/>
              <a:gd name="connsiteY18" fmla="*/ 154025 h 339546"/>
              <a:gd name="connsiteX19" fmla="*/ 459568 w 472814"/>
              <a:gd name="connsiteY19" fmla="*/ 157077 h 339546"/>
              <a:gd name="connsiteX20" fmla="*/ 459489 w 472814"/>
              <a:gd name="connsiteY20" fmla="*/ 157228 h 339546"/>
              <a:gd name="connsiteX21" fmla="*/ 459422 w 472814"/>
              <a:gd name="connsiteY21" fmla="*/ 157380 h 339546"/>
              <a:gd name="connsiteX22" fmla="*/ 380256 w 472814"/>
              <a:gd name="connsiteY22" fmla="*/ 327386 h 339546"/>
              <a:gd name="connsiteX23" fmla="*/ 380202 w 472814"/>
              <a:gd name="connsiteY23" fmla="*/ 327423 h 339546"/>
              <a:gd name="connsiteX24" fmla="*/ 24853 w 472814"/>
              <a:gd name="connsiteY24" fmla="*/ 327423 h 339546"/>
              <a:gd name="connsiteX25" fmla="*/ 24794 w 472814"/>
              <a:gd name="connsiteY25" fmla="*/ 327361 h 339546"/>
              <a:gd name="connsiteX26" fmla="*/ 24798 w 472814"/>
              <a:gd name="connsiteY26" fmla="*/ 327338 h 339546"/>
              <a:gd name="connsiteX27" fmla="*/ 99594 w 472814"/>
              <a:gd name="connsiteY27" fmla="*/ 145560 h 339546"/>
              <a:gd name="connsiteX28" fmla="*/ 109111 w 472814"/>
              <a:gd name="connsiteY28" fmla="*/ 139449 h 339546"/>
              <a:gd name="connsiteX29" fmla="*/ 12123 w 472814"/>
              <a:gd name="connsiteY29" fmla="*/ 24247 h 339546"/>
              <a:gd name="connsiteX30" fmla="*/ 24247 w 472814"/>
              <a:gd name="connsiteY30" fmla="*/ 12123 h 339546"/>
              <a:gd name="connsiteX31" fmla="*/ 138207 w 472814"/>
              <a:gd name="connsiteY31" fmla="*/ 12123 h 339546"/>
              <a:gd name="connsiteX32" fmla="*/ 145196 w 472814"/>
              <a:gd name="connsiteY32" fmla="*/ 14578 h 339546"/>
              <a:gd name="connsiteX33" fmla="*/ 210117 w 472814"/>
              <a:gd name="connsiteY33" fmla="*/ 57671 h 339546"/>
              <a:gd name="connsiteX34" fmla="*/ 219918 w 472814"/>
              <a:gd name="connsiteY34" fmla="*/ 60629 h 339546"/>
              <a:gd name="connsiteX35" fmla="*/ 400072 w 472814"/>
              <a:gd name="connsiteY35" fmla="*/ 60629 h 339546"/>
              <a:gd name="connsiteX36" fmla="*/ 412195 w 472814"/>
              <a:gd name="connsiteY36" fmla="*/ 72752 h 339546"/>
              <a:gd name="connsiteX37" fmla="*/ 412195 w 472814"/>
              <a:gd name="connsiteY37" fmla="*/ 127259 h 339546"/>
              <a:gd name="connsiteX38" fmla="*/ 115172 w 472814"/>
              <a:gd name="connsiteY38" fmla="*/ 127259 h 339546"/>
              <a:gd name="connsiteX39" fmla="*/ 114227 w 472814"/>
              <a:gd name="connsiteY39" fmla="*/ 127326 h 339546"/>
              <a:gd name="connsiteX40" fmla="*/ 109111 w 472814"/>
              <a:gd name="connsiteY40" fmla="*/ 127326 h 339546"/>
              <a:gd name="connsiteX41" fmla="*/ 88501 w 472814"/>
              <a:gd name="connsiteY41" fmla="*/ 140662 h 339546"/>
              <a:gd name="connsiteX42" fmla="*/ 12239 w 472814"/>
              <a:gd name="connsiteY42" fmla="*/ 325992 h 339546"/>
              <a:gd name="connsiteX43" fmla="*/ 12162 w 472814"/>
              <a:gd name="connsiteY43" fmla="*/ 326031 h 339546"/>
              <a:gd name="connsiteX44" fmla="*/ 12123 w 472814"/>
              <a:gd name="connsiteY44" fmla="*/ 325992 h 3395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472814" h="339546">
                <a:moveTo>
                  <a:pt x="11742" y="339382"/>
                </a:moveTo>
                <a:cubicBezTo>
                  <a:pt x="11954" y="339456"/>
                  <a:pt x="12174" y="339511"/>
                  <a:pt x="12396" y="339546"/>
                </a:cubicBezTo>
                <a:lnTo>
                  <a:pt x="387949" y="339546"/>
                </a:lnTo>
                <a:lnTo>
                  <a:pt x="470388" y="162496"/>
                </a:lnTo>
                <a:cubicBezTo>
                  <a:pt x="476274" y="150211"/>
                  <a:pt x="471087" y="135481"/>
                  <a:pt x="458801" y="129595"/>
                </a:cubicBezTo>
                <a:cubicBezTo>
                  <a:pt x="456340" y="128416"/>
                  <a:pt x="453701" y="127653"/>
                  <a:pt x="450990" y="127338"/>
                </a:cubicBezTo>
                <a:lnTo>
                  <a:pt x="424319" y="127338"/>
                </a:lnTo>
                <a:lnTo>
                  <a:pt x="424319" y="72783"/>
                </a:lnTo>
                <a:cubicBezTo>
                  <a:pt x="424279" y="59408"/>
                  <a:pt x="413447" y="48576"/>
                  <a:pt x="400072" y="48536"/>
                </a:cubicBezTo>
                <a:lnTo>
                  <a:pt x="219918" y="48536"/>
                </a:lnTo>
                <a:cubicBezTo>
                  <a:pt x="218819" y="48534"/>
                  <a:pt x="217743" y="48210"/>
                  <a:pt x="216827" y="47603"/>
                </a:cubicBezTo>
                <a:lnTo>
                  <a:pt x="151542" y="4243"/>
                </a:lnTo>
                <a:cubicBezTo>
                  <a:pt x="147555" y="1665"/>
                  <a:pt x="142951" y="201"/>
                  <a:pt x="138207" y="0"/>
                </a:cubicBezTo>
                <a:lnTo>
                  <a:pt x="24247" y="0"/>
                </a:lnTo>
                <a:cubicBezTo>
                  <a:pt x="10872" y="40"/>
                  <a:pt x="40" y="10872"/>
                  <a:pt x="0" y="24247"/>
                </a:cubicBezTo>
                <a:lnTo>
                  <a:pt x="0" y="327295"/>
                </a:lnTo>
                <a:cubicBezTo>
                  <a:pt x="16" y="333830"/>
                  <a:pt x="5210" y="339176"/>
                  <a:pt x="11742" y="339382"/>
                </a:cubicBezTo>
                <a:close/>
                <a:moveTo>
                  <a:pt x="450342" y="139449"/>
                </a:moveTo>
                <a:cubicBezTo>
                  <a:pt x="457178" y="140663"/>
                  <a:pt x="461736" y="147189"/>
                  <a:pt x="460522" y="154025"/>
                </a:cubicBezTo>
                <a:cubicBezTo>
                  <a:pt x="460335" y="155079"/>
                  <a:pt x="460014" y="156104"/>
                  <a:pt x="459568" y="157077"/>
                </a:cubicBezTo>
                <a:lnTo>
                  <a:pt x="459489" y="157228"/>
                </a:lnTo>
                <a:lnTo>
                  <a:pt x="459422" y="157380"/>
                </a:lnTo>
                <a:lnTo>
                  <a:pt x="380256" y="327386"/>
                </a:lnTo>
                <a:lnTo>
                  <a:pt x="380202" y="327423"/>
                </a:lnTo>
                <a:lnTo>
                  <a:pt x="24853" y="327423"/>
                </a:lnTo>
                <a:cubicBezTo>
                  <a:pt x="24820" y="327422"/>
                  <a:pt x="24793" y="327395"/>
                  <a:pt x="24794" y="327361"/>
                </a:cubicBezTo>
                <a:cubicBezTo>
                  <a:pt x="24794" y="327353"/>
                  <a:pt x="24795" y="327345"/>
                  <a:pt x="24798" y="327338"/>
                </a:cubicBezTo>
                <a:lnTo>
                  <a:pt x="99594" y="145560"/>
                </a:lnTo>
                <a:cubicBezTo>
                  <a:pt x="101341" y="141875"/>
                  <a:pt x="105033" y="139505"/>
                  <a:pt x="109111" y="139449"/>
                </a:cubicBezTo>
                <a:close/>
                <a:moveTo>
                  <a:pt x="12123" y="24247"/>
                </a:moveTo>
                <a:cubicBezTo>
                  <a:pt x="12123" y="17551"/>
                  <a:pt x="17551" y="12123"/>
                  <a:pt x="24247" y="12123"/>
                </a:cubicBezTo>
                <a:lnTo>
                  <a:pt x="138207" y="12123"/>
                </a:lnTo>
                <a:cubicBezTo>
                  <a:pt x="140708" y="12331"/>
                  <a:pt x="143114" y="13176"/>
                  <a:pt x="145196" y="14578"/>
                </a:cubicBezTo>
                <a:lnTo>
                  <a:pt x="210117" y="57671"/>
                </a:lnTo>
                <a:cubicBezTo>
                  <a:pt x="213022" y="59599"/>
                  <a:pt x="216431" y="60628"/>
                  <a:pt x="219918" y="60629"/>
                </a:cubicBezTo>
                <a:lnTo>
                  <a:pt x="400072" y="60629"/>
                </a:lnTo>
                <a:cubicBezTo>
                  <a:pt x="406768" y="60629"/>
                  <a:pt x="412195" y="66057"/>
                  <a:pt x="412195" y="72752"/>
                </a:cubicBezTo>
                <a:lnTo>
                  <a:pt x="412195" y="127259"/>
                </a:lnTo>
                <a:lnTo>
                  <a:pt x="115172" y="127259"/>
                </a:lnTo>
                <a:cubicBezTo>
                  <a:pt x="114851" y="127259"/>
                  <a:pt x="114566" y="127314"/>
                  <a:pt x="114227" y="127326"/>
                </a:cubicBezTo>
                <a:lnTo>
                  <a:pt x="109111" y="127326"/>
                </a:lnTo>
                <a:cubicBezTo>
                  <a:pt x="100227" y="127370"/>
                  <a:pt x="92181" y="132577"/>
                  <a:pt x="88501" y="140662"/>
                </a:cubicBezTo>
                <a:lnTo>
                  <a:pt x="12239" y="325992"/>
                </a:lnTo>
                <a:cubicBezTo>
                  <a:pt x="12228" y="326024"/>
                  <a:pt x="12194" y="326041"/>
                  <a:pt x="12162" y="326031"/>
                </a:cubicBezTo>
                <a:cubicBezTo>
                  <a:pt x="12144" y="326025"/>
                  <a:pt x="12129" y="326010"/>
                  <a:pt x="12123" y="325992"/>
                </a:cubicBezTo>
                <a:close/>
              </a:path>
            </a:pathLst>
          </a:custGeom>
          <a:solidFill>
            <a:schemeClr val="tx1"/>
          </a:solidFill>
          <a:ln w="6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149" name="Grafik 42" descr="Haus Silhouette">
            <a:extLst>
              <a:ext uri="{FF2B5EF4-FFF2-40B4-BE49-F238E27FC236}">
                <a16:creationId xmlns:a16="http://schemas.microsoft.com/office/drawing/2014/main" id="{60F29441-4D1F-4070-BCB5-65CB814CC8C9}"/>
              </a:ext>
            </a:extLst>
          </p:cNvPr>
          <p:cNvGrpSpPr/>
          <p:nvPr/>
        </p:nvGrpSpPr>
        <p:grpSpPr>
          <a:xfrm>
            <a:off x="9395892" y="5001908"/>
            <a:ext cx="502308" cy="444928"/>
            <a:chOff x="9395892" y="5001908"/>
            <a:chExt cx="502308" cy="444928"/>
          </a:xfrm>
          <a:solidFill>
            <a:schemeClr val="tx1"/>
          </a:solidFill>
        </p:grpSpPr>
        <p:sp>
          <p:nvSpPr>
            <p:cNvPr id="150" name="Freihandform: Form 149">
              <a:extLst>
                <a:ext uri="{FF2B5EF4-FFF2-40B4-BE49-F238E27FC236}">
                  <a16:creationId xmlns:a16="http://schemas.microsoft.com/office/drawing/2014/main" id="{5D6B2004-2046-4EB1-9366-57D89EA556F9}"/>
                </a:ext>
              </a:extLst>
            </p:cNvPr>
            <p:cNvSpPr/>
            <p:nvPr/>
          </p:nvSpPr>
          <p:spPr>
            <a:xfrm>
              <a:off x="9395892" y="5001908"/>
              <a:ext cx="502308" cy="444928"/>
            </a:xfrm>
            <a:custGeom>
              <a:avLst/>
              <a:gdLst>
                <a:gd name="connsiteX0" fmla="*/ 402697 w 502308"/>
                <a:gd name="connsiteY0" fmla="*/ 32600 h 444928"/>
                <a:gd name="connsiteX1" fmla="*/ 342080 w 502308"/>
                <a:gd name="connsiteY1" fmla="*/ 32600 h 444928"/>
                <a:gd name="connsiteX2" fmla="*/ 342080 w 502308"/>
                <a:gd name="connsiteY2" fmla="*/ 86355 h 444928"/>
                <a:gd name="connsiteX3" fmla="*/ 251154 w 502308"/>
                <a:gd name="connsiteY3" fmla="*/ 0 h 444928"/>
                <a:gd name="connsiteX4" fmla="*/ 0 w 502308"/>
                <a:gd name="connsiteY4" fmla="*/ 238576 h 444928"/>
                <a:gd name="connsiteX5" fmla="*/ 39334 w 502308"/>
                <a:gd name="connsiteY5" fmla="*/ 277905 h 444928"/>
                <a:gd name="connsiteX6" fmla="*/ 69303 w 502308"/>
                <a:gd name="connsiteY6" fmla="*/ 249524 h 444928"/>
                <a:gd name="connsiteX7" fmla="*/ 69303 w 502308"/>
                <a:gd name="connsiteY7" fmla="*/ 444783 h 444928"/>
                <a:gd name="connsiteX8" fmla="*/ 220846 w 502308"/>
                <a:gd name="connsiteY8" fmla="*/ 444844 h 444928"/>
                <a:gd name="connsiteX9" fmla="*/ 220846 w 502308"/>
                <a:gd name="connsiteY9" fmla="*/ 293350 h 444928"/>
                <a:gd name="connsiteX10" fmla="*/ 281463 w 502308"/>
                <a:gd name="connsiteY10" fmla="*/ 293350 h 444928"/>
                <a:gd name="connsiteX11" fmla="*/ 281463 w 502308"/>
                <a:gd name="connsiteY11" fmla="*/ 444892 h 444928"/>
                <a:gd name="connsiteX12" fmla="*/ 433005 w 502308"/>
                <a:gd name="connsiteY12" fmla="*/ 444929 h 444928"/>
                <a:gd name="connsiteX13" fmla="*/ 433005 w 502308"/>
                <a:gd name="connsiteY13" fmla="*/ 249269 h 444928"/>
                <a:gd name="connsiteX14" fmla="*/ 463126 w 502308"/>
                <a:gd name="connsiteY14" fmla="*/ 277759 h 444928"/>
                <a:gd name="connsiteX15" fmla="*/ 502309 w 502308"/>
                <a:gd name="connsiteY15" fmla="*/ 238582 h 444928"/>
                <a:gd name="connsiteX16" fmla="*/ 402697 w 502308"/>
                <a:gd name="connsiteY16" fmla="*/ 143941 h 444928"/>
                <a:gd name="connsiteX17" fmla="*/ 354203 w 502308"/>
                <a:gd name="connsiteY17" fmla="*/ 44723 h 444928"/>
                <a:gd name="connsiteX18" fmla="*/ 390573 w 502308"/>
                <a:gd name="connsiteY18" fmla="*/ 44723 h 444928"/>
                <a:gd name="connsiteX19" fmla="*/ 390573 w 502308"/>
                <a:gd name="connsiteY19" fmla="*/ 132424 h 444928"/>
                <a:gd name="connsiteX20" fmla="*/ 354203 w 502308"/>
                <a:gd name="connsiteY20" fmla="*/ 97872 h 444928"/>
                <a:gd name="connsiteX21" fmla="*/ 420882 w 502308"/>
                <a:gd name="connsiteY21" fmla="*/ 432805 h 444928"/>
                <a:gd name="connsiteX22" fmla="*/ 293586 w 502308"/>
                <a:gd name="connsiteY22" fmla="*/ 432751 h 444928"/>
                <a:gd name="connsiteX23" fmla="*/ 293586 w 502308"/>
                <a:gd name="connsiteY23" fmla="*/ 281208 h 444928"/>
                <a:gd name="connsiteX24" fmla="*/ 208722 w 502308"/>
                <a:gd name="connsiteY24" fmla="*/ 281208 h 444928"/>
                <a:gd name="connsiteX25" fmla="*/ 208722 w 502308"/>
                <a:gd name="connsiteY25" fmla="*/ 432714 h 444928"/>
                <a:gd name="connsiteX26" fmla="*/ 81427 w 502308"/>
                <a:gd name="connsiteY26" fmla="*/ 432666 h 444928"/>
                <a:gd name="connsiteX27" fmla="*/ 81427 w 502308"/>
                <a:gd name="connsiteY27" fmla="*/ 238043 h 444928"/>
                <a:gd name="connsiteX28" fmla="*/ 251154 w 502308"/>
                <a:gd name="connsiteY28" fmla="*/ 77311 h 444928"/>
                <a:gd name="connsiteX29" fmla="*/ 420882 w 502308"/>
                <a:gd name="connsiteY29" fmla="*/ 237806 h 444928"/>
                <a:gd name="connsiteX30" fmla="*/ 39559 w 502308"/>
                <a:gd name="connsiteY30" fmla="*/ 260992 h 444928"/>
                <a:gd name="connsiteX31" fmla="*/ 17373 w 502308"/>
                <a:gd name="connsiteY31" fmla="*/ 238831 h 444928"/>
                <a:gd name="connsiteX32" fmla="*/ 251154 w 502308"/>
                <a:gd name="connsiteY32" fmla="*/ 16706 h 444928"/>
                <a:gd name="connsiteX33" fmla="*/ 484936 w 502308"/>
                <a:gd name="connsiteY33" fmla="*/ 238831 h 444928"/>
                <a:gd name="connsiteX34" fmla="*/ 462889 w 502308"/>
                <a:gd name="connsiteY34" fmla="*/ 260847 h 444928"/>
                <a:gd name="connsiteX35" fmla="*/ 251154 w 502308"/>
                <a:gd name="connsiteY35" fmla="*/ 60617 h 44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02308" h="444928">
                  <a:moveTo>
                    <a:pt x="402697" y="32600"/>
                  </a:moveTo>
                  <a:lnTo>
                    <a:pt x="342080" y="32600"/>
                  </a:lnTo>
                  <a:lnTo>
                    <a:pt x="342080" y="86355"/>
                  </a:lnTo>
                  <a:lnTo>
                    <a:pt x="251154" y="0"/>
                  </a:lnTo>
                  <a:lnTo>
                    <a:pt x="0" y="238576"/>
                  </a:lnTo>
                  <a:lnTo>
                    <a:pt x="39334" y="277905"/>
                  </a:lnTo>
                  <a:lnTo>
                    <a:pt x="69303" y="249524"/>
                  </a:lnTo>
                  <a:lnTo>
                    <a:pt x="69303" y="444783"/>
                  </a:lnTo>
                  <a:lnTo>
                    <a:pt x="220846" y="444844"/>
                  </a:lnTo>
                  <a:lnTo>
                    <a:pt x="220846" y="293350"/>
                  </a:lnTo>
                  <a:lnTo>
                    <a:pt x="281463" y="293350"/>
                  </a:lnTo>
                  <a:lnTo>
                    <a:pt x="281463" y="444892"/>
                  </a:lnTo>
                  <a:lnTo>
                    <a:pt x="433005" y="444929"/>
                  </a:lnTo>
                  <a:lnTo>
                    <a:pt x="433005" y="249269"/>
                  </a:lnTo>
                  <a:lnTo>
                    <a:pt x="463126" y="277759"/>
                  </a:lnTo>
                  <a:lnTo>
                    <a:pt x="502309" y="238582"/>
                  </a:lnTo>
                  <a:lnTo>
                    <a:pt x="402697" y="143941"/>
                  </a:lnTo>
                  <a:close/>
                  <a:moveTo>
                    <a:pt x="354203" y="44723"/>
                  </a:moveTo>
                  <a:lnTo>
                    <a:pt x="390573" y="44723"/>
                  </a:lnTo>
                  <a:lnTo>
                    <a:pt x="390573" y="132424"/>
                  </a:lnTo>
                  <a:lnTo>
                    <a:pt x="354203" y="97872"/>
                  </a:lnTo>
                  <a:close/>
                  <a:moveTo>
                    <a:pt x="420882" y="432805"/>
                  </a:moveTo>
                  <a:lnTo>
                    <a:pt x="293586" y="432751"/>
                  </a:lnTo>
                  <a:lnTo>
                    <a:pt x="293586" y="281208"/>
                  </a:lnTo>
                  <a:lnTo>
                    <a:pt x="208722" y="281208"/>
                  </a:lnTo>
                  <a:lnTo>
                    <a:pt x="208722" y="432714"/>
                  </a:lnTo>
                  <a:lnTo>
                    <a:pt x="81427" y="432666"/>
                  </a:lnTo>
                  <a:lnTo>
                    <a:pt x="81427" y="238043"/>
                  </a:lnTo>
                  <a:lnTo>
                    <a:pt x="251154" y="77311"/>
                  </a:lnTo>
                  <a:lnTo>
                    <a:pt x="420882" y="237806"/>
                  </a:lnTo>
                  <a:close/>
                  <a:moveTo>
                    <a:pt x="39559" y="260992"/>
                  </a:moveTo>
                  <a:lnTo>
                    <a:pt x="17373" y="238831"/>
                  </a:lnTo>
                  <a:lnTo>
                    <a:pt x="251154" y="16706"/>
                  </a:lnTo>
                  <a:lnTo>
                    <a:pt x="484936" y="238831"/>
                  </a:lnTo>
                  <a:lnTo>
                    <a:pt x="462889" y="260847"/>
                  </a:lnTo>
                  <a:lnTo>
                    <a:pt x="251154" y="60617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" name="Freihandform: Form 150">
              <a:extLst>
                <a:ext uri="{FF2B5EF4-FFF2-40B4-BE49-F238E27FC236}">
                  <a16:creationId xmlns:a16="http://schemas.microsoft.com/office/drawing/2014/main" id="{E77A2417-1AD1-4976-B6E4-8CB14CB61DD6}"/>
                </a:ext>
              </a:extLst>
            </p:cNvPr>
            <p:cNvSpPr/>
            <p:nvPr/>
          </p:nvSpPr>
          <p:spPr>
            <a:xfrm>
              <a:off x="9501565" y="5283038"/>
              <a:ext cx="72740" cy="72740"/>
            </a:xfrm>
            <a:custGeom>
              <a:avLst/>
              <a:gdLst>
                <a:gd name="connsiteX0" fmla="*/ 0 w 72740"/>
                <a:gd name="connsiteY0" fmla="*/ 72740 h 72740"/>
                <a:gd name="connsiteX1" fmla="*/ 72740 w 72740"/>
                <a:gd name="connsiteY1" fmla="*/ 72740 h 72740"/>
                <a:gd name="connsiteX2" fmla="*/ 72740 w 72740"/>
                <a:gd name="connsiteY2" fmla="*/ 0 h 72740"/>
                <a:gd name="connsiteX3" fmla="*/ 0 w 72740"/>
                <a:gd name="connsiteY3" fmla="*/ 0 h 72740"/>
                <a:gd name="connsiteX4" fmla="*/ 12123 w 72740"/>
                <a:gd name="connsiteY4" fmla="*/ 12123 h 72740"/>
                <a:gd name="connsiteX5" fmla="*/ 60617 w 72740"/>
                <a:gd name="connsiteY5" fmla="*/ 12123 h 72740"/>
                <a:gd name="connsiteX6" fmla="*/ 60617 w 72740"/>
                <a:gd name="connsiteY6" fmla="*/ 60617 h 72740"/>
                <a:gd name="connsiteX7" fmla="*/ 12123 w 72740"/>
                <a:gd name="connsiteY7" fmla="*/ 60617 h 72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2740" h="72740">
                  <a:moveTo>
                    <a:pt x="0" y="72740"/>
                  </a:moveTo>
                  <a:lnTo>
                    <a:pt x="72740" y="72740"/>
                  </a:lnTo>
                  <a:lnTo>
                    <a:pt x="72740" y="0"/>
                  </a:lnTo>
                  <a:lnTo>
                    <a:pt x="0" y="0"/>
                  </a:lnTo>
                  <a:close/>
                  <a:moveTo>
                    <a:pt x="12123" y="12123"/>
                  </a:moveTo>
                  <a:lnTo>
                    <a:pt x="60617" y="12123"/>
                  </a:lnTo>
                  <a:lnTo>
                    <a:pt x="60617" y="60617"/>
                  </a:lnTo>
                  <a:lnTo>
                    <a:pt x="12123" y="60617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" name="Freihandform: Form 151">
              <a:extLst>
                <a:ext uri="{FF2B5EF4-FFF2-40B4-BE49-F238E27FC236}">
                  <a16:creationId xmlns:a16="http://schemas.microsoft.com/office/drawing/2014/main" id="{52C07453-DA1E-42D9-8F33-EBA05A05BF5B}"/>
                </a:ext>
              </a:extLst>
            </p:cNvPr>
            <p:cNvSpPr/>
            <p:nvPr/>
          </p:nvSpPr>
          <p:spPr>
            <a:xfrm>
              <a:off x="9719786" y="5283038"/>
              <a:ext cx="72740" cy="72740"/>
            </a:xfrm>
            <a:custGeom>
              <a:avLst/>
              <a:gdLst>
                <a:gd name="connsiteX0" fmla="*/ 72740 w 72740"/>
                <a:gd name="connsiteY0" fmla="*/ 0 h 72740"/>
                <a:gd name="connsiteX1" fmla="*/ 0 w 72740"/>
                <a:gd name="connsiteY1" fmla="*/ 0 h 72740"/>
                <a:gd name="connsiteX2" fmla="*/ 0 w 72740"/>
                <a:gd name="connsiteY2" fmla="*/ 72740 h 72740"/>
                <a:gd name="connsiteX3" fmla="*/ 72740 w 72740"/>
                <a:gd name="connsiteY3" fmla="*/ 72740 h 72740"/>
                <a:gd name="connsiteX4" fmla="*/ 60617 w 72740"/>
                <a:gd name="connsiteY4" fmla="*/ 60617 h 72740"/>
                <a:gd name="connsiteX5" fmla="*/ 12123 w 72740"/>
                <a:gd name="connsiteY5" fmla="*/ 60617 h 72740"/>
                <a:gd name="connsiteX6" fmla="*/ 12123 w 72740"/>
                <a:gd name="connsiteY6" fmla="*/ 12123 h 72740"/>
                <a:gd name="connsiteX7" fmla="*/ 60617 w 72740"/>
                <a:gd name="connsiteY7" fmla="*/ 12123 h 72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2740" h="72740">
                  <a:moveTo>
                    <a:pt x="72740" y="0"/>
                  </a:moveTo>
                  <a:lnTo>
                    <a:pt x="0" y="0"/>
                  </a:lnTo>
                  <a:lnTo>
                    <a:pt x="0" y="72740"/>
                  </a:lnTo>
                  <a:lnTo>
                    <a:pt x="72740" y="72740"/>
                  </a:lnTo>
                  <a:close/>
                  <a:moveTo>
                    <a:pt x="60617" y="60617"/>
                  </a:moveTo>
                  <a:lnTo>
                    <a:pt x="12123" y="60617"/>
                  </a:lnTo>
                  <a:lnTo>
                    <a:pt x="12123" y="12123"/>
                  </a:lnTo>
                  <a:lnTo>
                    <a:pt x="60617" y="12123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55" name="Grafik 45" descr="Harvey Balls 25% Silhouette">
            <a:extLst>
              <a:ext uri="{FF2B5EF4-FFF2-40B4-BE49-F238E27FC236}">
                <a16:creationId xmlns:a16="http://schemas.microsoft.com/office/drawing/2014/main" id="{7967832A-A70C-46ED-B278-B66E07A7F40A}"/>
              </a:ext>
            </a:extLst>
          </p:cNvPr>
          <p:cNvGrpSpPr/>
          <p:nvPr/>
        </p:nvGrpSpPr>
        <p:grpSpPr>
          <a:xfrm>
            <a:off x="5823541" y="3180998"/>
            <a:ext cx="442370" cy="442503"/>
            <a:chOff x="5823541" y="3180998"/>
            <a:chExt cx="442370" cy="442503"/>
          </a:xfrm>
          <a:solidFill>
            <a:schemeClr val="tx1"/>
          </a:solidFill>
        </p:grpSpPr>
        <p:sp>
          <p:nvSpPr>
            <p:cNvPr id="156" name="Freihandform: Form 155">
              <a:extLst>
                <a:ext uri="{FF2B5EF4-FFF2-40B4-BE49-F238E27FC236}">
                  <a16:creationId xmlns:a16="http://schemas.microsoft.com/office/drawing/2014/main" id="{2D128205-96F9-49C7-858C-47EECF0DCC6C}"/>
                </a:ext>
              </a:extLst>
            </p:cNvPr>
            <p:cNvSpPr/>
            <p:nvPr/>
          </p:nvSpPr>
          <p:spPr>
            <a:xfrm>
              <a:off x="5864954" y="3530110"/>
              <a:ext cx="16954" cy="16942"/>
            </a:xfrm>
            <a:custGeom>
              <a:avLst/>
              <a:gdLst>
                <a:gd name="connsiteX0" fmla="*/ 9753 w 16954"/>
                <a:gd name="connsiteY0" fmla="*/ 0 h 16942"/>
                <a:gd name="connsiteX1" fmla="*/ 0 w 16954"/>
                <a:gd name="connsiteY1" fmla="*/ 7195 h 16942"/>
                <a:gd name="connsiteX2" fmla="*/ 7650 w 16954"/>
                <a:gd name="connsiteY2" fmla="*/ 16942 h 16942"/>
                <a:gd name="connsiteX3" fmla="*/ 16955 w 16954"/>
                <a:gd name="connsiteY3" fmla="*/ 9171 h 16942"/>
                <a:gd name="connsiteX4" fmla="*/ 9753 w 16954"/>
                <a:gd name="connsiteY4" fmla="*/ 0 h 16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954" h="16942">
                  <a:moveTo>
                    <a:pt x="9753" y="0"/>
                  </a:moveTo>
                  <a:lnTo>
                    <a:pt x="0" y="7195"/>
                  </a:lnTo>
                  <a:cubicBezTo>
                    <a:pt x="2449" y="10521"/>
                    <a:pt x="4999" y="13770"/>
                    <a:pt x="7650" y="16942"/>
                  </a:cubicBezTo>
                  <a:lnTo>
                    <a:pt x="16955" y="9171"/>
                  </a:lnTo>
                  <a:cubicBezTo>
                    <a:pt x="14461" y="6189"/>
                    <a:pt x="12061" y="3132"/>
                    <a:pt x="9753" y="0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" name="Freihandform: Form 156">
              <a:extLst>
                <a:ext uri="{FF2B5EF4-FFF2-40B4-BE49-F238E27FC236}">
                  <a16:creationId xmlns:a16="http://schemas.microsoft.com/office/drawing/2014/main" id="{5ED3ACBF-EE80-4187-BC3D-23B04CDF8A77}"/>
                </a:ext>
              </a:extLst>
            </p:cNvPr>
            <p:cNvSpPr/>
            <p:nvPr/>
          </p:nvSpPr>
          <p:spPr>
            <a:xfrm>
              <a:off x="5848400" y="3505481"/>
              <a:ext cx="16493" cy="16427"/>
            </a:xfrm>
            <a:custGeom>
              <a:avLst/>
              <a:gdLst>
                <a:gd name="connsiteX0" fmla="*/ 0 w 16493"/>
                <a:gd name="connsiteY0" fmla="*/ 5692 h 16427"/>
                <a:gd name="connsiteX1" fmla="*/ 6159 w 16493"/>
                <a:gd name="connsiteY1" fmla="*/ 16427 h 16427"/>
                <a:gd name="connsiteX2" fmla="*/ 16494 w 16493"/>
                <a:gd name="connsiteY2" fmla="*/ 10123 h 16427"/>
                <a:gd name="connsiteX3" fmla="*/ 10693 w 16493"/>
                <a:gd name="connsiteY3" fmla="*/ 0 h 16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493" h="16427">
                  <a:moveTo>
                    <a:pt x="0" y="5692"/>
                  </a:moveTo>
                  <a:cubicBezTo>
                    <a:pt x="1952" y="9329"/>
                    <a:pt x="4005" y="12907"/>
                    <a:pt x="6159" y="16427"/>
                  </a:cubicBezTo>
                  <a:lnTo>
                    <a:pt x="16494" y="10123"/>
                  </a:lnTo>
                  <a:cubicBezTo>
                    <a:pt x="14469" y="6807"/>
                    <a:pt x="12523" y="3455"/>
                    <a:pt x="10693" y="0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" name="Freihandform: Form 157">
              <a:extLst>
                <a:ext uri="{FF2B5EF4-FFF2-40B4-BE49-F238E27FC236}">
                  <a16:creationId xmlns:a16="http://schemas.microsoft.com/office/drawing/2014/main" id="{90A96DF8-6107-44AA-9BFC-DCBF732C042B}"/>
                </a:ext>
              </a:extLst>
            </p:cNvPr>
            <p:cNvSpPr/>
            <p:nvPr/>
          </p:nvSpPr>
          <p:spPr>
            <a:xfrm>
              <a:off x="5882703" y="3255685"/>
              <a:ext cx="17081" cy="17075"/>
            </a:xfrm>
            <a:custGeom>
              <a:avLst/>
              <a:gdLst>
                <a:gd name="connsiteX0" fmla="*/ 17082 w 17081"/>
                <a:gd name="connsiteY0" fmla="*/ 8893 h 17075"/>
                <a:gd name="connsiteX1" fmla="*/ 8838 w 17081"/>
                <a:gd name="connsiteY1" fmla="*/ 0 h 17075"/>
                <a:gd name="connsiteX2" fmla="*/ 0 w 17081"/>
                <a:gd name="connsiteY2" fmla="*/ 8668 h 17075"/>
                <a:gd name="connsiteX3" fmla="*/ 8741 w 17081"/>
                <a:gd name="connsiteY3" fmla="*/ 17076 h 17075"/>
                <a:gd name="connsiteX4" fmla="*/ 17082 w 17081"/>
                <a:gd name="connsiteY4" fmla="*/ 8893 h 17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081" h="17075">
                  <a:moveTo>
                    <a:pt x="17082" y="8893"/>
                  </a:moveTo>
                  <a:lnTo>
                    <a:pt x="8838" y="0"/>
                  </a:lnTo>
                  <a:cubicBezTo>
                    <a:pt x="5815" y="2801"/>
                    <a:pt x="2869" y="5690"/>
                    <a:pt x="0" y="8668"/>
                  </a:cubicBezTo>
                  <a:lnTo>
                    <a:pt x="8741" y="17076"/>
                  </a:lnTo>
                  <a:cubicBezTo>
                    <a:pt x="11444" y="14271"/>
                    <a:pt x="14225" y="11543"/>
                    <a:pt x="17082" y="8893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9" name="Freihandform: Form 158">
              <a:extLst>
                <a:ext uri="{FF2B5EF4-FFF2-40B4-BE49-F238E27FC236}">
                  <a16:creationId xmlns:a16="http://schemas.microsoft.com/office/drawing/2014/main" id="{EC4A4AFD-9C3D-44D6-A56E-3F5D80E8F025}"/>
                </a:ext>
              </a:extLst>
            </p:cNvPr>
            <p:cNvSpPr/>
            <p:nvPr/>
          </p:nvSpPr>
          <p:spPr>
            <a:xfrm>
              <a:off x="5934494" y="3587193"/>
              <a:ext cx="16208" cy="16257"/>
            </a:xfrm>
            <a:custGeom>
              <a:avLst/>
              <a:gdLst>
                <a:gd name="connsiteX0" fmla="*/ 0 w 16208"/>
                <a:gd name="connsiteY0" fmla="*/ 10656 h 16257"/>
                <a:gd name="connsiteX1" fmla="*/ 11057 w 16208"/>
                <a:gd name="connsiteY1" fmla="*/ 16257 h 16257"/>
                <a:gd name="connsiteX2" fmla="*/ 16209 w 16208"/>
                <a:gd name="connsiteY2" fmla="*/ 5286 h 16257"/>
                <a:gd name="connsiteX3" fmla="*/ 5765 w 16208"/>
                <a:gd name="connsiteY3" fmla="*/ 0 h 16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08" h="16257">
                  <a:moveTo>
                    <a:pt x="0" y="10656"/>
                  </a:moveTo>
                  <a:cubicBezTo>
                    <a:pt x="3637" y="12628"/>
                    <a:pt x="7323" y="14495"/>
                    <a:pt x="11057" y="16257"/>
                  </a:cubicBezTo>
                  <a:lnTo>
                    <a:pt x="16209" y="5286"/>
                  </a:lnTo>
                  <a:cubicBezTo>
                    <a:pt x="12673" y="3625"/>
                    <a:pt x="9191" y="1863"/>
                    <a:pt x="5765" y="0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0" name="Freihandform: Form 159">
              <a:extLst>
                <a:ext uri="{FF2B5EF4-FFF2-40B4-BE49-F238E27FC236}">
                  <a16:creationId xmlns:a16="http://schemas.microsoft.com/office/drawing/2014/main" id="{25151DBC-5BB8-4ACC-B29F-28132448F53B}"/>
                </a:ext>
              </a:extLst>
            </p:cNvPr>
            <p:cNvSpPr/>
            <p:nvPr/>
          </p:nvSpPr>
          <p:spPr>
            <a:xfrm>
              <a:off x="5835840" y="3478828"/>
              <a:ext cx="15669" cy="15602"/>
            </a:xfrm>
            <a:custGeom>
              <a:avLst/>
              <a:gdLst>
                <a:gd name="connsiteX0" fmla="*/ 0 w 15669"/>
                <a:gd name="connsiteY0" fmla="*/ 4086 h 15602"/>
                <a:gd name="connsiteX1" fmla="*/ 4516 w 15669"/>
                <a:gd name="connsiteY1" fmla="*/ 15603 h 15602"/>
                <a:gd name="connsiteX2" fmla="*/ 15669 w 15669"/>
                <a:gd name="connsiteY2" fmla="*/ 10838 h 15602"/>
                <a:gd name="connsiteX3" fmla="*/ 11426 w 15669"/>
                <a:gd name="connsiteY3" fmla="*/ 0 h 15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669" h="15602">
                  <a:moveTo>
                    <a:pt x="0" y="4086"/>
                  </a:moveTo>
                  <a:cubicBezTo>
                    <a:pt x="1386" y="7977"/>
                    <a:pt x="2891" y="11816"/>
                    <a:pt x="4516" y="15603"/>
                  </a:cubicBezTo>
                  <a:lnTo>
                    <a:pt x="15669" y="10838"/>
                  </a:lnTo>
                  <a:cubicBezTo>
                    <a:pt x="14148" y="7274"/>
                    <a:pt x="12717" y="3661"/>
                    <a:pt x="11426" y="0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1" name="Freihandform: Form 160">
              <a:extLst>
                <a:ext uri="{FF2B5EF4-FFF2-40B4-BE49-F238E27FC236}">
                  <a16:creationId xmlns:a16="http://schemas.microsoft.com/office/drawing/2014/main" id="{1410AEFA-2417-4441-8488-773E8E06F6A8}"/>
                </a:ext>
              </a:extLst>
            </p:cNvPr>
            <p:cNvSpPr/>
            <p:nvPr/>
          </p:nvSpPr>
          <p:spPr>
            <a:xfrm>
              <a:off x="5885104" y="3552247"/>
              <a:ext cx="17069" cy="17069"/>
            </a:xfrm>
            <a:custGeom>
              <a:avLst/>
              <a:gdLst>
                <a:gd name="connsiteX0" fmla="*/ 0 w 17069"/>
                <a:gd name="connsiteY0" fmla="*/ 8535 h 17069"/>
                <a:gd name="connsiteX1" fmla="*/ 8983 w 17069"/>
                <a:gd name="connsiteY1" fmla="*/ 17070 h 17069"/>
                <a:gd name="connsiteX2" fmla="*/ 17070 w 17069"/>
                <a:gd name="connsiteY2" fmla="*/ 8044 h 17069"/>
                <a:gd name="connsiteX3" fmla="*/ 8583 w 17069"/>
                <a:gd name="connsiteY3" fmla="*/ 0 h 17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069" h="17069">
                  <a:moveTo>
                    <a:pt x="0" y="8535"/>
                  </a:moveTo>
                  <a:cubicBezTo>
                    <a:pt x="2902" y="11469"/>
                    <a:pt x="5896" y="14313"/>
                    <a:pt x="8983" y="17070"/>
                  </a:cubicBezTo>
                  <a:lnTo>
                    <a:pt x="17070" y="8044"/>
                  </a:lnTo>
                  <a:cubicBezTo>
                    <a:pt x="14172" y="5442"/>
                    <a:pt x="11343" y="2760"/>
                    <a:pt x="8583" y="0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2" name="Freihandform: Form 161">
              <a:extLst>
                <a:ext uri="{FF2B5EF4-FFF2-40B4-BE49-F238E27FC236}">
                  <a16:creationId xmlns:a16="http://schemas.microsoft.com/office/drawing/2014/main" id="{C9287E33-A53F-490C-BF7E-D8E7C5772E41}"/>
                </a:ext>
              </a:extLst>
            </p:cNvPr>
            <p:cNvSpPr/>
            <p:nvPr/>
          </p:nvSpPr>
          <p:spPr>
            <a:xfrm>
              <a:off x="5905719" y="3236360"/>
              <a:ext cx="16863" cy="16851"/>
            </a:xfrm>
            <a:custGeom>
              <a:avLst/>
              <a:gdLst>
                <a:gd name="connsiteX0" fmla="*/ 16864 w 16863"/>
                <a:gd name="connsiteY0" fmla="*/ 9984 h 16851"/>
                <a:gd name="connsiteX1" fmla="*/ 9990 w 16863"/>
                <a:gd name="connsiteY1" fmla="*/ 0 h 16851"/>
                <a:gd name="connsiteX2" fmla="*/ 0 w 16863"/>
                <a:gd name="connsiteY2" fmla="*/ 7274 h 16851"/>
                <a:gd name="connsiteX3" fmla="*/ 7438 w 16863"/>
                <a:gd name="connsiteY3" fmla="*/ 16852 h 16851"/>
                <a:gd name="connsiteX4" fmla="*/ 16864 w 16863"/>
                <a:gd name="connsiteY4" fmla="*/ 9984 h 16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863" h="16851">
                  <a:moveTo>
                    <a:pt x="16864" y="9984"/>
                  </a:moveTo>
                  <a:lnTo>
                    <a:pt x="9990" y="0"/>
                  </a:lnTo>
                  <a:cubicBezTo>
                    <a:pt x="6591" y="2340"/>
                    <a:pt x="3261" y="4765"/>
                    <a:pt x="0" y="7274"/>
                  </a:cubicBezTo>
                  <a:lnTo>
                    <a:pt x="7438" y="16852"/>
                  </a:lnTo>
                  <a:cubicBezTo>
                    <a:pt x="10505" y="14494"/>
                    <a:pt x="13657" y="12196"/>
                    <a:pt x="16864" y="9984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" name="Freihandform: Form 162">
              <a:extLst>
                <a:ext uri="{FF2B5EF4-FFF2-40B4-BE49-F238E27FC236}">
                  <a16:creationId xmlns:a16="http://schemas.microsoft.com/office/drawing/2014/main" id="{989D713A-1CC4-49F4-8F3A-C205648AD9F0}"/>
                </a:ext>
              </a:extLst>
            </p:cNvPr>
            <p:cNvSpPr/>
            <p:nvPr/>
          </p:nvSpPr>
          <p:spPr>
            <a:xfrm>
              <a:off x="5908453" y="3571414"/>
              <a:ext cx="16827" cy="16845"/>
            </a:xfrm>
            <a:custGeom>
              <a:avLst/>
              <a:gdLst>
                <a:gd name="connsiteX0" fmla="*/ 0 w 16827"/>
                <a:gd name="connsiteY0" fmla="*/ 9693 h 16845"/>
                <a:gd name="connsiteX1" fmla="*/ 10123 w 16827"/>
                <a:gd name="connsiteY1" fmla="*/ 16845 h 16845"/>
                <a:gd name="connsiteX2" fmla="*/ 16827 w 16827"/>
                <a:gd name="connsiteY2" fmla="*/ 6741 h 16845"/>
                <a:gd name="connsiteX3" fmla="*/ 7280 w 16827"/>
                <a:gd name="connsiteY3" fmla="*/ 0 h 16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827" h="16845">
                  <a:moveTo>
                    <a:pt x="0" y="9693"/>
                  </a:moveTo>
                  <a:cubicBezTo>
                    <a:pt x="3298" y="12174"/>
                    <a:pt x="6672" y="14558"/>
                    <a:pt x="10123" y="16845"/>
                  </a:cubicBezTo>
                  <a:lnTo>
                    <a:pt x="16827" y="6741"/>
                  </a:lnTo>
                  <a:cubicBezTo>
                    <a:pt x="13595" y="4591"/>
                    <a:pt x="10412" y="2344"/>
                    <a:pt x="7280" y="0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" name="Freihandform: Form 163">
              <a:extLst>
                <a:ext uri="{FF2B5EF4-FFF2-40B4-BE49-F238E27FC236}">
                  <a16:creationId xmlns:a16="http://schemas.microsoft.com/office/drawing/2014/main" id="{EBFE12FE-37C6-4519-9A12-C00A6C0D4DC4}"/>
                </a:ext>
              </a:extLst>
            </p:cNvPr>
            <p:cNvSpPr/>
            <p:nvPr/>
          </p:nvSpPr>
          <p:spPr>
            <a:xfrm>
              <a:off x="5846775" y="3303724"/>
              <a:ext cx="16433" cy="16402"/>
            </a:xfrm>
            <a:custGeom>
              <a:avLst/>
              <a:gdLst>
                <a:gd name="connsiteX0" fmla="*/ 16433 w 16433"/>
                <a:gd name="connsiteY0" fmla="*/ 6165 h 16402"/>
                <a:gd name="connsiteX1" fmla="*/ 6007 w 16433"/>
                <a:gd name="connsiteY1" fmla="*/ 0 h 16402"/>
                <a:gd name="connsiteX2" fmla="*/ 0 w 16433"/>
                <a:gd name="connsiteY2" fmla="*/ 10856 h 16402"/>
                <a:gd name="connsiteX3" fmla="*/ 10790 w 16433"/>
                <a:gd name="connsiteY3" fmla="*/ 16403 h 16402"/>
                <a:gd name="connsiteX4" fmla="*/ 16433 w 16433"/>
                <a:gd name="connsiteY4" fmla="*/ 6165 h 16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33" h="16402">
                  <a:moveTo>
                    <a:pt x="16433" y="6165"/>
                  </a:moveTo>
                  <a:lnTo>
                    <a:pt x="6007" y="0"/>
                  </a:lnTo>
                  <a:cubicBezTo>
                    <a:pt x="3898" y="3552"/>
                    <a:pt x="1895" y="7171"/>
                    <a:pt x="0" y="10856"/>
                  </a:cubicBezTo>
                  <a:lnTo>
                    <a:pt x="10790" y="16403"/>
                  </a:lnTo>
                  <a:cubicBezTo>
                    <a:pt x="12572" y="12931"/>
                    <a:pt x="14453" y="9519"/>
                    <a:pt x="16433" y="6165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" name="Freihandform: Form 164">
              <a:extLst>
                <a:ext uri="{FF2B5EF4-FFF2-40B4-BE49-F238E27FC236}">
                  <a16:creationId xmlns:a16="http://schemas.microsoft.com/office/drawing/2014/main" id="{C13B3C21-09D0-486D-9979-CF7FCE219F62}"/>
                </a:ext>
              </a:extLst>
            </p:cNvPr>
            <p:cNvSpPr/>
            <p:nvPr/>
          </p:nvSpPr>
          <p:spPr>
            <a:xfrm>
              <a:off x="5827536" y="3450726"/>
              <a:ext cx="14511" cy="14445"/>
            </a:xfrm>
            <a:custGeom>
              <a:avLst/>
              <a:gdLst>
                <a:gd name="connsiteX0" fmla="*/ 0 w 14511"/>
                <a:gd name="connsiteY0" fmla="*/ 2364 h 14445"/>
                <a:gd name="connsiteX1" fmla="*/ 2782 w 14511"/>
                <a:gd name="connsiteY1" fmla="*/ 14445 h 14445"/>
                <a:gd name="connsiteX2" fmla="*/ 14512 w 14511"/>
                <a:gd name="connsiteY2" fmla="*/ 11372 h 14445"/>
                <a:gd name="connsiteX3" fmla="*/ 11887 w 14511"/>
                <a:gd name="connsiteY3" fmla="*/ 0 h 14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511" h="14445">
                  <a:moveTo>
                    <a:pt x="0" y="2364"/>
                  </a:moveTo>
                  <a:cubicBezTo>
                    <a:pt x="808" y="6438"/>
                    <a:pt x="1735" y="10464"/>
                    <a:pt x="2782" y="14445"/>
                  </a:cubicBezTo>
                  <a:lnTo>
                    <a:pt x="14512" y="11372"/>
                  </a:lnTo>
                  <a:cubicBezTo>
                    <a:pt x="13530" y="7621"/>
                    <a:pt x="12655" y="3831"/>
                    <a:pt x="11887" y="0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" name="Freihandform: Form 165">
              <a:extLst>
                <a:ext uri="{FF2B5EF4-FFF2-40B4-BE49-F238E27FC236}">
                  <a16:creationId xmlns:a16="http://schemas.microsoft.com/office/drawing/2014/main" id="{08F01F11-B13F-4751-8728-84E9CBF14FDC}"/>
                </a:ext>
              </a:extLst>
            </p:cNvPr>
            <p:cNvSpPr/>
            <p:nvPr/>
          </p:nvSpPr>
          <p:spPr>
            <a:xfrm>
              <a:off x="5862924" y="3278295"/>
              <a:ext cx="16930" cy="16918"/>
            </a:xfrm>
            <a:custGeom>
              <a:avLst/>
              <a:gdLst>
                <a:gd name="connsiteX0" fmla="*/ 16930 w 16930"/>
                <a:gd name="connsiteY0" fmla="*/ 7607 h 16918"/>
                <a:gd name="connsiteX1" fmla="*/ 7498 w 16930"/>
                <a:gd name="connsiteY1" fmla="*/ 0 h 16918"/>
                <a:gd name="connsiteX2" fmla="*/ 0 w 16930"/>
                <a:gd name="connsiteY2" fmla="*/ 9862 h 16918"/>
                <a:gd name="connsiteX3" fmla="*/ 9862 w 16930"/>
                <a:gd name="connsiteY3" fmla="*/ 16918 h 16918"/>
                <a:gd name="connsiteX4" fmla="*/ 16930 w 16930"/>
                <a:gd name="connsiteY4" fmla="*/ 7607 h 16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930" h="16918">
                  <a:moveTo>
                    <a:pt x="16930" y="7607"/>
                  </a:moveTo>
                  <a:lnTo>
                    <a:pt x="7498" y="0"/>
                  </a:lnTo>
                  <a:cubicBezTo>
                    <a:pt x="4904" y="3233"/>
                    <a:pt x="2405" y="6521"/>
                    <a:pt x="0" y="9862"/>
                  </a:cubicBezTo>
                  <a:lnTo>
                    <a:pt x="9862" y="16918"/>
                  </a:lnTo>
                  <a:cubicBezTo>
                    <a:pt x="12129" y="13742"/>
                    <a:pt x="14486" y="10638"/>
                    <a:pt x="16930" y="7607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" name="Freihandform: Form 166">
              <a:extLst>
                <a:ext uri="{FF2B5EF4-FFF2-40B4-BE49-F238E27FC236}">
                  <a16:creationId xmlns:a16="http://schemas.microsoft.com/office/drawing/2014/main" id="{70C254A1-72D0-4B80-A387-14CB301A3E22}"/>
                </a:ext>
              </a:extLst>
            </p:cNvPr>
            <p:cNvSpPr/>
            <p:nvPr/>
          </p:nvSpPr>
          <p:spPr>
            <a:xfrm>
              <a:off x="5834664" y="3331474"/>
              <a:ext cx="15578" cy="15536"/>
            </a:xfrm>
            <a:custGeom>
              <a:avLst/>
              <a:gdLst>
                <a:gd name="connsiteX0" fmla="*/ 15579 w 15578"/>
                <a:gd name="connsiteY0" fmla="*/ 4571 h 15536"/>
                <a:gd name="connsiteX1" fmla="*/ 4340 w 15578"/>
                <a:gd name="connsiteY1" fmla="*/ 0 h 15536"/>
                <a:gd name="connsiteX2" fmla="*/ 0 w 15578"/>
                <a:gd name="connsiteY2" fmla="*/ 11614 h 15536"/>
                <a:gd name="connsiteX3" fmla="*/ 11475 w 15578"/>
                <a:gd name="connsiteY3" fmla="*/ 15536 h 15536"/>
                <a:gd name="connsiteX4" fmla="*/ 15579 w 15578"/>
                <a:gd name="connsiteY4" fmla="*/ 4571 h 15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78" h="15536">
                  <a:moveTo>
                    <a:pt x="15579" y="4571"/>
                  </a:moveTo>
                  <a:lnTo>
                    <a:pt x="4340" y="0"/>
                  </a:lnTo>
                  <a:cubicBezTo>
                    <a:pt x="2788" y="3819"/>
                    <a:pt x="1341" y="7690"/>
                    <a:pt x="0" y="11614"/>
                  </a:cubicBezTo>
                  <a:lnTo>
                    <a:pt x="11475" y="15536"/>
                  </a:lnTo>
                  <a:cubicBezTo>
                    <a:pt x="12740" y="11826"/>
                    <a:pt x="14107" y="8171"/>
                    <a:pt x="15579" y="4571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" name="Freihandform: Form 167">
              <a:extLst>
                <a:ext uri="{FF2B5EF4-FFF2-40B4-BE49-F238E27FC236}">
                  <a16:creationId xmlns:a16="http://schemas.microsoft.com/office/drawing/2014/main" id="{515A236C-78F4-4C6B-A624-853B78611CCE}"/>
                </a:ext>
              </a:extLst>
            </p:cNvPr>
            <p:cNvSpPr/>
            <p:nvPr/>
          </p:nvSpPr>
          <p:spPr>
            <a:xfrm>
              <a:off x="5826881" y="3360940"/>
              <a:ext cx="14354" cy="14311"/>
            </a:xfrm>
            <a:custGeom>
              <a:avLst/>
              <a:gdLst>
                <a:gd name="connsiteX0" fmla="*/ 14354 w 14354"/>
                <a:gd name="connsiteY0" fmla="*/ 2879 h 14311"/>
                <a:gd name="connsiteX1" fmla="*/ 2588 w 14354"/>
                <a:gd name="connsiteY1" fmla="*/ 0 h 14311"/>
                <a:gd name="connsiteX2" fmla="*/ 0 w 14354"/>
                <a:gd name="connsiteY2" fmla="*/ 12123 h 14311"/>
                <a:gd name="connsiteX3" fmla="*/ 11923 w 14354"/>
                <a:gd name="connsiteY3" fmla="*/ 14312 h 14311"/>
                <a:gd name="connsiteX4" fmla="*/ 14354 w 14354"/>
                <a:gd name="connsiteY4" fmla="*/ 2879 h 14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354" h="14311">
                  <a:moveTo>
                    <a:pt x="14354" y="2879"/>
                  </a:moveTo>
                  <a:lnTo>
                    <a:pt x="2588" y="0"/>
                  </a:lnTo>
                  <a:cubicBezTo>
                    <a:pt x="1618" y="3995"/>
                    <a:pt x="770" y="8032"/>
                    <a:pt x="0" y="12123"/>
                  </a:cubicBezTo>
                  <a:lnTo>
                    <a:pt x="11923" y="14312"/>
                  </a:lnTo>
                  <a:cubicBezTo>
                    <a:pt x="12627" y="10461"/>
                    <a:pt x="13437" y="6650"/>
                    <a:pt x="14354" y="2879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9" name="Freihandform: Form 168">
              <a:extLst>
                <a:ext uri="{FF2B5EF4-FFF2-40B4-BE49-F238E27FC236}">
                  <a16:creationId xmlns:a16="http://schemas.microsoft.com/office/drawing/2014/main" id="{41965CE5-3CBD-452A-9D86-8E8211D825A9}"/>
                </a:ext>
              </a:extLst>
            </p:cNvPr>
            <p:cNvSpPr/>
            <p:nvPr/>
          </p:nvSpPr>
          <p:spPr>
            <a:xfrm>
              <a:off x="5823692" y="3421781"/>
              <a:ext cx="13044" cy="12959"/>
            </a:xfrm>
            <a:custGeom>
              <a:avLst/>
              <a:gdLst>
                <a:gd name="connsiteX0" fmla="*/ 0 w 13044"/>
                <a:gd name="connsiteY0" fmla="*/ 606 h 12959"/>
                <a:gd name="connsiteX1" fmla="*/ 994 w 13044"/>
                <a:gd name="connsiteY1" fmla="*/ 12960 h 12959"/>
                <a:gd name="connsiteX2" fmla="*/ 13045 w 13044"/>
                <a:gd name="connsiteY2" fmla="*/ 11632 h 12959"/>
                <a:gd name="connsiteX3" fmla="*/ 12111 w 13044"/>
                <a:gd name="connsiteY3" fmla="*/ 0 h 12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44" h="12959">
                  <a:moveTo>
                    <a:pt x="0" y="606"/>
                  </a:moveTo>
                  <a:cubicBezTo>
                    <a:pt x="206" y="4752"/>
                    <a:pt x="546" y="8874"/>
                    <a:pt x="994" y="12960"/>
                  </a:cubicBezTo>
                  <a:lnTo>
                    <a:pt x="13045" y="11632"/>
                  </a:lnTo>
                  <a:cubicBezTo>
                    <a:pt x="12620" y="7785"/>
                    <a:pt x="12309" y="3908"/>
                    <a:pt x="12111" y="0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" name="Freihandform: Form 169">
              <a:extLst>
                <a:ext uri="{FF2B5EF4-FFF2-40B4-BE49-F238E27FC236}">
                  <a16:creationId xmlns:a16="http://schemas.microsoft.com/office/drawing/2014/main" id="{512BD7E9-D1F2-4377-9554-3FC3CFD14DE0}"/>
                </a:ext>
              </a:extLst>
            </p:cNvPr>
            <p:cNvSpPr/>
            <p:nvPr/>
          </p:nvSpPr>
          <p:spPr>
            <a:xfrm>
              <a:off x="5823541" y="3391442"/>
              <a:ext cx="12868" cy="12778"/>
            </a:xfrm>
            <a:custGeom>
              <a:avLst/>
              <a:gdLst>
                <a:gd name="connsiteX0" fmla="*/ 12869 w 12868"/>
                <a:gd name="connsiteY0" fmla="*/ 1109 h 12778"/>
                <a:gd name="connsiteX1" fmla="*/ 788 w 12868"/>
                <a:gd name="connsiteY1" fmla="*/ 0 h 12778"/>
                <a:gd name="connsiteX2" fmla="*/ 0 w 12868"/>
                <a:gd name="connsiteY2" fmla="*/ 12354 h 12778"/>
                <a:gd name="connsiteX3" fmla="*/ 12123 w 12868"/>
                <a:gd name="connsiteY3" fmla="*/ 12778 h 12778"/>
                <a:gd name="connsiteX4" fmla="*/ 12869 w 12868"/>
                <a:gd name="connsiteY4" fmla="*/ 1109 h 12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68" h="12778">
                  <a:moveTo>
                    <a:pt x="12869" y="1109"/>
                  </a:moveTo>
                  <a:lnTo>
                    <a:pt x="788" y="0"/>
                  </a:lnTo>
                  <a:cubicBezTo>
                    <a:pt x="418" y="4086"/>
                    <a:pt x="145" y="8201"/>
                    <a:pt x="0" y="12354"/>
                  </a:cubicBezTo>
                  <a:lnTo>
                    <a:pt x="12123" y="12778"/>
                  </a:lnTo>
                  <a:cubicBezTo>
                    <a:pt x="12261" y="8879"/>
                    <a:pt x="12510" y="4989"/>
                    <a:pt x="12869" y="1109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" name="Freihandform: Form 170">
              <a:extLst>
                <a:ext uri="{FF2B5EF4-FFF2-40B4-BE49-F238E27FC236}">
                  <a16:creationId xmlns:a16="http://schemas.microsoft.com/office/drawing/2014/main" id="{D27D1BD0-DA45-420D-9506-48D9277B1F3D}"/>
                </a:ext>
              </a:extLst>
            </p:cNvPr>
            <p:cNvSpPr/>
            <p:nvPr/>
          </p:nvSpPr>
          <p:spPr>
            <a:xfrm>
              <a:off x="5931469" y="3220715"/>
              <a:ext cx="16287" cy="16324"/>
            </a:xfrm>
            <a:custGeom>
              <a:avLst/>
              <a:gdLst>
                <a:gd name="connsiteX0" fmla="*/ 16288 w 16287"/>
                <a:gd name="connsiteY0" fmla="*/ 10911 h 16324"/>
                <a:gd name="connsiteX1" fmla="*/ 10947 w 16287"/>
                <a:gd name="connsiteY1" fmla="*/ 0 h 16324"/>
                <a:gd name="connsiteX2" fmla="*/ 0 w 16287"/>
                <a:gd name="connsiteY2" fmla="*/ 5771 h 16324"/>
                <a:gd name="connsiteX3" fmla="*/ 5971 w 16287"/>
                <a:gd name="connsiteY3" fmla="*/ 16324 h 16324"/>
                <a:gd name="connsiteX4" fmla="*/ 16288 w 16287"/>
                <a:gd name="connsiteY4" fmla="*/ 10911 h 16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287" h="16324">
                  <a:moveTo>
                    <a:pt x="16288" y="10911"/>
                  </a:moveTo>
                  <a:lnTo>
                    <a:pt x="10947" y="0"/>
                  </a:lnTo>
                  <a:cubicBezTo>
                    <a:pt x="7238" y="1819"/>
                    <a:pt x="3589" y="3742"/>
                    <a:pt x="0" y="5771"/>
                  </a:cubicBezTo>
                  <a:lnTo>
                    <a:pt x="5971" y="16324"/>
                  </a:lnTo>
                  <a:cubicBezTo>
                    <a:pt x="9349" y="14433"/>
                    <a:pt x="12788" y="12628"/>
                    <a:pt x="16288" y="10911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" name="Freihandform: Form 171">
              <a:extLst>
                <a:ext uri="{FF2B5EF4-FFF2-40B4-BE49-F238E27FC236}">
                  <a16:creationId xmlns:a16="http://schemas.microsoft.com/office/drawing/2014/main" id="{81F88E34-0878-4683-A0FC-A4D821E2F33F}"/>
                </a:ext>
              </a:extLst>
            </p:cNvPr>
            <p:cNvSpPr/>
            <p:nvPr/>
          </p:nvSpPr>
          <p:spPr>
            <a:xfrm>
              <a:off x="6136609" y="3577743"/>
              <a:ext cx="16609" cy="16663"/>
            </a:xfrm>
            <a:custGeom>
              <a:avLst/>
              <a:gdLst>
                <a:gd name="connsiteX0" fmla="*/ 9887 w 16609"/>
                <a:gd name="connsiteY0" fmla="*/ 0 h 16663"/>
                <a:gd name="connsiteX1" fmla="*/ 0 w 16609"/>
                <a:gd name="connsiteY1" fmla="*/ 6201 h 16663"/>
                <a:gd name="connsiteX2" fmla="*/ 6122 w 16609"/>
                <a:gd name="connsiteY2" fmla="*/ 16664 h 16663"/>
                <a:gd name="connsiteX3" fmla="*/ 16609 w 16609"/>
                <a:gd name="connsiteY3" fmla="*/ 10081 h 16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609" h="16663">
                  <a:moveTo>
                    <a:pt x="9887" y="0"/>
                  </a:moveTo>
                  <a:cubicBezTo>
                    <a:pt x="6654" y="2166"/>
                    <a:pt x="3358" y="4233"/>
                    <a:pt x="0" y="6201"/>
                  </a:cubicBezTo>
                  <a:lnTo>
                    <a:pt x="6122" y="16664"/>
                  </a:lnTo>
                  <a:cubicBezTo>
                    <a:pt x="9691" y="14574"/>
                    <a:pt x="13186" y="12380"/>
                    <a:pt x="16609" y="10081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" name="Freihandform: Form 172">
              <a:extLst>
                <a:ext uri="{FF2B5EF4-FFF2-40B4-BE49-F238E27FC236}">
                  <a16:creationId xmlns:a16="http://schemas.microsoft.com/office/drawing/2014/main" id="{2D1006C3-6A84-4FA9-988D-397144AF6606}"/>
                </a:ext>
              </a:extLst>
            </p:cNvPr>
            <p:cNvSpPr/>
            <p:nvPr/>
          </p:nvSpPr>
          <p:spPr>
            <a:xfrm>
              <a:off x="6181975" y="3538717"/>
              <a:ext cx="17051" cy="17045"/>
            </a:xfrm>
            <a:custGeom>
              <a:avLst/>
              <a:gdLst>
                <a:gd name="connsiteX0" fmla="*/ 7723 w 17051"/>
                <a:gd name="connsiteY0" fmla="*/ 0 h 17045"/>
                <a:gd name="connsiteX1" fmla="*/ 0 w 17051"/>
                <a:gd name="connsiteY1" fmla="*/ 8789 h 17045"/>
                <a:gd name="connsiteX2" fmla="*/ 8880 w 17051"/>
                <a:gd name="connsiteY2" fmla="*/ 17045 h 17045"/>
                <a:gd name="connsiteX3" fmla="*/ 17052 w 17051"/>
                <a:gd name="connsiteY3" fmla="*/ 7741 h 17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051" h="17045">
                  <a:moveTo>
                    <a:pt x="7723" y="0"/>
                  </a:moveTo>
                  <a:cubicBezTo>
                    <a:pt x="5229" y="3007"/>
                    <a:pt x="2655" y="5936"/>
                    <a:pt x="0" y="8789"/>
                  </a:cubicBezTo>
                  <a:lnTo>
                    <a:pt x="8880" y="17045"/>
                  </a:lnTo>
                  <a:cubicBezTo>
                    <a:pt x="11709" y="14019"/>
                    <a:pt x="14433" y="10917"/>
                    <a:pt x="17052" y="7741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4" name="Freihandform: Form 173">
              <a:extLst>
                <a:ext uri="{FF2B5EF4-FFF2-40B4-BE49-F238E27FC236}">
                  <a16:creationId xmlns:a16="http://schemas.microsoft.com/office/drawing/2014/main" id="{CA53ECBC-1CEE-4F0E-AEF8-FAA88F373016}"/>
                </a:ext>
              </a:extLst>
            </p:cNvPr>
            <p:cNvSpPr/>
            <p:nvPr/>
          </p:nvSpPr>
          <p:spPr>
            <a:xfrm>
              <a:off x="6160632" y="3559800"/>
              <a:ext cx="16990" cy="17027"/>
            </a:xfrm>
            <a:custGeom>
              <a:avLst/>
              <a:gdLst>
                <a:gd name="connsiteX0" fmla="*/ 8899 w 16990"/>
                <a:gd name="connsiteY0" fmla="*/ 0 h 17027"/>
                <a:gd name="connsiteX1" fmla="*/ 0 w 16990"/>
                <a:gd name="connsiteY1" fmla="*/ 7577 h 17027"/>
                <a:gd name="connsiteX2" fmla="*/ 7571 w 16990"/>
                <a:gd name="connsiteY2" fmla="*/ 17027 h 17027"/>
                <a:gd name="connsiteX3" fmla="*/ 16991 w 16990"/>
                <a:gd name="connsiteY3" fmla="*/ 9002 h 17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990" h="17027">
                  <a:moveTo>
                    <a:pt x="8899" y="0"/>
                  </a:moveTo>
                  <a:cubicBezTo>
                    <a:pt x="6001" y="2611"/>
                    <a:pt x="3035" y="5136"/>
                    <a:pt x="0" y="7577"/>
                  </a:cubicBezTo>
                  <a:lnTo>
                    <a:pt x="7571" y="17027"/>
                  </a:lnTo>
                  <a:cubicBezTo>
                    <a:pt x="10804" y="14445"/>
                    <a:pt x="13944" y="11770"/>
                    <a:pt x="16991" y="9002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5" name="Freihandform: Form 174">
              <a:extLst>
                <a:ext uri="{FF2B5EF4-FFF2-40B4-BE49-F238E27FC236}">
                  <a16:creationId xmlns:a16="http://schemas.microsoft.com/office/drawing/2014/main" id="{E1A9EF06-D287-4B6B-8EAF-FBA1C4353E79}"/>
                </a:ext>
              </a:extLst>
            </p:cNvPr>
            <p:cNvSpPr/>
            <p:nvPr/>
          </p:nvSpPr>
          <p:spPr>
            <a:xfrm>
              <a:off x="6215066" y="3488933"/>
              <a:ext cx="16069" cy="16008"/>
            </a:xfrm>
            <a:custGeom>
              <a:avLst/>
              <a:gdLst>
                <a:gd name="connsiteX0" fmla="*/ 0 w 16069"/>
                <a:gd name="connsiteY0" fmla="*/ 10656 h 16008"/>
                <a:gd name="connsiteX1" fmla="*/ 10911 w 16069"/>
                <a:gd name="connsiteY1" fmla="*/ 16009 h 16008"/>
                <a:gd name="connsiteX2" fmla="*/ 16070 w 16069"/>
                <a:gd name="connsiteY2" fmla="*/ 4734 h 16008"/>
                <a:gd name="connsiteX3" fmla="*/ 4874 w 16069"/>
                <a:gd name="connsiteY3" fmla="*/ 0 h 16008"/>
                <a:gd name="connsiteX4" fmla="*/ 0 w 16069"/>
                <a:gd name="connsiteY4" fmla="*/ 10656 h 16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69" h="16008">
                  <a:moveTo>
                    <a:pt x="0" y="10656"/>
                  </a:moveTo>
                  <a:lnTo>
                    <a:pt x="10911" y="16009"/>
                  </a:lnTo>
                  <a:cubicBezTo>
                    <a:pt x="12730" y="12311"/>
                    <a:pt x="14449" y="8553"/>
                    <a:pt x="16070" y="4734"/>
                  </a:cubicBezTo>
                  <a:lnTo>
                    <a:pt x="4874" y="0"/>
                  </a:lnTo>
                  <a:cubicBezTo>
                    <a:pt x="3354" y="3609"/>
                    <a:pt x="1729" y="7161"/>
                    <a:pt x="0" y="10656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6" name="Freihandform: Form 175">
              <a:extLst>
                <a:ext uri="{FF2B5EF4-FFF2-40B4-BE49-F238E27FC236}">
                  <a16:creationId xmlns:a16="http://schemas.microsoft.com/office/drawing/2014/main" id="{A14D11BB-E451-462A-9B67-C19543942DF9}"/>
                </a:ext>
              </a:extLst>
            </p:cNvPr>
            <p:cNvSpPr/>
            <p:nvPr/>
          </p:nvSpPr>
          <p:spPr>
            <a:xfrm>
              <a:off x="6200269" y="3514937"/>
              <a:ext cx="16724" cy="16693"/>
            </a:xfrm>
            <a:custGeom>
              <a:avLst/>
              <a:gdLst>
                <a:gd name="connsiteX0" fmla="*/ 0 w 16724"/>
                <a:gd name="connsiteY0" fmla="*/ 9820 h 16693"/>
                <a:gd name="connsiteX1" fmla="*/ 9990 w 16724"/>
                <a:gd name="connsiteY1" fmla="*/ 16694 h 16693"/>
                <a:gd name="connsiteX2" fmla="*/ 16724 w 16724"/>
                <a:gd name="connsiteY2" fmla="*/ 6298 h 16693"/>
                <a:gd name="connsiteX3" fmla="*/ 6365 w 16724"/>
                <a:gd name="connsiteY3" fmla="*/ 0 h 16693"/>
                <a:gd name="connsiteX4" fmla="*/ 0 w 16724"/>
                <a:gd name="connsiteY4" fmla="*/ 9820 h 16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724" h="16693">
                  <a:moveTo>
                    <a:pt x="0" y="9820"/>
                  </a:moveTo>
                  <a:lnTo>
                    <a:pt x="9990" y="16694"/>
                  </a:lnTo>
                  <a:cubicBezTo>
                    <a:pt x="12337" y="13283"/>
                    <a:pt x="14583" y="9818"/>
                    <a:pt x="16724" y="6298"/>
                  </a:cubicBezTo>
                  <a:lnTo>
                    <a:pt x="6365" y="0"/>
                  </a:lnTo>
                  <a:cubicBezTo>
                    <a:pt x="4332" y="3342"/>
                    <a:pt x="2211" y="6615"/>
                    <a:pt x="0" y="9820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" name="Freihandform: Form 176">
              <a:extLst>
                <a:ext uri="{FF2B5EF4-FFF2-40B4-BE49-F238E27FC236}">
                  <a16:creationId xmlns:a16="http://schemas.microsoft.com/office/drawing/2014/main" id="{BDBB6C4F-7D1E-4F9C-AE4A-2EF5C412CC8F}"/>
                </a:ext>
              </a:extLst>
            </p:cNvPr>
            <p:cNvSpPr/>
            <p:nvPr/>
          </p:nvSpPr>
          <p:spPr>
            <a:xfrm>
              <a:off x="5959432" y="3209185"/>
              <a:ext cx="15378" cy="15433"/>
            </a:xfrm>
            <a:custGeom>
              <a:avLst/>
              <a:gdLst>
                <a:gd name="connsiteX0" fmla="*/ 15379 w 15378"/>
                <a:gd name="connsiteY0" fmla="*/ 11554 h 15433"/>
                <a:gd name="connsiteX1" fmla="*/ 11681 w 15378"/>
                <a:gd name="connsiteY1" fmla="*/ 0 h 15433"/>
                <a:gd name="connsiteX2" fmla="*/ 0 w 15378"/>
                <a:gd name="connsiteY2" fmla="*/ 4122 h 15433"/>
                <a:gd name="connsiteX3" fmla="*/ 4358 w 15378"/>
                <a:gd name="connsiteY3" fmla="*/ 15433 h 15433"/>
                <a:gd name="connsiteX4" fmla="*/ 15379 w 15378"/>
                <a:gd name="connsiteY4" fmla="*/ 11554 h 15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378" h="15433">
                  <a:moveTo>
                    <a:pt x="15379" y="11554"/>
                  </a:moveTo>
                  <a:lnTo>
                    <a:pt x="11681" y="0"/>
                  </a:lnTo>
                  <a:cubicBezTo>
                    <a:pt x="7741" y="1261"/>
                    <a:pt x="3847" y="2635"/>
                    <a:pt x="0" y="4122"/>
                  </a:cubicBezTo>
                  <a:lnTo>
                    <a:pt x="4358" y="15433"/>
                  </a:lnTo>
                  <a:cubicBezTo>
                    <a:pt x="7991" y="14035"/>
                    <a:pt x="11665" y="12742"/>
                    <a:pt x="15379" y="11554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" name="Freihandform: Form 177">
              <a:extLst>
                <a:ext uri="{FF2B5EF4-FFF2-40B4-BE49-F238E27FC236}">
                  <a16:creationId xmlns:a16="http://schemas.microsoft.com/office/drawing/2014/main" id="{8309B23B-6256-4206-8A2A-2CD0E4958187}"/>
                </a:ext>
              </a:extLst>
            </p:cNvPr>
            <p:cNvSpPr/>
            <p:nvPr/>
          </p:nvSpPr>
          <p:spPr>
            <a:xfrm>
              <a:off x="6232887" y="3432595"/>
              <a:ext cx="13626" cy="13560"/>
            </a:xfrm>
            <a:custGeom>
              <a:avLst/>
              <a:gdLst>
                <a:gd name="connsiteX0" fmla="*/ 13627 w 13626"/>
                <a:gd name="connsiteY0" fmla="*/ 1279 h 13560"/>
                <a:gd name="connsiteX1" fmla="*/ 1570 w 13626"/>
                <a:gd name="connsiteY1" fmla="*/ 0 h 13560"/>
                <a:gd name="connsiteX2" fmla="*/ 0 w 13626"/>
                <a:gd name="connsiteY2" fmla="*/ 11566 h 13560"/>
                <a:gd name="connsiteX3" fmla="*/ 11954 w 13626"/>
                <a:gd name="connsiteY3" fmla="*/ 13560 h 13560"/>
                <a:gd name="connsiteX4" fmla="*/ 13627 w 13626"/>
                <a:gd name="connsiteY4" fmla="*/ 1279 h 13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26" h="13560">
                  <a:moveTo>
                    <a:pt x="13627" y="1279"/>
                  </a:moveTo>
                  <a:lnTo>
                    <a:pt x="1570" y="0"/>
                  </a:lnTo>
                  <a:cubicBezTo>
                    <a:pt x="1166" y="3887"/>
                    <a:pt x="643" y="7743"/>
                    <a:pt x="0" y="11566"/>
                  </a:cubicBezTo>
                  <a:lnTo>
                    <a:pt x="11954" y="13560"/>
                  </a:lnTo>
                  <a:cubicBezTo>
                    <a:pt x="12665" y="9503"/>
                    <a:pt x="13222" y="5409"/>
                    <a:pt x="13627" y="1279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" name="Freihandform: Form 178">
              <a:extLst>
                <a:ext uri="{FF2B5EF4-FFF2-40B4-BE49-F238E27FC236}">
                  <a16:creationId xmlns:a16="http://schemas.microsoft.com/office/drawing/2014/main" id="{7D5237C5-AE5F-49FB-A506-CB6061D57992}"/>
                </a:ext>
              </a:extLst>
            </p:cNvPr>
            <p:cNvSpPr/>
            <p:nvPr/>
          </p:nvSpPr>
          <p:spPr>
            <a:xfrm>
              <a:off x="6226038" y="3461304"/>
              <a:ext cx="14966" cy="14929"/>
            </a:xfrm>
            <a:custGeom>
              <a:avLst/>
              <a:gdLst>
                <a:gd name="connsiteX0" fmla="*/ 0 w 14966"/>
                <a:gd name="connsiteY0" fmla="*/ 11220 h 14929"/>
                <a:gd name="connsiteX1" fmla="*/ 11517 w 14966"/>
                <a:gd name="connsiteY1" fmla="*/ 14930 h 14929"/>
                <a:gd name="connsiteX2" fmla="*/ 14966 w 14966"/>
                <a:gd name="connsiteY2" fmla="*/ 3031 h 14929"/>
                <a:gd name="connsiteX3" fmla="*/ 3231 w 14966"/>
                <a:gd name="connsiteY3" fmla="*/ 0 h 14929"/>
                <a:gd name="connsiteX4" fmla="*/ 0 w 14966"/>
                <a:gd name="connsiteY4" fmla="*/ 11220 h 14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66" h="14929">
                  <a:moveTo>
                    <a:pt x="0" y="11220"/>
                  </a:moveTo>
                  <a:lnTo>
                    <a:pt x="11517" y="14930"/>
                  </a:lnTo>
                  <a:cubicBezTo>
                    <a:pt x="12778" y="11006"/>
                    <a:pt x="13928" y="7039"/>
                    <a:pt x="14966" y="3031"/>
                  </a:cubicBezTo>
                  <a:lnTo>
                    <a:pt x="3231" y="0"/>
                  </a:lnTo>
                  <a:cubicBezTo>
                    <a:pt x="2273" y="3783"/>
                    <a:pt x="1196" y="7523"/>
                    <a:pt x="0" y="11220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" name="Freihandform: Form 179">
              <a:extLst>
                <a:ext uri="{FF2B5EF4-FFF2-40B4-BE49-F238E27FC236}">
                  <a16:creationId xmlns:a16="http://schemas.microsoft.com/office/drawing/2014/main" id="{0839E197-6536-48D7-925A-E71268FA5D61}"/>
                </a:ext>
              </a:extLst>
            </p:cNvPr>
            <p:cNvSpPr/>
            <p:nvPr/>
          </p:nvSpPr>
          <p:spPr>
            <a:xfrm>
              <a:off x="6110447" y="3592145"/>
              <a:ext cx="15881" cy="15936"/>
            </a:xfrm>
            <a:custGeom>
              <a:avLst/>
              <a:gdLst>
                <a:gd name="connsiteX0" fmla="*/ 10669 w 15881"/>
                <a:gd name="connsiteY0" fmla="*/ 0 h 15936"/>
                <a:gd name="connsiteX1" fmla="*/ 0 w 15881"/>
                <a:gd name="connsiteY1" fmla="*/ 4698 h 15936"/>
                <a:gd name="connsiteX2" fmla="*/ 4552 w 15881"/>
                <a:gd name="connsiteY2" fmla="*/ 15936 h 15936"/>
                <a:gd name="connsiteX3" fmla="*/ 15882 w 15881"/>
                <a:gd name="connsiteY3" fmla="*/ 10953 h 15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881" h="15936">
                  <a:moveTo>
                    <a:pt x="10669" y="0"/>
                  </a:moveTo>
                  <a:cubicBezTo>
                    <a:pt x="7165" y="1669"/>
                    <a:pt x="3609" y="3235"/>
                    <a:pt x="0" y="4698"/>
                  </a:cubicBezTo>
                  <a:lnTo>
                    <a:pt x="4552" y="15936"/>
                  </a:lnTo>
                  <a:cubicBezTo>
                    <a:pt x="8383" y="14377"/>
                    <a:pt x="12160" y="12716"/>
                    <a:pt x="15882" y="10953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" name="Freihandform: Form 180">
              <a:extLst>
                <a:ext uri="{FF2B5EF4-FFF2-40B4-BE49-F238E27FC236}">
                  <a16:creationId xmlns:a16="http://schemas.microsoft.com/office/drawing/2014/main" id="{5CBB5A6D-97EE-497C-BABF-943F8DDF3052}"/>
                </a:ext>
              </a:extLst>
            </p:cNvPr>
            <p:cNvSpPr/>
            <p:nvPr/>
          </p:nvSpPr>
          <p:spPr>
            <a:xfrm>
              <a:off x="5962718" y="3599231"/>
              <a:ext cx="15269" cy="15311"/>
            </a:xfrm>
            <a:custGeom>
              <a:avLst/>
              <a:gdLst>
                <a:gd name="connsiteX0" fmla="*/ 0 w 15269"/>
                <a:gd name="connsiteY0" fmla="*/ 11384 h 15311"/>
                <a:gd name="connsiteX1" fmla="*/ 11778 w 15269"/>
                <a:gd name="connsiteY1" fmla="*/ 15312 h 15311"/>
                <a:gd name="connsiteX2" fmla="*/ 15269 w 15269"/>
                <a:gd name="connsiteY2" fmla="*/ 3704 h 15311"/>
                <a:gd name="connsiteX3" fmla="*/ 4170 w 15269"/>
                <a:gd name="connsiteY3" fmla="*/ 0 h 15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69" h="15311">
                  <a:moveTo>
                    <a:pt x="0" y="11384"/>
                  </a:moveTo>
                  <a:cubicBezTo>
                    <a:pt x="3875" y="12802"/>
                    <a:pt x="7801" y="14112"/>
                    <a:pt x="11778" y="15312"/>
                  </a:cubicBezTo>
                  <a:lnTo>
                    <a:pt x="15269" y="3704"/>
                  </a:lnTo>
                  <a:cubicBezTo>
                    <a:pt x="11531" y="2576"/>
                    <a:pt x="7832" y="1341"/>
                    <a:pt x="4170" y="0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2" name="Freihandform: Form 181">
              <a:extLst>
                <a:ext uri="{FF2B5EF4-FFF2-40B4-BE49-F238E27FC236}">
                  <a16:creationId xmlns:a16="http://schemas.microsoft.com/office/drawing/2014/main" id="{D191355E-0DF6-4A79-975C-701309F92A76}"/>
                </a:ext>
              </a:extLst>
            </p:cNvPr>
            <p:cNvSpPr/>
            <p:nvPr/>
          </p:nvSpPr>
          <p:spPr>
            <a:xfrm>
              <a:off x="5992529" y="3607239"/>
              <a:ext cx="13954" cy="14020"/>
            </a:xfrm>
            <a:custGeom>
              <a:avLst/>
              <a:gdLst>
                <a:gd name="connsiteX0" fmla="*/ 0 w 13954"/>
                <a:gd name="connsiteY0" fmla="*/ 11869 h 14020"/>
                <a:gd name="connsiteX1" fmla="*/ 12202 w 13954"/>
                <a:gd name="connsiteY1" fmla="*/ 14021 h 14020"/>
                <a:gd name="connsiteX2" fmla="*/ 13954 w 13954"/>
                <a:gd name="connsiteY2" fmla="*/ 2031 h 14020"/>
                <a:gd name="connsiteX3" fmla="*/ 2437 w 13954"/>
                <a:gd name="connsiteY3" fmla="*/ 0 h 14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954" h="14020">
                  <a:moveTo>
                    <a:pt x="0" y="11869"/>
                  </a:moveTo>
                  <a:cubicBezTo>
                    <a:pt x="4017" y="12705"/>
                    <a:pt x="8084" y="13422"/>
                    <a:pt x="12202" y="14021"/>
                  </a:cubicBezTo>
                  <a:lnTo>
                    <a:pt x="13954" y="2031"/>
                  </a:lnTo>
                  <a:cubicBezTo>
                    <a:pt x="10087" y="1461"/>
                    <a:pt x="6248" y="784"/>
                    <a:pt x="2437" y="0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" name="Freihandform: Form 182">
              <a:extLst>
                <a:ext uri="{FF2B5EF4-FFF2-40B4-BE49-F238E27FC236}">
                  <a16:creationId xmlns:a16="http://schemas.microsoft.com/office/drawing/2014/main" id="{A5A238AB-1D3D-4875-BBF0-702763A1AABB}"/>
                </a:ext>
              </a:extLst>
            </p:cNvPr>
            <p:cNvSpPr/>
            <p:nvPr/>
          </p:nvSpPr>
          <p:spPr>
            <a:xfrm>
              <a:off x="5989056" y="3201960"/>
              <a:ext cx="14117" cy="14190"/>
            </a:xfrm>
            <a:custGeom>
              <a:avLst/>
              <a:gdLst>
                <a:gd name="connsiteX0" fmla="*/ 14118 w 14117"/>
                <a:gd name="connsiteY0" fmla="*/ 11966 h 14190"/>
                <a:gd name="connsiteX1" fmla="*/ 12166 w 14117"/>
                <a:gd name="connsiteY1" fmla="*/ 0 h 14190"/>
                <a:gd name="connsiteX2" fmla="*/ 0 w 14117"/>
                <a:gd name="connsiteY2" fmla="*/ 2364 h 14190"/>
                <a:gd name="connsiteX3" fmla="*/ 2667 w 14117"/>
                <a:gd name="connsiteY3" fmla="*/ 14190 h 14190"/>
                <a:gd name="connsiteX4" fmla="*/ 14118 w 14117"/>
                <a:gd name="connsiteY4" fmla="*/ 11966 h 14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117" h="14190">
                  <a:moveTo>
                    <a:pt x="14118" y="11966"/>
                  </a:moveTo>
                  <a:lnTo>
                    <a:pt x="12166" y="0"/>
                  </a:lnTo>
                  <a:cubicBezTo>
                    <a:pt x="8068" y="675"/>
                    <a:pt x="4013" y="1463"/>
                    <a:pt x="0" y="2364"/>
                  </a:cubicBezTo>
                  <a:lnTo>
                    <a:pt x="2667" y="14190"/>
                  </a:lnTo>
                  <a:cubicBezTo>
                    <a:pt x="6438" y="13342"/>
                    <a:pt x="10255" y="12600"/>
                    <a:pt x="14118" y="11966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" name="Freihandform: Form 183">
              <a:extLst>
                <a:ext uri="{FF2B5EF4-FFF2-40B4-BE49-F238E27FC236}">
                  <a16:creationId xmlns:a16="http://schemas.microsoft.com/office/drawing/2014/main" id="{D616579B-FDFE-4B8C-BC37-D813CFAECC77}"/>
                </a:ext>
              </a:extLst>
            </p:cNvPr>
            <p:cNvSpPr/>
            <p:nvPr/>
          </p:nvSpPr>
          <p:spPr>
            <a:xfrm>
              <a:off x="6082672" y="3602693"/>
              <a:ext cx="14814" cy="14869"/>
            </a:xfrm>
            <a:custGeom>
              <a:avLst/>
              <a:gdLst>
                <a:gd name="connsiteX0" fmla="*/ 11275 w 14814"/>
                <a:gd name="connsiteY0" fmla="*/ 0 h 14869"/>
                <a:gd name="connsiteX1" fmla="*/ 0 w 14814"/>
                <a:gd name="connsiteY1" fmla="*/ 3085 h 14869"/>
                <a:gd name="connsiteX2" fmla="*/ 2867 w 14814"/>
                <a:gd name="connsiteY2" fmla="*/ 14869 h 14869"/>
                <a:gd name="connsiteX3" fmla="*/ 14815 w 14814"/>
                <a:gd name="connsiteY3" fmla="*/ 11596 h 14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814" h="14869">
                  <a:moveTo>
                    <a:pt x="11275" y="0"/>
                  </a:moveTo>
                  <a:cubicBezTo>
                    <a:pt x="7565" y="1135"/>
                    <a:pt x="3807" y="2164"/>
                    <a:pt x="0" y="3085"/>
                  </a:cubicBezTo>
                  <a:lnTo>
                    <a:pt x="2867" y="14869"/>
                  </a:lnTo>
                  <a:cubicBezTo>
                    <a:pt x="6909" y="13887"/>
                    <a:pt x="10891" y="12796"/>
                    <a:pt x="14815" y="11596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" name="Freihandform: Form 184">
              <a:extLst>
                <a:ext uri="{FF2B5EF4-FFF2-40B4-BE49-F238E27FC236}">
                  <a16:creationId xmlns:a16="http://schemas.microsoft.com/office/drawing/2014/main" id="{A5B79B42-9859-4D0C-BCA2-792DD527B7FC}"/>
                </a:ext>
              </a:extLst>
            </p:cNvPr>
            <p:cNvSpPr/>
            <p:nvPr/>
          </p:nvSpPr>
          <p:spPr>
            <a:xfrm>
              <a:off x="6053904" y="3609148"/>
              <a:ext cx="13396" cy="13469"/>
            </a:xfrm>
            <a:custGeom>
              <a:avLst/>
              <a:gdLst>
                <a:gd name="connsiteX0" fmla="*/ 11590 w 13396"/>
                <a:gd name="connsiteY0" fmla="*/ 0 h 13469"/>
                <a:gd name="connsiteX1" fmla="*/ 0 w 13396"/>
                <a:gd name="connsiteY1" fmla="*/ 1400 h 13469"/>
                <a:gd name="connsiteX2" fmla="*/ 1103 w 13396"/>
                <a:gd name="connsiteY2" fmla="*/ 13469 h 13469"/>
                <a:gd name="connsiteX3" fmla="*/ 13396 w 13396"/>
                <a:gd name="connsiteY3" fmla="*/ 11984 h 13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396" h="13469">
                  <a:moveTo>
                    <a:pt x="11590" y="0"/>
                  </a:moveTo>
                  <a:cubicBezTo>
                    <a:pt x="7759" y="574"/>
                    <a:pt x="3896" y="1041"/>
                    <a:pt x="0" y="1400"/>
                  </a:cubicBezTo>
                  <a:lnTo>
                    <a:pt x="1103" y="13469"/>
                  </a:lnTo>
                  <a:cubicBezTo>
                    <a:pt x="5229" y="13093"/>
                    <a:pt x="9327" y="12598"/>
                    <a:pt x="13396" y="11984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" name="Freihandform: Form 185">
              <a:extLst>
                <a:ext uri="{FF2B5EF4-FFF2-40B4-BE49-F238E27FC236}">
                  <a16:creationId xmlns:a16="http://schemas.microsoft.com/office/drawing/2014/main" id="{F7AE31D6-A507-4B7E-8299-8A4D79B50F6B}"/>
                </a:ext>
              </a:extLst>
            </p:cNvPr>
            <p:cNvSpPr/>
            <p:nvPr/>
          </p:nvSpPr>
          <p:spPr>
            <a:xfrm>
              <a:off x="6023195" y="3611040"/>
              <a:ext cx="13232" cy="12462"/>
            </a:xfrm>
            <a:custGeom>
              <a:avLst/>
              <a:gdLst>
                <a:gd name="connsiteX0" fmla="*/ 13233 w 13232"/>
                <a:gd name="connsiteY0" fmla="*/ 12463 h 12462"/>
                <a:gd name="connsiteX1" fmla="*/ 13233 w 13232"/>
                <a:gd name="connsiteY1" fmla="*/ 339 h 12462"/>
                <a:gd name="connsiteX2" fmla="*/ 12372 w 13232"/>
                <a:gd name="connsiteY2" fmla="*/ 339 h 12462"/>
                <a:gd name="connsiteX3" fmla="*/ 697 w 13232"/>
                <a:gd name="connsiteY3" fmla="*/ 0 h 12462"/>
                <a:gd name="connsiteX4" fmla="*/ 0 w 13232"/>
                <a:gd name="connsiteY4" fmla="*/ 12123 h 12462"/>
                <a:gd name="connsiteX5" fmla="*/ 12372 w 13232"/>
                <a:gd name="connsiteY5" fmla="*/ 12463 h 12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232" h="12462">
                  <a:moveTo>
                    <a:pt x="13233" y="12463"/>
                  </a:moveTo>
                  <a:lnTo>
                    <a:pt x="13233" y="339"/>
                  </a:lnTo>
                  <a:lnTo>
                    <a:pt x="12372" y="339"/>
                  </a:lnTo>
                  <a:cubicBezTo>
                    <a:pt x="8456" y="339"/>
                    <a:pt x="4564" y="226"/>
                    <a:pt x="697" y="0"/>
                  </a:cubicBezTo>
                  <a:lnTo>
                    <a:pt x="0" y="12123"/>
                  </a:lnTo>
                  <a:cubicBezTo>
                    <a:pt x="4093" y="12349"/>
                    <a:pt x="8218" y="12463"/>
                    <a:pt x="12372" y="12463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7" name="Freihandform: Form 186">
              <a:extLst>
                <a:ext uri="{FF2B5EF4-FFF2-40B4-BE49-F238E27FC236}">
                  <a16:creationId xmlns:a16="http://schemas.microsoft.com/office/drawing/2014/main" id="{4822A53B-4807-4FDE-9DA9-FEE420A163EE}"/>
                </a:ext>
              </a:extLst>
            </p:cNvPr>
            <p:cNvSpPr/>
            <p:nvPr/>
          </p:nvSpPr>
          <p:spPr>
            <a:xfrm>
              <a:off x="6029463" y="3180998"/>
              <a:ext cx="236448" cy="236278"/>
            </a:xfrm>
            <a:custGeom>
              <a:avLst/>
              <a:gdLst>
                <a:gd name="connsiteX0" fmla="*/ 6062 w 236448"/>
                <a:gd name="connsiteY0" fmla="*/ 0 h 236278"/>
                <a:gd name="connsiteX1" fmla="*/ 0 w 236448"/>
                <a:gd name="connsiteY1" fmla="*/ 6062 h 236278"/>
                <a:gd name="connsiteX2" fmla="*/ 0 w 236448"/>
                <a:gd name="connsiteY2" fmla="*/ 230217 h 236278"/>
                <a:gd name="connsiteX3" fmla="*/ 6062 w 236448"/>
                <a:gd name="connsiteY3" fmla="*/ 236279 h 236278"/>
                <a:gd name="connsiteX4" fmla="*/ 230387 w 236448"/>
                <a:gd name="connsiteY4" fmla="*/ 236279 h 236278"/>
                <a:gd name="connsiteX5" fmla="*/ 236449 w 236448"/>
                <a:gd name="connsiteY5" fmla="*/ 230217 h 236278"/>
                <a:gd name="connsiteX6" fmla="*/ 6062 w 236448"/>
                <a:gd name="connsiteY6" fmla="*/ 0 h 236278"/>
                <a:gd name="connsiteX7" fmla="*/ 12123 w 236448"/>
                <a:gd name="connsiteY7" fmla="*/ 224156 h 236278"/>
                <a:gd name="connsiteX8" fmla="*/ 12123 w 236448"/>
                <a:gd name="connsiteY8" fmla="*/ 12208 h 236278"/>
                <a:gd name="connsiteX9" fmla="*/ 224240 w 236448"/>
                <a:gd name="connsiteY9" fmla="*/ 224156 h 236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6448" h="236278">
                  <a:moveTo>
                    <a:pt x="6062" y="0"/>
                  </a:moveTo>
                  <a:cubicBezTo>
                    <a:pt x="2714" y="0"/>
                    <a:pt x="0" y="2714"/>
                    <a:pt x="0" y="6062"/>
                  </a:cubicBezTo>
                  <a:lnTo>
                    <a:pt x="0" y="230217"/>
                  </a:lnTo>
                  <a:cubicBezTo>
                    <a:pt x="0" y="233565"/>
                    <a:pt x="2714" y="236279"/>
                    <a:pt x="6062" y="236279"/>
                  </a:cubicBezTo>
                  <a:lnTo>
                    <a:pt x="230387" y="236279"/>
                  </a:lnTo>
                  <a:cubicBezTo>
                    <a:pt x="233735" y="236279"/>
                    <a:pt x="236449" y="233565"/>
                    <a:pt x="236449" y="230217"/>
                  </a:cubicBezTo>
                  <a:cubicBezTo>
                    <a:pt x="236258" y="103085"/>
                    <a:pt x="133194" y="97"/>
                    <a:pt x="6062" y="0"/>
                  </a:cubicBezTo>
                  <a:close/>
                  <a:moveTo>
                    <a:pt x="12123" y="224156"/>
                  </a:moveTo>
                  <a:lnTo>
                    <a:pt x="12123" y="12208"/>
                  </a:lnTo>
                  <a:cubicBezTo>
                    <a:pt x="127811" y="15511"/>
                    <a:pt x="220845" y="108470"/>
                    <a:pt x="224240" y="224156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88" name="Grafik 46" descr="Harvey Balls 50% Silhouette">
            <a:extLst>
              <a:ext uri="{FF2B5EF4-FFF2-40B4-BE49-F238E27FC236}">
                <a16:creationId xmlns:a16="http://schemas.microsoft.com/office/drawing/2014/main" id="{3A0C5B83-F89B-421F-98F4-9D7C265665FA}"/>
              </a:ext>
            </a:extLst>
          </p:cNvPr>
          <p:cNvGrpSpPr/>
          <p:nvPr/>
        </p:nvGrpSpPr>
        <p:grpSpPr>
          <a:xfrm>
            <a:off x="6732949" y="3180998"/>
            <a:ext cx="442340" cy="460689"/>
            <a:chOff x="6732949" y="3180998"/>
            <a:chExt cx="442340" cy="460689"/>
          </a:xfrm>
          <a:solidFill>
            <a:schemeClr val="tx1"/>
          </a:solidFill>
        </p:grpSpPr>
        <p:sp>
          <p:nvSpPr>
            <p:cNvPr id="189" name="Freihandform: Form 188">
              <a:extLst>
                <a:ext uri="{FF2B5EF4-FFF2-40B4-BE49-F238E27FC236}">
                  <a16:creationId xmlns:a16="http://schemas.microsoft.com/office/drawing/2014/main" id="{5F5E769C-3231-4262-BDF1-30DD6B230DE7}"/>
                </a:ext>
              </a:extLst>
            </p:cNvPr>
            <p:cNvSpPr/>
            <p:nvPr/>
          </p:nvSpPr>
          <p:spPr>
            <a:xfrm>
              <a:off x="6744606" y="3477228"/>
              <a:ext cx="15645" cy="15627"/>
            </a:xfrm>
            <a:custGeom>
              <a:avLst/>
              <a:gdLst>
                <a:gd name="connsiteX0" fmla="*/ 15645 w 15645"/>
                <a:gd name="connsiteY0" fmla="*/ 10953 h 15627"/>
                <a:gd name="connsiteX1" fmla="*/ 11451 w 15645"/>
                <a:gd name="connsiteY1" fmla="*/ 0 h 15627"/>
                <a:gd name="connsiteX2" fmla="*/ 0 w 15645"/>
                <a:gd name="connsiteY2" fmla="*/ 3989 h 15627"/>
                <a:gd name="connsiteX3" fmla="*/ 4461 w 15645"/>
                <a:gd name="connsiteY3" fmla="*/ 15627 h 15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645" h="15627">
                  <a:moveTo>
                    <a:pt x="15645" y="10953"/>
                  </a:moveTo>
                  <a:cubicBezTo>
                    <a:pt x="14142" y="7353"/>
                    <a:pt x="12744" y="3702"/>
                    <a:pt x="11451" y="0"/>
                  </a:cubicBezTo>
                  <a:lnTo>
                    <a:pt x="0" y="3989"/>
                  </a:lnTo>
                  <a:cubicBezTo>
                    <a:pt x="1378" y="7929"/>
                    <a:pt x="2865" y="11808"/>
                    <a:pt x="4461" y="15627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0" name="Freihandform: Form 189">
              <a:extLst>
                <a:ext uri="{FF2B5EF4-FFF2-40B4-BE49-F238E27FC236}">
                  <a16:creationId xmlns:a16="http://schemas.microsoft.com/office/drawing/2014/main" id="{C676ED97-183B-46C6-B23E-242807715DDF}"/>
                </a:ext>
              </a:extLst>
            </p:cNvPr>
            <p:cNvSpPr/>
            <p:nvPr/>
          </p:nvSpPr>
          <p:spPr>
            <a:xfrm>
              <a:off x="6757032" y="3504166"/>
              <a:ext cx="16506" cy="16463"/>
            </a:xfrm>
            <a:custGeom>
              <a:avLst/>
              <a:gdLst>
                <a:gd name="connsiteX0" fmla="*/ 16506 w 16506"/>
                <a:gd name="connsiteY0" fmla="*/ 10226 h 16463"/>
                <a:gd name="connsiteX1" fmla="*/ 10735 w 16506"/>
                <a:gd name="connsiteY1" fmla="*/ 0 h 16463"/>
                <a:gd name="connsiteX2" fmla="*/ 0 w 16506"/>
                <a:gd name="connsiteY2" fmla="*/ 5607 h 16463"/>
                <a:gd name="connsiteX3" fmla="*/ 6122 w 16506"/>
                <a:gd name="connsiteY3" fmla="*/ 16464 h 16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506" h="16463">
                  <a:moveTo>
                    <a:pt x="16506" y="10226"/>
                  </a:moveTo>
                  <a:cubicBezTo>
                    <a:pt x="14486" y="6876"/>
                    <a:pt x="12562" y="3467"/>
                    <a:pt x="10735" y="0"/>
                  </a:cubicBezTo>
                  <a:lnTo>
                    <a:pt x="0" y="5607"/>
                  </a:lnTo>
                  <a:cubicBezTo>
                    <a:pt x="1932" y="9293"/>
                    <a:pt x="3972" y="12911"/>
                    <a:pt x="6122" y="16464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1" name="Freihandform: Form 190">
              <a:extLst>
                <a:ext uri="{FF2B5EF4-FFF2-40B4-BE49-F238E27FC236}">
                  <a16:creationId xmlns:a16="http://schemas.microsoft.com/office/drawing/2014/main" id="{9D1E5C1C-8E92-41CC-9821-108549F4CD77}"/>
                </a:ext>
              </a:extLst>
            </p:cNvPr>
            <p:cNvSpPr/>
            <p:nvPr/>
          </p:nvSpPr>
          <p:spPr>
            <a:xfrm>
              <a:off x="6773508" y="3529055"/>
              <a:ext cx="16996" cy="17015"/>
            </a:xfrm>
            <a:custGeom>
              <a:avLst/>
              <a:gdLst>
                <a:gd name="connsiteX0" fmla="*/ 16997 w 16996"/>
                <a:gd name="connsiteY0" fmla="*/ 9287 h 17015"/>
                <a:gd name="connsiteX1" fmla="*/ 9790 w 16996"/>
                <a:gd name="connsiteY1" fmla="*/ 0 h 17015"/>
                <a:gd name="connsiteX2" fmla="*/ 0 w 16996"/>
                <a:gd name="connsiteY2" fmla="*/ 7159 h 17015"/>
                <a:gd name="connsiteX3" fmla="*/ 7644 w 16996"/>
                <a:gd name="connsiteY3" fmla="*/ 17015 h 1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996" h="17015">
                  <a:moveTo>
                    <a:pt x="16997" y="9287"/>
                  </a:moveTo>
                  <a:cubicBezTo>
                    <a:pt x="14507" y="6268"/>
                    <a:pt x="12105" y="3172"/>
                    <a:pt x="9790" y="0"/>
                  </a:cubicBezTo>
                  <a:lnTo>
                    <a:pt x="0" y="7159"/>
                  </a:lnTo>
                  <a:cubicBezTo>
                    <a:pt x="2457" y="10517"/>
                    <a:pt x="5005" y="13802"/>
                    <a:pt x="7644" y="17015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2" name="Freihandform: Form 191">
              <a:extLst>
                <a:ext uri="{FF2B5EF4-FFF2-40B4-BE49-F238E27FC236}">
                  <a16:creationId xmlns:a16="http://schemas.microsoft.com/office/drawing/2014/main" id="{6D28655D-468E-4DC7-964A-9E267BBC52DF}"/>
                </a:ext>
              </a:extLst>
            </p:cNvPr>
            <p:cNvSpPr/>
            <p:nvPr/>
          </p:nvSpPr>
          <p:spPr>
            <a:xfrm>
              <a:off x="6732949" y="3419678"/>
              <a:ext cx="12953" cy="12935"/>
            </a:xfrm>
            <a:custGeom>
              <a:avLst/>
              <a:gdLst>
                <a:gd name="connsiteX0" fmla="*/ 891 w 12953"/>
                <a:gd name="connsiteY0" fmla="*/ 12936 h 12935"/>
                <a:gd name="connsiteX1" fmla="*/ 12954 w 12953"/>
                <a:gd name="connsiteY1" fmla="*/ 11723 h 12935"/>
                <a:gd name="connsiteX2" fmla="*/ 12123 w 12953"/>
                <a:gd name="connsiteY2" fmla="*/ 0 h 12935"/>
                <a:gd name="connsiteX3" fmla="*/ 0 w 12953"/>
                <a:gd name="connsiteY3" fmla="*/ 497 h 12935"/>
                <a:gd name="connsiteX4" fmla="*/ 891 w 12953"/>
                <a:gd name="connsiteY4" fmla="*/ 12936 h 12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53" h="12935">
                  <a:moveTo>
                    <a:pt x="891" y="12936"/>
                  </a:moveTo>
                  <a:lnTo>
                    <a:pt x="12954" y="11723"/>
                  </a:lnTo>
                  <a:cubicBezTo>
                    <a:pt x="12550" y="7844"/>
                    <a:pt x="12273" y="3936"/>
                    <a:pt x="12123" y="0"/>
                  </a:cubicBezTo>
                  <a:lnTo>
                    <a:pt x="0" y="497"/>
                  </a:lnTo>
                  <a:cubicBezTo>
                    <a:pt x="188" y="4668"/>
                    <a:pt x="473" y="8820"/>
                    <a:pt x="891" y="12936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3" name="Freihandform: Form 192">
              <a:extLst>
                <a:ext uri="{FF2B5EF4-FFF2-40B4-BE49-F238E27FC236}">
                  <a16:creationId xmlns:a16="http://schemas.microsoft.com/office/drawing/2014/main" id="{D31FBFDC-0C8A-47A6-A04D-B2B2AA845EBF}"/>
                </a:ext>
              </a:extLst>
            </p:cNvPr>
            <p:cNvSpPr/>
            <p:nvPr/>
          </p:nvSpPr>
          <p:spPr>
            <a:xfrm>
              <a:off x="6736726" y="3358352"/>
              <a:ext cx="14499" cy="14499"/>
            </a:xfrm>
            <a:custGeom>
              <a:avLst/>
              <a:gdLst>
                <a:gd name="connsiteX0" fmla="*/ 11899 w 14499"/>
                <a:gd name="connsiteY0" fmla="*/ 14500 h 14499"/>
                <a:gd name="connsiteX1" fmla="*/ 14500 w 14499"/>
                <a:gd name="connsiteY1" fmla="*/ 3031 h 14499"/>
                <a:gd name="connsiteX2" fmla="*/ 2752 w 14499"/>
                <a:gd name="connsiteY2" fmla="*/ 0 h 14499"/>
                <a:gd name="connsiteX3" fmla="*/ 0 w 14499"/>
                <a:gd name="connsiteY3" fmla="*/ 12160 h 14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499" h="14499">
                  <a:moveTo>
                    <a:pt x="11899" y="14500"/>
                  </a:moveTo>
                  <a:cubicBezTo>
                    <a:pt x="12657" y="10638"/>
                    <a:pt x="13530" y="6807"/>
                    <a:pt x="14500" y="3031"/>
                  </a:cubicBezTo>
                  <a:lnTo>
                    <a:pt x="2752" y="0"/>
                  </a:lnTo>
                  <a:cubicBezTo>
                    <a:pt x="1729" y="4001"/>
                    <a:pt x="812" y="8054"/>
                    <a:pt x="0" y="12160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4" name="Freihandform: Form 193">
              <a:extLst>
                <a:ext uri="{FF2B5EF4-FFF2-40B4-BE49-F238E27FC236}">
                  <a16:creationId xmlns:a16="http://schemas.microsoft.com/office/drawing/2014/main" id="{ABC3FF0B-E0D6-48BE-9BC8-9C934A402F25}"/>
                </a:ext>
              </a:extLst>
            </p:cNvPr>
            <p:cNvSpPr/>
            <p:nvPr/>
          </p:nvSpPr>
          <p:spPr>
            <a:xfrm>
              <a:off x="6757548" y="3301099"/>
              <a:ext cx="16536" cy="16536"/>
            </a:xfrm>
            <a:custGeom>
              <a:avLst/>
              <a:gdLst>
                <a:gd name="connsiteX0" fmla="*/ 0 w 16536"/>
                <a:gd name="connsiteY0" fmla="*/ 10832 h 16536"/>
                <a:gd name="connsiteX1" fmla="*/ 10705 w 16536"/>
                <a:gd name="connsiteY1" fmla="*/ 16536 h 16536"/>
                <a:gd name="connsiteX2" fmla="*/ 16536 w 16536"/>
                <a:gd name="connsiteY2" fmla="*/ 6310 h 16536"/>
                <a:gd name="connsiteX3" fmla="*/ 6189 w 16536"/>
                <a:gd name="connsiteY3" fmla="*/ 0 h 16536"/>
                <a:gd name="connsiteX4" fmla="*/ 0 w 16536"/>
                <a:gd name="connsiteY4" fmla="*/ 10832 h 16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36" h="16536">
                  <a:moveTo>
                    <a:pt x="0" y="10832"/>
                  </a:moveTo>
                  <a:lnTo>
                    <a:pt x="10705" y="16536"/>
                  </a:lnTo>
                  <a:cubicBezTo>
                    <a:pt x="12548" y="13061"/>
                    <a:pt x="14492" y="9652"/>
                    <a:pt x="16536" y="6310"/>
                  </a:cubicBezTo>
                  <a:lnTo>
                    <a:pt x="6189" y="0"/>
                  </a:lnTo>
                  <a:cubicBezTo>
                    <a:pt x="4031" y="3536"/>
                    <a:pt x="1968" y="7147"/>
                    <a:pt x="0" y="10832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5" name="Freihandform: Form 194">
              <a:extLst>
                <a:ext uri="{FF2B5EF4-FFF2-40B4-BE49-F238E27FC236}">
                  <a16:creationId xmlns:a16="http://schemas.microsoft.com/office/drawing/2014/main" id="{7BA62802-996D-431C-8167-2DBE8FC9A263}"/>
                </a:ext>
              </a:extLst>
            </p:cNvPr>
            <p:cNvSpPr/>
            <p:nvPr/>
          </p:nvSpPr>
          <p:spPr>
            <a:xfrm>
              <a:off x="6733016" y="3389036"/>
              <a:ext cx="13002" cy="12996"/>
            </a:xfrm>
            <a:custGeom>
              <a:avLst/>
              <a:gdLst>
                <a:gd name="connsiteX0" fmla="*/ 12111 w 13002"/>
                <a:gd name="connsiteY0" fmla="*/ 12996 h 12996"/>
                <a:gd name="connsiteX1" fmla="*/ 13002 w 13002"/>
                <a:gd name="connsiteY1" fmla="*/ 1255 h 12996"/>
                <a:gd name="connsiteX2" fmla="*/ 934 w 13002"/>
                <a:gd name="connsiteY2" fmla="*/ 0 h 12996"/>
                <a:gd name="connsiteX3" fmla="*/ 0 w 13002"/>
                <a:gd name="connsiteY3" fmla="*/ 12426 h 12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02" h="12996">
                  <a:moveTo>
                    <a:pt x="12111" y="12996"/>
                  </a:moveTo>
                  <a:cubicBezTo>
                    <a:pt x="12293" y="9052"/>
                    <a:pt x="12590" y="5139"/>
                    <a:pt x="13002" y="1255"/>
                  </a:cubicBezTo>
                  <a:lnTo>
                    <a:pt x="934" y="0"/>
                  </a:lnTo>
                  <a:cubicBezTo>
                    <a:pt x="509" y="4104"/>
                    <a:pt x="194" y="8256"/>
                    <a:pt x="0" y="12426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6" name="Freihandform: Form 195">
              <a:extLst>
                <a:ext uri="{FF2B5EF4-FFF2-40B4-BE49-F238E27FC236}">
                  <a16:creationId xmlns:a16="http://schemas.microsoft.com/office/drawing/2014/main" id="{BBC68053-46B2-438C-963F-A5F039A223B7}"/>
                </a:ext>
              </a:extLst>
            </p:cNvPr>
            <p:cNvSpPr/>
            <p:nvPr/>
          </p:nvSpPr>
          <p:spPr>
            <a:xfrm>
              <a:off x="6744964" y="3328819"/>
              <a:ext cx="15699" cy="15705"/>
            </a:xfrm>
            <a:custGeom>
              <a:avLst/>
              <a:gdLst>
                <a:gd name="connsiteX0" fmla="*/ 0 w 15699"/>
                <a:gd name="connsiteY0" fmla="*/ 11645 h 15705"/>
                <a:gd name="connsiteX1" fmla="*/ 11426 w 15699"/>
                <a:gd name="connsiteY1" fmla="*/ 15706 h 15705"/>
                <a:gd name="connsiteX2" fmla="*/ 15700 w 15699"/>
                <a:gd name="connsiteY2" fmla="*/ 4722 h 15705"/>
                <a:gd name="connsiteX3" fmla="*/ 4534 w 15699"/>
                <a:gd name="connsiteY3" fmla="*/ 0 h 15705"/>
                <a:gd name="connsiteX4" fmla="*/ 0 w 15699"/>
                <a:gd name="connsiteY4" fmla="*/ 11645 h 15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699" h="15705">
                  <a:moveTo>
                    <a:pt x="0" y="11645"/>
                  </a:moveTo>
                  <a:lnTo>
                    <a:pt x="11426" y="15706"/>
                  </a:lnTo>
                  <a:cubicBezTo>
                    <a:pt x="12744" y="11992"/>
                    <a:pt x="14168" y="8331"/>
                    <a:pt x="15700" y="4722"/>
                  </a:cubicBezTo>
                  <a:lnTo>
                    <a:pt x="4534" y="0"/>
                  </a:lnTo>
                  <a:cubicBezTo>
                    <a:pt x="2910" y="3827"/>
                    <a:pt x="1398" y="7709"/>
                    <a:pt x="0" y="11645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7" name="Freihandform: Form 196">
              <a:extLst>
                <a:ext uri="{FF2B5EF4-FFF2-40B4-BE49-F238E27FC236}">
                  <a16:creationId xmlns:a16="http://schemas.microsoft.com/office/drawing/2014/main" id="{CF75438B-B5B7-43F7-BD49-A29D81BACCA5}"/>
                </a:ext>
              </a:extLst>
            </p:cNvPr>
            <p:cNvSpPr/>
            <p:nvPr/>
          </p:nvSpPr>
          <p:spPr>
            <a:xfrm>
              <a:off x="6774181" y="3275749"/>
              <a:ext cx="17027" cy="17015"/>
            </a:xfrm>
            <a:custGeom>
              <a:avLst/>
              <a:gdLst>
                <a:gd name="connsiteX0" fmla="*/ 7704 w 17027"/>
                <a:gd name="connsiteY0" fmla="*/ 0 h 17015"/>
                <a:gd name="connsiteX1" fmla="*/ 0 w 17027"/>
                <a:gd name="connsiteY1" fmla="*/ 9814 h 17015"/>
                <a:gd name="connsiteX2" fmla="*/ 9753 w 17027"/>
                <a:gd name="connsiteY2" fmla="*/ 17015 h 17015"/>
                <a:gd name="connsiteX3" fmla="*/ 17027 w 17027"/>
                <a:gd name="connsiteY3" fmla="*/ 7753 h 1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027" h="17015">
                  <a:moveTo>
                    <a:pt x="7704" y="0"/>
                  </a:moveTo>
                  <a:cubicBezTo>
                    <a:pt x="5042" y="3188"/>
                    <a:pt x="2473" y="6460"/>
                    <a:pt x="0" y="9814"/>
                  </a:cubicBezTo>
                  <a:lnTo>
                    <a:pt x="9753" y="17015"/>
                  </a:lnTo>
                  <a:cubicBezTo>
                    <a:pt x="12089" y="13851"/>
                    <a:pt x="14514" y="10764"/>
                    <a:pt x="17027" y="7753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8" name="Freihandform: Form 197">
              <a:extLst>
                <a:ext uri="{FF2B5EF4-FFF2-40B4-BE49-F238E27FC236}">
                  <a16:creationId xmlns:a16="http://schemas.microsoft.com/office/drawing/2014/main" id="{AEAC9FB2-5D1D-4C02-928C-A86C31706F41}"/>
                </a:ext>
              </a:extLst>
            </p:cNvPr>
            <p:cNvSpPr/>
            <p:nvPr/>
          </p:nvSpPr>
          <p:spPr>
            <a:xfrm>
              <a:off x="6736520" y="3448865"/>
              <a:ext cx="14451" cy="14445"/>
            </a:xfrm>
            <a:custGeom>
              <a:avLst/>
              <a:gdLst>
                <a:gd name="connsiteX0" fmla="*/ 2704 w 14451"/>
                <a:gd name="connsiteY0" fmla="*/ 14445 h 14445"/>
                <a:gd name="connsiteX1" fmla="*/ 14451 w 14451"/>
                <a:gd name="connsiteY1" fmla="*/ 11463 h 14445"/>
                <a:gd name="connsiteX2" fmla="*/ 11911 w 14451"/>
                <a:gd name="connsiteY2" fmla="*/ 0 h 14445"/>
                <a:gd name="connsiteX3" fmla="*/ 0 w 14451"/>
                <a:gd name="connsiteY3" fmla="*/ 2255 h 14445"/>
                <a:gd name="connsiteX4" fmla="*/ 2704 w 14451"/>
                <a:gd name="connsiteY4" fmla="*/ 14445 h 14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51" h="14445">
                  <a:moveTo>
                    <a:pt x="2704" y="14445"/>
                  </a:moveTo>
                  <a:lnTo>
                    <a:pt x="14451" y="11463"/>
                  </a:lnTo>
                  <a:cubicBezTo>
                    <a:pt x="13493" y="7686"/>
                    <a:pt x="12633" y="3861"/>
                    <a:pt x="11911" y="0"/>
                  </a:cubicBezTo>
                  <a:lnTo>
                    <a:pt x="0" y="2255"/>
                  </a:lnTo>
                  <a:cubicBezTo>
                    <a:pt x="780" y="6361"/>
                    <a:pt x="1681" y="10424"/>
                    <a:pt x="2704" y="14445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9" name="Freihandform: Form 198">
              <a:extLst>
                <a:ext uri="{FF2B5EF4-FFF2-40B4-BE49-F238E27FC236}">
                  <a16:creationId xmlns:a16="http://schemas.microsoft.com/office/drawing/2014/main" id="{DBBB29E6-BA31-4A7C-8D41-78B06B20A761}"/>
                </a:ext>
              </a:extLst>
            </p:cNvPr>
            <p:cNvSpPr/>
            <p:nvPr/>
          </p:nvSpPr>
          <p:spPr>
            <a:xfrm>
              <a:off x="6871598" y="3599062"/>
              <a:ext cx="15378" cy="15354"/>
            </a:xfrm>
            <a:custGeom>
              <a:avLst/>
              <a:gdLst>
                <a:gd name="connsiteX0" fmla="*/ 15379 w 15378"/>
                <a:gd name="connsiteY0" fmla="*/ 3752 h 15354"/>
                <a:gd name="connsiteX1" fmla="*/ 4207 w 15378"/>
                <a:gd name="connsiteY1" fmla="*/ 0 h 15354"/>
                <a:gd name="connsiteX2" fmla="*/ 0 w 15378"/>
                <a:gd name="connsiteY2" fmla="*/ 11378 h 15354"/>
                <a:gd name="connsiteX3" fmla="*/ 11845 w 15378"/>
                <a:gd name="connsiteY3" fmla="*/ 15354 h 15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378" h="15354">
                  <a:moveTo>
                    <a:pt x="15379" y="3752"/>
                  </a:moveTo>
                  <a:cubicBezTo>
                    <a:pt x="11604" y="2605"/>
                    <a:pt x="7880" y="1354"/>
                    <a:pt x="4207" y="0"/>
                  </a:cubicBezTo>
                  <a:lnTo>
                    <a:pt x="0" y="11378"/>
                  </a:lnTo>
                  <a:cubicBezTo>
                    <a:pt x="3899" y="12813"/>
                    <a:pt x="7848" y="14138"/>
                    <a:pt x="11845" y="15354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0" name="Freihandform: Form 199">
              <a:extLst>
                <a:ext uri="{FF2B5EF4-FFF2-40B4-BE49-F238E27FC236}">
                  <a16:creationId xmlns:a16="http://schemas.microsoft.com/office/drawing/2014/main" id="{4C07E9B2-A562-40F9-88B8-FB3792FBB9CA}"/>
                </a:ext>
              </a:extLst>
            </p:cNvPr>
            <p:cNvSpPr/>
            <p:nvPr/>
          </p:nvSpPr>
          <p:spPr>
            <a:xfrm>
              <a:off x="6844224" y="3219036"/>
              <a:ext cx="16257" cy="16269"/>
            </a:xfrm>
            <a:custGeom>
              <a:avLst/>
              <a:gdLst>
                <a:gd name="connsiteX0" fmla="*/ 11135 w 16257"/>
                <a:gd name="connsiteY0" fmla="*/ 0 h 16269"/>
                <a:gd name="connsiteX1" fmla="*/ 0 w 16257"/>
                <a:gd name="connsiteY1" fmla="*/ 5613 h 16269"/>
                <a:gd name="connsiteX2" fmla="*/ 5777 w 16257"/>
                <a:gd name="connsiteY2" fmla="*/ 16270 h 16269"/>
                <a:gd name="connsiteX3" fmla="*/ 16257 w 16257"/>
                <a:gd name="connsiteY3" fmla="*/ 10990 h 16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57" h="16269">
                  <a:moveTo>
                    <a:pt x="11135" y="0"/>
                  </a:moveTo>
                  <a:cubicBezTo>
                    <a:pt x="7361" y="1766"/>
                    <a:pt x="3649" y="3637"/>
                    <a:pt x="0" y="5613"/>
                  </a:cubicBezTo>
                  <a:lnTo>
                    <a:pt x="5777" y="16270"/>
                  </a:lnTo>
                  <a:cubicBezTo>
                    <a:pt x="9208" y="14410"/>
                    <a:pt x="12701" y="12651"/>
                    <a:pt x="16257" y="10990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1" name="Freihandform: Form 200">
              <a:extLst>
                <a:ext uri="{FF2B5EF4-FFF2-40B4-BE49-F238E27FC236}">
                  <a16:creationId xmlns:a16="http://schemas.microsoft.com/office/drawing/2014/main" id="{4DB57C8F-EB20-4ACC-BF86-DE1C54FB0E1C}"/>
                </a:ext>
              </a:extLst>
            </p:cNvPr>
            <p:cNvSpPr/>
            <p:nvPr/>
          </p:nvSpPr>
          <p:spPr>
            <a:xfrm>
              <a:off x="6872611" y="3207961"/>
              <a:ext cx="15311" cy="15311"/>
            </a:xfrm>
            <a:custGeom>
              <a:avLst/>
              <a:gdLst>
                <a:gd name="connsiteX0" fmla="*/ 11851 w 15311"/>
                <a:gd name="connsiteY0" fmla="*/ 0 h 15311"/>
                <a:gd name="connsiteX1" fmla="*/ 0 w 15311"/>
                <a:gd name="connsiteY1" fmla="*/ 3922 h 15311"/>
                <a:gd name="connsiteX2" fmla="*/ 4158 w 15311"/>
                <a:gd name="connsiteY2" fmla="*/ 15312 h 15311"/>
                <a:gd name="connsiteX3" fmla="*/ 15312 w 15311"/>
                <a:gd name="connsiteY3" fmla="*/ 11626 h 15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311" h="15311">
                  <a:moveTo>
                    <a:pt x="11851" y="0"/>
                  </a:moveTo>
                  <a:cubicBezTo>
                    <a:pt x="7850" y="1212"/>
                    <a:pt x="3899" y="2520"/>
                    <a:pt x="0" y="3922"/>
                  </a:cubicBezTo>
                  <a:lnTo>
                    <a:pt x="4158" y="15312"/>
                  </a:lnTo>
                  <a:cubicBezTo>
                    <a:pt x="7795" y="13972"/>
                    <a:pt x="11548" y="12748"/>
                    <a:pt x="15312" y="11626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2" name="Freihandform: Form 201">
              <a:extLst>
                <a:ext uri="{FF2B5EF4-FFF2-40B4-BE49-F238E27FC236}">
                  <a16:creationId xmlns:a16="http://schemas.microsoft.com/office/drawing/2014/main" id="{DF38D66E-B126-42DC-8FE7-EDA1634442A2}"/>
                </a:ext>
              </a:extLst>
            </p:cNvPr>
            <p:cNvSpPr/>
            <p:nvPr/>
          </p:nvSpPr>
          <p:spPr>
            <a:xfrm>
              <a:off x="6901598" y="3607184"/>
              <a:ext cx="14038" cy="14051"/>
            </a:xfrm>
            <a:custGeom>
              <a:avLst/>
              <a:gdLst>
                <a:gd name="connsiteX0" fmla="*/ 2461 w 14038"/>
                <a:gd name="connsiteY0" fmla="*/ 0 h 14051"/>
                <a:gd name="connsiteX1" fmla="*/ 0 w 14038"/>
                <a:gd name="connsiteY1" fmla="*/ 11875 h 14051"/>
                <a:gd name="connsiteX2" fmla="*/ 12275 w 14038"/>
                <a:gd name="connsiteY2" fmla="*/ 14051 h 14051"/>
                <a:gd name="connsiteX3" fmla="*/ 14039 w 14038"/>
                <a:gd name="connsiteY3" fmla="*/ 2055 h 14051"/>
                <a:gd name="connsiteX4" fmla="*/ 2461 w 14038"/>
                <a:gd name="connsiteY4" fmla="*/ 0 h 14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38" h="14051">
                  <a:moveTo>
                    <a:pt x="2461" y="0"/>
                  </a:moveTo>
                  <a:lnTo>
                    <a:pt x="0" y="11875"/>
                  </a:lnTo>
                  <a:cubicBezTo>
                    <a:pt x="4041" y="12711"/>
                    <a:pt x="8133" y="13437"/>
                    <a:pt x="12275" y="14051"/>
                  </a:cubicBezTo>
                  <a:lnTo>
                    <a:pt x="14039" y="2055"/>
                  </a:lnTo>
                  <a:cubicBezTo>
                    <a:pt x="10141" y="1485"/>
                    <a:pt x="6286" y="788"/>
                    <a:pt x="2461" y="0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3" name="Freihandform: Form 202">
              <a:extLst>
                <a:ext uri="{FF2B5EF4-FFF2-40B4-BE49-F238E27FC236}">
                  <a16:creationId xmlns:a16="http://schemas.microsoft.com/office/drawing/2014/main" id="{F4C9CA63-D078-4F46-9336-3BFF3769690C}"/>
                </a:ext>
              </a:extLst>
            </p:cNvPr>
            <p:cNvSpPr/>
            <p:nvPr/>
          </p:nvSpPr>
          <p:spPr>
            <a:xfrm>
              <a:off x="6902634" y="3201305"/>
              <a:ext cx="14020" cy="14002"/>
            </a:xfrm>
            <a:custGeom>
              <a:avLst/>
              <a:gdLst>
                <a:gd name="connsiteX0" fmla="*/ 12281 w 14020"/>
                <a:gd name="connsiteY0" fmla="*/ 0 h 14002"/>
                <a:gd name="connsiteX1" fmla="*/ 0 w 14020"/>
                <a:gd name="connsiteY1" fmla="*/ 2116 h 14002"/>
                <a:gd name="connsiteX2" fmla="*/ 2425 w 14020"/>
                <a:gd name="connsiteY2" fmla="*/ 14003 h 14002"/>
                <a:gd name="connsiteX3" fmla="*/ 14021 w 14020"/>
                <a:gd name="connsiteY3" fmla="*/ 12002 h 14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020" h="14002">
                  <a:moveTo>
                    <a:pt x="12281" y="0"/>
                  </a:moveTo>
                  <a:cubicBezTo>
                    <a:pt x="8147" y="590"/>
                    <a:pt x="4053" y="1295"/>
                    <a:pt x="0" y="2116"/>
                  </a:cubicBezTo>
                  <a:lnTo>
                    <a:pt x="2425" y="14003"/>
                  </a:lnTo>
                  <a:cubicBezTo>
                    <a:pt x="6256" y="13221"/>
                    <a:pt x="10129" y="12560"/>
                    <a:pt x="14021" y="12002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4" name="Freihandform: Form 203">
              <a:extLst>
                <a:ext uri="{FF2B5EF4-FFF2-40B4-BE49-F238E27FC236}">
                  <a16:creationId xmlns:a16="http://schemas.microsoft.com/office/drawing/2014/main" id="{E9FC9EFE-0A0A-4AAB-BEE0-563BE2F8D2D4}"/>
                </a:ext>
              </a:extLst>
            </p:cNvPr>
            <p:cNvSpPr/>
            <p:nvPr/>
          </p:nvSpPr>
          <p:spPr>
            <a:xfrm>
              <a:off x="6794482" y="3253321"/>
              <a:ext cx="17130" cy="17130"/>
            </a:xfrm>
            <a:custGeom>
              <a:avLst/>
              <a:gdLst>
                <a:gd name="connsiteX0" fmla="*/ 9032 w 17130"/>
                <a:gd name="connsiteY0" fmla="*/ 0 h 17130"/>
                <a:gd name="connsiteX1" fmla="*/ 0 w 17130"/>
                <a:gd name="connsiteY1" fmla="*/ 8583 h 17130"/>
                <a:gd name="connsiteX2" fmla="*/ 8595 w 17130"/>
                <a:gd name="connsiteY2" fmla="*/ 17130 h 17130"/>
                <a:gd name="connsiteX3" fmla="*/ 17130 w 17130"/>
                <a:gd name="connsiteY3" fmla="*/ 9020 h 17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30" h="17130">
                  <a:moveTo>
                    <a:pt x="9032" y="0"/>
                  </a:moveTo>
                  <a:cubicBezTo>
                    <a:pt x="5933" y="2776"/>
                    <a:pt x="2922" y="5637"/>
                    <a:pt x="0" y="8583"/>
                  </a:cubicBezTo>
                  <a:lnTo>
                    <a:pt x="8595" y="17130"/>
                  </a:lnTo>
                  <a:cubicBezTo>
                    <a:pt x="11368" y="14346"/>
                    <a:pt x="14213" y="11643"/>
                    <a:pt x="17130" y="9020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5" name="Freihandform: Form 204">
              <a:extLst>
                <a:ext uri="{FF2B5EF4-FFF2-40B4-BE49-F238E27FC236}">
                  <a16:creationId xmlns:a16="http://schemas.microsoft.com/office/drawing/2014/main" id="{FE4483A6-FA6C-4F23-9487-556DDEEC4D14}"/>
                </a:ext>
              </a:extLst>
            </p:cNvPr>
            <p:cNvSpPr/>
            <p:nvPr/>
          </p:nvSpPr>
          <p:spPr>
            <a:xfrm>
              <a:off x="6843230" y="3586872"/>
              <a:ext cx="16312" cy="16305"/>
            </a:xfrm>
            <a:custGeom>
              <a:avLst/>
              <a:gdLst>
                <a:gd name="connsiteX0" fmla="*/ 16312 w 16312"/>
                <a:gd name="connsiteY0" fmla="*/ 5346 h 16305"/>
                <a:gd name="connsiteX1" fmla="*/ 5837 w 16312"/>
                <a:gd name="connsiteY1" fmla="*/ 0 h 16305"/>
                <a:gd name="connsiteX2" fmla="*/ 0 w 16312"/>
                <a:gd name="connsiteY2" fmla="*/ 10620 h 16305"/>
                <a:gd name="connsiteX3" fmla="*/ 11129 w 16312"/>
                <a:gd name="connsiteY3" fmla="*/ 16306 h 16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312" h="16305">
                  <a:moveTo>
                    <a:pt x="16312" y="5346"/>
                  </a:moveTo>
                  <a:cubicBezTo>
                    <a:pt x="12760" y="3665"/>
                    <a:pt x="9268" y="1883"/>
                    <a:pt x="5837" y="0"/>
                  </a:cubicBezTo>
                  <a:lnTo>
                    <a:pt x="0" y="10620"/>
                  </a:lnTo>
                  <a:cubicBezTo>
                    <a:pt x="3637" y="12640"/>
                    <a:pt x="7347" y="14536"/>
                    <a:pt x="11129" y="16306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6" name="Freihandform: Form 205">
              <a:extLst>
                <a:ext uri="{FF2B5EF4-FFF2-40B4-BE49-F238E27FC236}">
                  <a16:creationId xmlns:a16="http://schemas.microsoft.com/office/drawing/2014/main" id="{3A9EC909-EB0D-4540-8453-54BDF87C4493}"/>
                </a:ext>
              </a:extLst>
            </p:cNvPr>
            <p:cNvSpPr/>
            <p:nvPr/>
          </p:nvSpPr>
          <p:spPr>
            <a:xfrm>
              <a:off x="6793663" y="3551471"/>
              <a:ext cx="17142" cy="17124"/>
            </a:xfrm>
            <a:custGeom>
              <a:avLst/>
              <a:gdLst>
                <a:gd name="connsiteX0" fmla="*/ 17142 w 17142"/>
                <a:gd name="connsiteY0" fmla="*/ 8147 h 17124"/>
                <a:gd name="connsiteX1" fmla="*/ 8656 w 17142"/>
                <a:gd name="connsiteY1" fmla="*/ 0 h 17124"/>
                <a:gd name="connsiteX2" fmla="*/ 0 w 17142"/>
                <a:gd name="connsiteY2" fmla="*/ 8486 h 17124"/>
                <a:gd name="connsiteX3" fmla="*/ 9002 w 17142"/>
                <a:gd name="connsiteY3" fmla="*/ 17124 h 17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42" h="17124">
                  <a:moveTo>
                    <a:pt x="17142" y="8147"/>
                  </a:moveTo>
                  <a:cubicBezTo>
                    <a:pt x="14241" y="5508"/>
                    <a:pt x="11412" y="2793"/>
                    <a:pt x="8656" y="0"/>
                  </a:cubicBezTo>
                  <a:lnTo>
                    <a:pt x="0" y="8486"/>
                  </a:lnTo>
                  <a:cubicBezTo>
                    <a:pt x="2910" y="11457"/>
                    <a:pt x="5922" y="14336"/>
                    <a:pt x="9002" y="17124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7" name="Freihandform: Form 206">
              <a:extLst>
                <a:ext uri="{FF2B5EF4-FFF2-40B4-BE49-F238E27FC236}">
                  <a16:creationId xmlns:a16="http://schemas.microsoft.com/office/drawing/2014/main" id="{F5FB0F4A-2266-4F14-9DC3-76BDAAA0580D}"/>
                </a:ext>
              </a:extLst>
            </p:cNvPr>
            <p:cNvSpPr/>
            <p:nvPr/>
          </p:nvSpPr>
          <p:spPr>
            <a:xfrm>
              <a:off x="6817043" y="3570875"/>
              <a:ext cx="16930" cy="16906"/>
            </a:xfrm>
            <a:custGeom>
              <a:avLst/>
              <a:gdLst>
                <a:gd name="connsiteX0" fmla="*/ 16930 w 16930"/>
                <a:gd name="connsiteY0" fmla="*/ 6832 h 16906"/>
                <a:gd name="connsiteX1" fmla="*/ 7353 w 16930"/>
                <a:gd name="connsiteY1" fmla="*/ 0 h 16906"/>
                <a:gd name="connsiteX2" fmla="*/ 0 w 16930"/>
                <a:gd name="connsiteY2" fmla="*/ 9662 h 16906"/>
                <a:gd name="connsiteX3" fmla="*/ 10172 w 16930"/>
                <a:gd name="connsiteY3" fmla="*/ 16906 h 16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930" h="16906">
                  <a:moveTo>
                    <a:pt x="16930" y="6832"/>
                  </a:moveTo>
                  <a:cubicBezTo>
                    <a:pt x="13669" y="4649"/>
                    <a:pt x="10476" y="2372"/>
                    <a:pt x="7353" y="0"/>
                  </a:cubicBezTo>
                  <a:lnTo>
                    <a:pt x="0" y="9662"/>
                  </a:lnTo>
                  <a:cubicBezTo>
                    <a:pt x="3314" y="12176"/>
                    <a:pt x="6704" y="14590"/>
                    <a:pt x="10172" y="16906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8" name="Freihandform: Form 207">
              <a:extLst>
                <a:ext uri="{FF2B5EF4-FFF2-40B4-BE49-F238E27FC236}">
                  <a16:creationId xmlns:a16="http://schemas.microsoft.com/office/drawing/2014/main" id="{D5F03D2E-3175-4208-B550-97665D5B8582}"/>
                </a:ext>
              </a:extLst>
            </p:cNvPr>
            <p:cNvSpPr/>
            <p:nvPr/>
          </p:nvSpPr>
          <p:spPr>
            <a:xfrm>
              <a:off x="6817989" y="3234275"/>
              <a:ext cx="16875" cy="16881"/>
            </a:xfrm>
            <a:custGeom>
              <a:avLst/>
              <a:gdLst>
                <a:gd name="connsiteX0" fmla="*/ 10190 w 16875"/>
                <a:gd name="connsiteY0" fmla="*/ 0 h 16881"/>
                <a:gd name="connsiteX1" fmla="*/ 0 w 16875"/>
                <a:gd name="connsiteY1" fmla="*/ 7183 h 16881"/>
                <a:gd name="connsiteX2" fmla="*/ 7274 w 16875"/>
                <a:gd name="connsiteY2" fmla="*/ 16882 h 16881"/>
                <a:gd name="connsiteX3" fmla="*/ 16876 w 16875"/>
                <a:gd name="connsiteY3" fmla="*/ 10117 h 16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875" h="16881">
                  <a:moveTo>
                    <a:pt x="10190" y="0"/>
                  </a:moveTo>
                  <a:cubicBezTo>
                    <a:pt x="6722" y="2291"/>
                    <a:pt x="3326" y="4686"/>
                    <a:pt x="0" y="7183"/>
                  </a:cubicBezTo>
                  <a:lnTo>
                    <a:pt x="7274" y="16882"/>
                  </a:lnTo>
                  <a:cubicBezTo>
                    <a:pt x="10396" y="14536"/>
                    <a:pt x="13609" y="12275"/>
                    <a:pt x="16876" y="10117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9" name="Freihandform: Form 208">
              <a:extLst>
                <a:ext uri="{FF2B5EF4-FFF2-40B4-BE49-F238E27FC236}">
                  <a16:creationId xmlns:a16="http://schemas.microsoft.com/office/drawing/2014/main" id="{46EB28DA-B3BE-44E5-9FE6-3770A514615F}"/>
                </a:ext>
              </a:extLst>
            </p:cNvPr>
            <p:cNvSpPr/>
            <p:nvPr/>
          </p:nvSpPr>
          <p:spPr>
            <a:xfrm>
              <a:off x="6938883" y="3180998"/>
              <a:ext cx="236406" cy="460689"/>
            </a:xfrm>
            <a:custGeom>
              <a:avLst/>
              <a:gdLst>
                <a:gd name="connsiteX0" fmla="*/ 6062 w 236406"/>
                <a:gd name="connsiteY0" fmla="*/ 460689 h 460689"/>
                <a:gd name="connsiteX1" fmla="*/ 236406 w 236406"/>
                <a:gd name="connsiteY1" fmla="*/ 230345 h 460689"/>
                <a:gd name="connsiteX2" fmla="*/ 6062 w 236406"/>
                <a:gd name="connsiteY2" fmla="*/ 0 h 460689"/>
                <a:gd name="connsiteX3" fmla="*/ 0 w 236406"/>
                <a:gd name="connsiteY3" fmla="*/ 6062 h 460689"/>
                <a:gd name="connsiteX4" fmla="*/ 0 w 236406"/>
                <a:gd name="connsiteY4" fmla="*/ 454627 h 460689"/>
                <a:gd name="connsiteX5" fmla="*/ 6062 w 236406"/>
                <a:gd name="connsiteY5" fmla="*/ 460689 h 460689"/>
                <a:gd name="connsiteX6" fmla="*/ 12123 w 236406"/>
                <a:gd name="connsiteY6" fmla="*/ 12208 h 460689"/>
                <a:gd name="connsiteX7" fmla="*/ 224174 w 236406"/>
                <a:gd name="connsiteY7" fmla="*/ 236430 h 460689"/>
                <a:gd name="connsiteX8" fmla="*/ 12123 w 236406"/>
                <a:gd name="connsiteY8" fmla="*/ 448481 h 460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6406" h="460689">
                  <a:moveTo>
                    <a:pt x="6062" y="460689"/>
                  </a:moveTo>
                  <a:cubicBezTo>
                    <a:pt x="133277" y="460689"/>
                    <a:pt x="236406" y="357560"/>
                    <a:pt x="236406" y="230345"/>
                  </a:cubicBezTo>
                  <a:cubicBezTo>
                    <a:pt x="236406" y="103129"/>
                    <a:pt x="133277" y="0"/>
                    <a:pt x="6062" y="0"/>
                  </a:cubicBezTo>
                  <a:cubicBezTo>
                    <a:pt x="2714" y="0"/>
                    <a:pt x="0" y="2714"/>
                    <a:pt x="0" y="6062"/>
                  </a:cubicBezTo>
                  <a:lnTo>
                    <a:pt x="0" y="454627"/>
                  </a:lnTo>
                  <a:cubicBezTo>
                    <a:pt x="0" y="457975"/>
                    <a:pt x="2714" y="460689"/>
                    <a:pt x="6062" y="460689"/>
                  </a:cubicBezTo>
                  <a:close/>
                  <a:moveTo>
                    <a:pt x="12123" y="12208"/>
                  </a:moveTo>
                  <a:cubicBezTo>
                    <a:pt x="132597" y="15569"/>
                    <a:pt x="227535" y="115957"/>
                    <a:pt x="224174" y="236430"/>
                  </a:cubicBezTo>
                  <a:cubicBezTo>
                    <a:pt x="220945" y="352179"/>
                    <a:pt x="127872" y="445252"/>
                    <a:pt x="12123" y="448481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10" name="Grafik 47" descr="Harvey Balls 75% Silhouette">
            <a:extLst>
              <a:ext uri="{FF2B5EF4-FFF2-40B4-BE49-F238E27FC236}">
                <a16:creationId xmlns:a16="http://schemas.microsoft.com/office/drawing/2014/main" id="{60981378-1F2F-44A5-8651-3CBCFB4A5E24}"/>
              </a:ext>
            </a:extLst>
          </p:cNvPr>
          <p:cNvGrpSpPr/>
          <p:nvPr/>
        </p:nvGrpSpPr>
        <p:grpSpPr>
          <a:xfrm>
            <a:off x="4895843" y="3180998"/>
            <a:ext cx="460689" cy="460689"/>
            <a:chOff x="4895843" y="3180998"/>
            <a:chExt cx="460689" cy="460689"/>
          </a:xfrm>
          <a:solidFill>
            <a:schemeClr val="tx1"/>
          </a:solidFill>
        </p:grpSpPr>
        <p:sp>
          <p:nvSpPr>
            <p:cNvPr id="211" name="Freihandform: Form 210">
              <a:extLst>
                <a:ext uri="{FF2B5EF4-FFF2-40B4-BE49-F238E27FC236}">
                  <a16:creationId xmlns:a16="http://schemas.microsoft.com/office/drawing/2014/main" id="{6D7F6552-EDCD-4A75-8747-CEFA89C3D154}"/>
                </a:ext>
              </a:extLst>
            </p:cNvPr>
            <p:cNvSpPr/>
            <p:nvPr/>
          </p:nvSpPr>
          <p:spPr>
            <a:xfrm>
              <a:off x="5025461" y="3219036"/>
              <a:ext cx="16263" cy="16275"/>
            </a:xfrm>
            <a:custGeom>
              <a:avLst/>
              <a:gdLst>
                <a:gd name="connsiteX0" fmla="*/ 16264 w 16263"/>
                <a:gd name="connsiteY0" fmla="*/ 10990 h 16275"/>
                <a:gd name="connsiteX1" fmla="*/ 11129 w 16263"/>
                <a:gd name="connsiteY1" fmla="*/ 0 h 16275"/>
                <a:gd name="connsiteX2" fmla="*/ 0 w 16263"/>
                <a:gd name="connsiteY2" fmla="*/ 5607 h 16275"/>
                <a:gd name="connsiteX3" fmla="*/ 5771 w 16263"/>
                <a:gd name="connsiteY3" fmla="*/ 16276 h 16275"/>
                <a:gd name="connsiteX4" fmla="*/ 16264 w 16263"/>
                <a:gd name="connsiteY4" fmla="*/ 10990 h 16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263" h="16275">
                  <a:moveTo>
                    <a:pt x="16264" y="10990"/>
                  </a:moveTo>
                  <a:lnTo>
                    <a:pt x="11129" y="0"/>
                  </a:lnTo>
                  <a:cubicBezTo>
                    <a:pt x="7359" y="1766"/>
                    <a:pt x="3649" y="3635"/>
                    <a:pt x="0" y="5607"/>
                  </a:cubicBezTo>
                  <a:lnTo>
                    <a:pt x="5771" y="16276"/>
                  </a:lnTo>
                  <a:cubicBezTo>
                    <a:pt x="9214" y="14417"/>
                    <a:pt x="12711" y="12655"/>
                    <a:pt x="16264" y="10990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2" name="Freihandform: Form 211">
              <a:extLst>
                <a:ext uri="{FF2B5EF4-FFF2-40B4-BE49-F238E27FC236}">
                  <a16:creationId xmlns:a16="http://schemas.microsoft.com/office/drawing/2014/main" id="{EC444E41-E6CB-45FC-A96E-2BDA8D87F8F1}"/>
                </a:ext>
              </a:extLst>
            </p:cNvPr>
            <p:cNvSpPr/>
            <p:nvPr/>
          </p:nvSpPr>
          <p:spPr>
            <a:xfrm>
              <a:off x="4999238" y="3234269"/>
              <a:ext cx="16869" cy="16887"/>
            </a:xfrm>
            <a:custGeom>
              <a:avLst/>
              <a:gdLst>
                <a:gd name="connsiteX0" fmla="*/ 16870 w 16869"/>
                <a:gd name="connsiteY0" fmla="*/ 10123 h 16887"/>
                <a:gd name="connsiteX1" fmla="*/ 10202 w 16869"/>
                <a:gd name="connsiteY1" fmla="*/ 0 h 16887"/>
                <a:gd name="connsiteX2" fmla="*/ 0 w 16869"/>
                <a:gd name="connsiteY2" fmla="*/ 7189 h 16887"/>
                <a:gd name="connsiteX3" fmla="*/ 7274 w 16869"/>
                <a:gd name="connsiteY3" fmla="*/ 16888 h 16887"/>
                <a:gd name="connsiteX4" fmla="*/ 16870 w 16869"/>
                <a:gd name="connsiteY4" fmla="*/ 10123 h 1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869" h="16887">
                  <a:moveTo>
                    <a:pt x="16870" y="10123"/>
                  </a:moveTo>
                  <a:lnTo>
                    <a:pt x="10202" y="0"/>
                  </a:lnTo>
                  <a:cubicBezTo>
                    <a:pt x="6727" y="2299"/>
                    <a:pt x="3326" y="4696"/>
                    <a:pt x="0" y="7189"/>
                  </a:cubicBezTo>
                  <a:lnTo>
                    <a:pt x="7274" y="16888"/>
                  </a:lnTo>
                  <a:cubicBezTo>
                    <a:pt x="10396" y="14542"/>
                    <a:pt x="13596" y="12275"/>
                    <a:pt x="16870" y="10123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3" name="Freihandform: Form 212">
              <a:extLst>
                <a:ext uri="{FF2B5EF4-FFF2-40B4-BE49-F238E27FC236}">
                  <a16:creationId xmlns:a16="http://schemas.microsoft.com/office/drawing/2014/main" id="{B909CA40-714E-417E-9C7C-03259534347B}"/>
                </a:ext>
              </a:extLst>
            </p:cNvPr>
            <p:cNvSpPr/>
            <p:nvPr/>
          </p:nvSpPr>
          <p:spPr>
            <a:xfrm>
              <a:off x="5053866" y="3207961"/>
              <a:ext cx="15305" cy="15311"/>
            </a:xfrm>
            <a:custGeom>
              <a:avLst/>
              <a:gdLst>
                <a:gd name="connsiteX0" fmla="*/ 15306 w 15305"/>
                <a:gd name="connsiteY0" fmla="*/ 11626 h 15311"/>
                <a:gd name="connsiteX1" fmla="*/ 11857 w 15305"/>
                <a:gd name="connsiteY1" fmla="*/ 0 h 15311"/>
                <a:gd name="connsiteX2" fmla="*/ 0 w 15305"/>
                <a:gd name="connsiteY2" fmla="*/ 3922 h 15311"/>
                <a:gd name="connsiteX3" fmla="*/ 4146 w 15305"/>
                <a:gd name="connsiteY3" fmla="*/ 15312 h 15311"/>
                <a:gd name="connsiteX4" fmla="*/ 15306 w 15305"/>
                <a:gd name="connsiteY4" fmla="*/ 11626 h 15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305" h="15311">
                  <a:moveTo>
                    <a:pt x="15306" y="11626"/>
                  </a:moveTo>
                  <a:lnTo>
                    <a:pt x="11857" y="0"/>
                  </a:lnTo>
                  <a:cubicBezTo>
                    <a:pt x="7848" y="1212"/>
                    <a:pt x="3896" y="2520"/>
                    <a:pt x="0" y="3922"/>
                  </a:cubicBezTo>
                  <a:lnTo>
                    <a:pt x="4146" y="15312"/>
                  </a:lnTo>
                  <a:cubicBezTo>
                    <a:pt x="7820" y="13974"/>
                    <a:pt x="11540" y="12746"/>
                    <a:pt x="15306" y="11626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4" name="Freihandform: Form 213">
              <a:extLst>
                <a:ext uri="{FF2B5EF4-FFF2-40B4-BE49-F238E27FC236}">
                  <a16:creationId xmlns:a16="http://schemas.microsoft.com/office/drawing/2014/main" id="{0F6BB6F4-443D-44E3-85C5-CA6E39CB288F}"/>
                </a:ext>
              </a:extLst>
            </p:cNvPr>
            <p:cNvSpPr/>
            <p:nvPr/>
          </p:nvSpPr>
          <p:spPr>
            <a:xfrm>
              <a:off x="5083871" y="3201305"/>
              <a:ext cx="14002" cy="14002"/>
            </a:xfrm>
            <a:custGeom>
              <a:avLst/>
              <a:gdLst>
                <a:gd name="connsiteX0" fmla="*/ 14003 w 14002"/>
                <a:gd name="connsiteY0" fmla="*/ 12002 h 14002"/>
                <a:gd name="connsiteX1" fmla="*/ 12281 w 14002"/>
                <a:gd name="connsiteY1" fmla="*/ 0 h 14002"/>
                <a:gd name="connsiteX2" fmla="*/ 0 w 14002"/>
                <a:gd name="connsiteY2" fmla="*/ 2116 h 14002"/>
                <a:gd name="connsiteX3" fmla="*/ 2425 w 14002"/>
                <a:gd name="connsiteY3" fmla="*/ 14003 h 14002"/>
                <a:gd name="connsiteX4" fmla="*/ 14003 w 14002"/>
                <a:gd name="connsiteY4" fmla="*/ 12002 h 14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02" h="14002">
                  <a:moveTo>
                    <a:pt x="14003" y="12002"/>
                  </a:moveTo>
                  <a:lnTo>
                    <a:pt x="12281" y="0"/>
                  </a:lnTo>
                  <a:cubicBezTo>
                    <a:pt x="8147" y="590"/>
                    <a:pt x="4053" y="1295"/>
                    <a:pt x="0" y="2116"/>
                  </a:cubicBezTo>
                  <a:lnTo>
                    <a:pt x="2425" y="14003"/>
                  </a:lnTo>
                  <a:cubicBezTo>
                    <a:pt x="6239" y="13222"/>
                    <a:pt x="10099" y="12556"/>
                    <a:pt x="14003" y="12002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5" name="Freihandform: Form 214">
              <a:extLst>
                <a:ext uri="{FF2B5EF4-FFF2-40B4-BE49-F238E27FC236}">
                  <a16:creationId xmlns:a16="http://schemas.microsoft.com/office/drawing/2014/main" id="{B717EF58-D5DC-40E8-BF35-27F7C94E724A}"/>
                </a:ext>
              </a:extLst>
            </p:cNvPr>
            <p:cNvSpPr/>
            <p:nvPr/>
          </p:nvSpPr>
          <p:spPr>
            <a:xfrm>
              <a:off x="4926219" y="3328819"/>
              <a:ext cx="15693" cy="15705"/>
            </a:xfrm>
            <a:custGeom>
              <a:avLst/>
              <a:gdLst>
                <a:gd name="connsiteX0" fmla="*/ 15694 w 15693"/>
                <a:gd name="connsiteY0" fmla="*/ 4722 h 15705"/>
                <a:gd name="connsiteX1" fmla="*/ 4528 w 15693"/>
                <a:gd name="connsiteY1" fmla="*/ 0 h 15705"/>
                <a:gd name="connsiteX2" fmla="*/ 0 w 15693"/>
                <a:gd name="connsiteY2" fmla="*/ 11645 h 15705"/>
                <a:gd name="connsiteX3" fmla="*/ 11426 w 15693"/>
                <a:gd name="connsiteY3" fmla="*/ 15706 h 15705"/>
                <a:gd name="connsiteX4" fmla="*/ 15694 w 15693"/>
                <a:gd name="connsiteY4" fmla="*/ 4722 h 15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693" h="15705">
                  <a:moveTo>
                    <a:pt x="15694" y="4722"/>
                  </a:moveTo>
                  <a:lnTo>
                    <a:pt x="4528" y="0"/>
                  </a:lnTo>
                  <a:cubicBezTo>
                    <a:pt x="2911" y="3827"/>
                    <a:pt x="1402" y="7709"/>
                    <a:pt x="0" y="11645"/>
                  </a:cubicBezTo>
                  <a:lnTo>
                    <a:pt x="11426" y="15706"/>
                  </a:lnTo>
                  <a:cubicBezTo>
                    <a:pt x="12731" y="11992"/>
                    <a:pt x="14154" y="8331"/>
                    <a:pt x="15694" y="4722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4D2B8FE0-B9CC-48C8-8A09-78BBF4F584E1}"/>
                </a:ext>
              </a:extLst>
            </p:cNvPr>
            <p:cNvSpPr/>
            <p:nvPr/>
          </p:nvSpPr>
          <p:spPr>
            <a:xfrm>
              <a:off x="4938791" y="3301087"/>
              <a:ext cx="16542" cy="16536"/>
            </a:xfrm>
            <a:custGeom>
              <a:avLst/>
              <a:gdLst>
                <a:gd name="connsiteX0" fmla="*/ 16542 w 16542"/>
                <a:gd name="connsiteY0" fmla="*/ 6322 h 16536"/>
                <a:gd name="connsiteX1" fmla="*/ 6201 w 16542"/>
                <a:gd name="connsiteY1" fmla="*/ 0 h 16536"/>
                <a:gd name="connsiteX2" fmla="*/ 0 w 16542"/>
                <a:gd name="connsiteY2" fmla="*/ 10844 h 16536"/>
                <a:gd name="connsiteX3" fmla="*/ 10705 w 16542"/>
                <a:gd name="connsiteY3" fmla="*/ 16536 h 16536"/>
                <a:gd name="connsiteX4" fmla="*/ 16542 w 16542"/>
                <a:gd name="connsiteY4" fmla="*/ 6322 h 16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42" h="16536">
                  <a:moveTo>
                    <a:pt x="16542" y="6322"/>
                  </a:moveTo>
                  <a:lnTo>
                    <a:pt x="6201" y="0"/>
                  </a:lnTo>
                  <a:cubicBezTo>
                    <a:pt x="4031" y="3548"/>
                    <a:pt x="1964" y="7163"/>
                    <a:pt x="0" y="10844"/>
                  </a:cubicBezTo>
                  <a:lnTo>
                    <a:pt x="10705" y="16536"/>
                  </a:lnTo>
                  <a:cubicBezTo>
                    <a:pt x="12556" y="13069"/>
                    <a:pt x="14501" y="9664"/>
                    <a:pt x="16542" y="6322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45B5A4D2-92DD-4ED6-A7A0-50C9DE26C376}"/>
                </a:ext>
              </a:extLst>
            </p:cNvPr>
            <p:cNvSpPr/>
            <p:nvPr/>
          </p:nvSpPr>
          <p:spPr>
            <a:xfrm>
              <a:off x="4917969" y="3358364"/>
              <a:ext cx="14499" cy="14493"/>
            </a:xfrm>
            <a:custGeom>
              <a:avLst/>
              <a:gdLst>
                <a:gd name="connsiteX0" fmla="*/ 14500 w 14499"/>
                <a:gd name="connsiteY0" fmla="*/ 3031 h 14493"/>
                <a:gd name="connsiteX1" fmla="*/ 2758 w 14499"/>
                <a:gd name="connsiteY1" fmla="*/ 0 h 14493"/>
                <a:gd name="connsiteX2" fmla="*/ 0 w 14499"/>
                <a:gd name="connsiteY2" fmla="*/ 12178 h 14493"/>
                <a:gd name="connsiteX3" fmla="*/ 11899 w 14499"/>
                <a:gd name="connsiteY3" fmla="*/ 14494 h 14493"/>
                <a:gd name="connsiteX4" fmla="*/ 14500 w 14499"/>
                <a:gd name="connsiteY4" fmla="*/ 3031 h 14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99" h="14493">
                  <a:moveTo>
                    <a:pt x="14500" y="3031"/>
                  </a:moveTo>
                  <a:lnTo>
                    <a:pt x="2758" y="0"/>
                  </a:lnTo>
                  <a:cubicBezTo>
                    <a:pt x="1720" y="4005"/>
                    <a:pt x="800" y="8064"/>
                    <a:pt x="0" y="12178"/>
                  </a:cubicBezTo>
                  <a:lnTo>
                    <a:pt x="11899" y="14494"/>
                  </a:lnTo>
                  <a:cubicBezTo>
                    <a:pt x="12651" y="10626"/>
                    <a:pt x="13518" y="6801"/>
                    <a:pt x="14500" y="3031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8" name="Freihandform: Form 217">
              <a:extLst>
                <a:ext uri="{FF2B5EF4-FFF2-40B4-BE49-F238E27FC236}">
                  <a16:creationId xmlns:a16="http://schemas.microsoft.com/office/drawing/2014/main" id="{2D299D1B-7399-4717-AD3B-755D2C6396C4}"/>
                </a:ext>
              </a:extLst>
            </p:cNvPr>
            <p:cNvSpPr/>
            <p:nvPr/>
          </p:nvSpPr>
          <p:spPr>
            <a:xfrm>
              <a:off x="4975743" y="3253321"/>
              <a:ext cx="17130" cy="17130"/>
            </a:xfrm>
            <a:custGeom>
              <a:avLst/>
              <a:gdLst>
                <a:gd name="connsiteX0" fmla="*/ 8602 w 17130"/>
                <a:gd name="connsiteY0" fmla="*/ 17130 h 17130"/>
                <a:gd name="connsiteX1" fmla="*/ 17130 w 17130"/>
                <a:gd name="connsiteY1" fmla="*/ 9020 h 17130"/>
                <a:gd name="connsiteX2" fmla="*/ 9038 w 17130"/>
                <a:gd name="connsiteY2" fmla="*/ 0 h 17130"/>
                <a:gd name="connsiteX3" fmla="*/ 0 w 17130"/>
                <a:gd name="connsiteY3" fmla="*/ 8583 h 17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30" h="17130">
                  <a:moveTo>
                    <a:pt x="8602" y="17130"/>
                  </a:moveTo>
                  <a:cubicBezTo>
                    <a:pt x="11366" y="14346"/>
                    <a:pt x="14209" y="11643"/>
                    <a:pt x="17130" y="9020"/>
                  </a:cubicBezTo>
                  <a:lnTo>
                    <a:pt x="9038" y="0"/>
                  </a:lnTo>
                  <a:cubicBezTo>
                    <a:pt x="5942" y="2776"/>
                    <a:pt x="2930" y="5637"/>
                    <a:pt x="0" y="8583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9" name="Freihandform: Form 218">
              <a:extLst>
                <a:ext uri="{FF2B5EF4-FFF2-40B4-BE49-F238E27FC236}">
                  <a16:creationId xmlns:a16="http://schemas.microsoft.com/office/drawing/2014/main" id="{82214F48-B98B-4C5A-B207-960E2FE0ABB0}"/>
                </a:ext>
              </a:extLst>
            </p:cNvPr>
            <p:cNvSpPr/>
            <p:nvPr/>
          </p:nvSpPr>
          <p:spPr>
            <a:xfrm>
              <a:off x="4955424" y="3275743"/>
              <a:ext cx="17021" cy="17021"/>
            </a:xfrm>
            <a:custGeom>
              <a:avLst/>
              <a:gdLst>
                <a:gd name="connsiteX0" fmla="*/ 17021 w 17021"/>
                <a:gd name="connsiteY0" fmla="*/ 7765 h 17021"/>
                <a:gd name="connsiteX1" fmla="*/ 7704 w 17021"/>
                <a:gd name="connsiteY1" fmla="*/ 0 h 17021"/>
                <a:gd name="connsiteX2" fmla="*/ 0 w 17021"/>
                <a:gd name="connsiteY2" fmla="*/ 9820 h 17021"/>
                <a:gd name="connsiteX3" fmla="*/ 9753 w 17021"/>
                <a:gd name="connsiteY3" fmla="*/ 17021 h 17021"/>
                <a:gd name="connsiteX4" fmla="*/ 17021 w 17021"/>
                <a:gd name="connsiteY4" fmla="*/ 7765 h 17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021" h="17021">
                  <a:moveTo>
                    <a:pt x="17021" y="7765"/>
                  </a:moveTo>
                  <a:lnTo>
                    <a:pt x="7704" y="0"/>
                  </a:lnTo>
                  <a:cubicBezTo>
                    <a:pt x="5042" y="3196"/>
                    <a:pt x="2473" y="6470"/>
                    <a:pt x="0" y="9820"/>
                  </a:cubicBezTo>
                  <a:lnTo>
                    <a:pt x="9753" y="17021"/>
                  </a:lnTo>
                  <a:cubicBezTo>
                    <a:pt x="12093" y="13857"/>
                    <a:pt x="14516" y="10772"/>
                    <a:pt x="17021" y="7765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0" name="Freihandform: Form 219">
              <a:extLst>
                <a:ext uri="{FF2B5EF4-FFF2-40B4-BE49-F238E27FC236}">
                  <a16:creationId xmlns:a16="http://schemas.microsoft.com/office/drawing/2014/main" id="{10E17E67-9B8B-4CC6-8957-F41721AF57EB}"/>
                </a:ext>
              </a:extLst>
            </p:cNvPr>
            <p:cNvSpPr/>
            <p:nvPr/>
          </p:nvSpPr>
          <p:spPr>
            <a:xfrm>
              <a:off x="4895843" y="3180998"/>
              <a:ext cx="460689" cy="460689"/>
            </a:xfrm>
            <a:custGeom>
              <a:avLst/>
              <a:gdLst>
                <a:gd name="connsiteX0" fmla="*/ 230302 w 460689"/>
                <a:gd name="connsiteY0" fmla="*/ 0 h 460689"/>
                <a:gd name="connsiteX1" fmla="*/ 224240 w 460689"/>
                <a:gd name="connsiteY1" fmla="*/ 6062 h 460689"/>
                <a:gd name="connsiteX2" fmla="*/ 224240 w 460689"/>
                <a:gd name="connsiteY2" fmla="*/ 224156 h 460689"/>
                <a:gd name="connsiteX3" fmla="*/ 6062 w 460689"/>
                <a:gd name="connsiteY3" fmla="*/ 224156 h 460689"/>
                <a:gd name="connsiteX4" fmla="*/ 0 w 460689"/>
                <a:gd name="connsiteY4" fmla="*/ 230217 h 460689"/>
                <a:gd name="connsiteX5" fmla="*/ 230217 w 460689"/>
                <a:gd name="connsiteY5" fmla="*/ 460689 h 460689"/>
                <a:gd name="connsiteX6" fmla="*/ 460689 w 460689"/>
                <a:gd name="connsiteY6" fmla="*/ 230472 h 460689"/>
                <a:gd name="connsiteX7" fmla="*/ 230472 w 460689"/>
                <a:gd name="connsiteY7" fmla="*/ 0 h 460689"/>
                <a:gd name="connsiteX8" fmla="*/ 230302 w 460689"/>
                <a:gd name="connsiteY8" fmla="*/ 0 h 460689"/>
                <a:gd name="connsiteX9" fmla="*/ 230345 w 460689"/>
                <a:gd name="connsiteY9" fmla="*/ 448566 h 460689"/>
                <a:gd name="connsiteX10" fmla="*/ 12208 w 460689"/>
                <a:gd name="connsiteY10" fmla="*/ 236279 h 460689"/>
                <a:gd name="connsiteX11" fmla="*/ 230302 w 460689"/>
                <a:gd name="connsiteY11" fmla="*/ 236279 h 460689"/>
                <a:gd name="connsiteX12" fmla="*/ 236364 w 460689"/>
                <a:gd name="connsiteY12" fmla="*/ 230217 h 460689"/>
                <a:gd name="connsiteX13" fmla="*/ 236364 w 460689"/>
                <a:gd name="connsiteY13" fmla="*/ 12208 h 460689"/>
                <a:gd name="connsiteX14" fmla="*/ 448415 w 460689"/>
                <a:gd name="connsiteY14" fmla="*/ 236429 h 460689"/>
                <a:gd name="connsiteX15" fmla="*/ 230345 w 460689"/>
                <a:gd name="connsiteY15" fmla="*/ 448566 h 460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60689" h="460689">
                  <a:moveTo>
                    <a:pt x="230302" y="0"/>
                  </a:moveTo>
                  <a:cubicBezTo>
                    <a:pt x="226954" y="0"/>
                    <a:pt x="224240" y="2714"/>
                    <a:pt x="224240" y="6062"/>
                  </a:cubicBezTo>
                  <a:lnTo>
                    <a:pt x="224240" y="224156"/>
                  </a:lnTo>
                  <a:lnTo>
                    <a:pt x="6062" y="224156"/>
                  </a:lnTo>
                  <a:cubicBezTo>
                    <a:pt x="2714" y="224156"/>
                    <a:pt x="0" y="226869"/>
                    <a:pt x="0" y="230217"/>
                  </a:cubicBezTo>
                  <a:cubicBezTo>
                    <a:pt x="-70" y="357433"/>
                    <a:pt x="103002" y="460619"/>
                    <a:pt x="230217" y="460689"/>
                  </a:cubicBezTo>
                  <a:cubicBezTo>
                    <a:pt x="357433" y="460759"/>
                    <a:pt x="460619" y="357687"/>
                    <a:pt x="460689" y="230472"/>
                  </a:cubicBezTo>
                  <a:cubicBezTo>
                    <a:pt x="460759" y="103256"/>
                    <a:pt x="357687" y="70"/>
                    <a:pt x="230472" y="0"/>
                  </a:cubicBezTo>
                  <a:cubicBezTo>
                    <a:pt x="230415" y="0"/>
                    <a:pt x="230359" y="0"/>
                    <a:pt x="230302" y="0"/>
                  </a:cubicBezTo>
                  <a:close/>
                  <a:moveTo>
                    <a:pt x="230345" y="448566"/>
                  </a:moveTo>
                  <a:cubicBezTo>
                    <a:pt x="112206" y="448395"/>
                    <a:pt x="15590" y="354369"/>
                    <a:pt x="12208" y="236279"/>
                  </a:cubicBezTo>
                  <a:lnTo>
                    <a:pt x="230302" y="236279"/>
                  </a:lnTo>
                  <a:cubicBezTo>
                    <a:pt x="233650" y="236279"/>
                    <a:pt x="236364" y="233565"/>
                    <a:pt x="236364" y="230217"/>
                  </a:cubicBezTo>
                  <a:lnTo>
                    <a:pt x="236364" y="12208"/>
                  </a:lnTo>
                  <a:cubicBezTo>
                    <a:pt x="356837" y="15569"/>
                    <a:pt x="451776" y="115956"/>
                    <a:pt x="448415" y="236429"/>
                  </a:cubicBezTo>
                  <a:cubicBezTo>
                    <a:pt x="445121" y="354509"/>
                    <a:pt x="348469" y="448530"/>
                    <a:pt x="230345" y="448566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21" name="Grafik 48" descr="Fahrrad mit Personen Silhouette">
            <a:extLst>
              <a:ext uri="{FF2B5EF4-FFF2-40B4-BE49-F238E27FC236}">
                <a16:creationId xmlns:a16="http://schemas.microsoft.com/office/drawing/2014/main" id="{D9F6A8FF-C785-4BA1-8C8A-5DB13C3F22EA}"/>
              </a:ext>
            </a:extLst>
          </p:cNvPr>
          <p:cNvGrpSpPr/>
          <p:nvPr/>
        </p:nvGrpSpPr>
        <p:grpSpPr>
          <a:xfrm>
            <a:off x="6387634" y="5016456"/>
            <a:ext cx="412195" cy="412195"/>
            <a:chOff x="6387634" y="5016456"/>
            <a:chExt cx="412195" cy="412195"/>
          </a:xfrm>
          <a:solidFill>
            <a:schemeClr val="tx1"/>
          </a:solidFill>
        </p:grpSpPr>
        <p:sp>
          <p:nvSpPr>
            <p:cNvPr id="222" name="Freihandform: Form 221">
              <a:extLst>
                <a:ext uri="{FF2B5EF4-FFF2-40B4-BE49-F238E27FC236}">
                  <a16:creationId xmlns:a16="http://schemas.microsoft.com/office/drawing/2014/main" id="{C6A50F63-B7A0-479C-8615-69130E493498}"/>
                </a:ext>
              </a:extLst>
            </p:cNvPr>
            <p:cNvSpPr/>
            <p:nvPr/>
          </p:nvSpPr>
          <p:spPr>
            <a:xfrm>
              <a:off x="6556756" y="5349850"/>
              <a:ext cx="73952" cy="12123"/>
            </a:xfrm>
            <a:custGeom>
              <a:avLst/>
              <a:gdLst>
                <a:gd name="connsiteX0" fmla="*/ 73953 w 73952"/>
                <a:gd name="connsiteY0" fmla="*/ 12123 h 12123"/>
                <a:gd name="connsiteX1" fmla="*/ 73347 w 73952"/>
                <a:gd name="connsiteY1" fmla="*/ 3031 h 12123"/>
                <a:gd name="connsiteX2" fmla="*/ 73347 w 73952"/>
                <a:gd name="connsiteY2" fmla="*/ 0 h 12123"/>
                <a:gd name="connsiteX3" fmla="*/ 606 w 73952"/>
                <a:gd name="connsiteY3" fmla="*/ 0 h 12123"/>
                <a:gd name="connsiteX4" fmla="*/ 606 w 73952"/>
                <a:gd name="connsiteY4" fmla="*/ 3031 h 12123"/>
                <a:gd name="connsiteX5" fmla="*/ 0 w 73952"/>
                <a:gd name="connsiteY5" fmla="*/ 12123 h 12123"/>
                <a:gd name="connsiteX6" fmla="*/ 73953 w 73952"/>
                <a:gd name="connsiteY6" fmla="*/ 12123 h 12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952" h="12123">
                  <a:moveTo>
                    <a:pt x="73953" y="12123"/>
                  </a:moveTo>
                  <a:cubicBezTo>
                    <a:pt x="73953" y="9093"/>
                    <a:pt x="73347" y="6062"/>
                    <a:pt x="73347" y="3031"/>
                  </a:cubicBezTo>
                  <a:cubicBezTo>
                    <a:pt x="73347" y="1819"/>
                    <a:pt x="73347" y="1212"/>
                    <a:pt x="73347" y="0"/>
                  </a:cubicBezTo>
                  <a:lnTo>
                    <a:pt x="606" y="0"/>
                  </a:lnTo>
                  <a:cubicBezTo>
                    <a:pt x="606" y="1212"/>
                    <a:pt x="606" y="1819"/>
                    <a:pt x="606" y="3031"/>
                  </a:cubicBezTo>
                  <a:cubicBezTo>
                    <a:pt x="606" y="6062"/>
                    <a:pt x="606" y="9093"/>
                    <a:pt x="0" y="12123"/>
                  </a:cubicBezTo>
                  <a:lnTo>
                    <a:pt x="73953" y="12123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3" name="Freihandform: Form 222">
              <a:extLst>
                <a:ext uri="{FF2B5EF4-FFF2-40B4-BE49-F238E27FC236}">
                  <a16:creationId xmlns:a16="http://schemas.microsoft.com/office/drawing/2014/main" id="{83358F97-740F-4132-BEAA-EACA6A4F9399}"/>
                </a:ext>
              </a:extLst>
            </p:cNvPr>
            <p:cNvSpPr/>
            <p:nvPr/>
          </p:nvSpPr>
          <p:spPr>
            <a:xfrm>
              <a:off x="6490683" y="5201944"/>
              <a:ext cx="45462" cy="65466"/>
            </a:xfrm>
            <a:custGeom>
              <a:avLst/>
              <a:gdLst>
                <a:gd name="connsiteX0" fmla="*/ 11517 w 45462"/>
                <a:gd name="connsiteY0" fmla="*/ 65466 h 65466"/>
                <a:gd name="connsiteX1" fmla="*/ 45463 w 45462"/>
                <a:gd name="connsiteY1" fmla="*/ 6668 h 65466"/>
                <a:gd name="connsiteX2" fmla="*/ 35158 w 45462"/>
                <a:gd name="connsiteY2" fmla="*/ 0 h 65466"/>
                <a:gd name="connsiteX3" fmla="*/ 0 w 45462"/>
                <a:gd name="connsiteY3" fmla="*/ 61223 h 65466"/>
                <a:gd name="connsiteX4" fmla="*/ 11517 w 45462"/>
                <a:gd name="connsiteY4" fmla="*/ 65466 h 65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462" h="65466">
                  <a:moveTo>
                    <a:pt x="11517" y="65466"/>
                  </a:moveTo>
                  <a:lnTo>
                    <a:pt x="45463" y="6668"/>
                  </a:lnTo>
                  <a:cubicBezTo>
                    <a:pt x="41826" y="4849"/>
                    <a:pt x="38795" y="2425"/>
                    <a:pt x="35158" y="0"/>
                  </a:cubicBezTo>
                  <a:lnTo>
                    <a:pt x="0" y="61223"/>
                  </a:lnTo>
                  <a:cubicBezTo>
                    <a:pt x="4243" y="62436"/>
                    <a:pt x="7880" y="63648"/>
                    <a:pt x="11517" y="65466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4" name="Freihandform: Form 223">
              <a:extLst>
                <a:ext uri="{FF2B5EF4-FFF2-40B4-BE49-F238E27FC236}">
                  <a16:creationId xmlns:a16="http://schemas.microsoft.com/office/drawing/2014/main" id="{B14E809A-CCDE-4DEC-8F82-2160F6FF5C42}"/>
                </a:ext>
              </a:extLst>
            </p:cNvPr>
            <p:cNvSpPr/>
            <p:nvPr/>
          </p:nvSpPr>
          <p:spPr>
            <a:xfrm>
              <a:off x="6645256" y="5201944"/>
              <a:ext cx="46675" cy="67891"/>
            </a:xfrm>
            <a:custGeom>
              <a:avLst/>
              <a:gdLst>
                <a:gd name="connsiteX0" fmla="*/ 46675 w 46675"/>
                <a:gd name="connsiteY0" fmla="*/ 63042 h 67891"/>
                <a:gd name="connsiteX1" fmla="*/ 10305 w 46675"/>
                <a:gd name="connsiteY1" fmla="*/ 0 h 67891"/>
                <a:gd name="connsiteX2" fmla="*/ 0 w 46675"/>
                <a:gd name="connsiteY2" fmla="*/ 6668 h 67891"/>
                <a:gd name="connsiteX3" fmla="*/ 35158 w 46675"/>
                <a:gd name="connsiteY3" fmla="*/ 67891 h 67891"/>
                <a:gd name="connsiteX4" fmla="*/ 46675 w 46675"/>
                <a:gd name="connsiteY4" fmla="*/ 63042 h 67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675" h="67891">
                  <a:moveTo>
                    <a:pt x="46675" y="63042"/>
                  </a:moveTo>
                  <a:lnTo>
                    <a:pt x="10305" y="0"/>
                  </a:lnTo>
                  <a:cubicBezTo>
                    <a:pt x="7274" y="2425"/>
                    <a:pt x="3637" y="4243"/>
                    <a:pt x="0" y="6668"/>
                  </a:cubicBezTo>
                  <a:lnTo>
                    <a:pt x="35158" y="67891"/>
                  </a:lnTo>
                  <a:cubicBezTo>
                    <a:pt x="38795" y="66073"/>
                    <a:pt x="43038" y="64254"/>
                    <a:pt x="46675" y="63042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5" name="Freihandform: Form 224">
              <a:extLst>
                <a:ext uri="{FF2B5EF4-FFF2-40B4-BE49-F238E27FC236}">
                  <a16:creationId xmlns:a16="http://schemas.microsoft.com/office/drawing/2014/main" id="{41A7C991-6BCC-4423-9228-C6968C564E8C}"/>
                </a:ext>
              </a:extLst>
            </p:cNvPr>
            <p:cNvSpPr/>
            <p:nvPr/>
          </p:nvSpPr>
          <p:spPr>
            <a:xfrm>
              <a:off x="6387634" y="5277109"/>
              <a:ext cx="151542" cy="151542"/>
            </a:xfrm>
            <a:custGeom>
              <a:avLst/>
              <a:gdLst>
                <a:gd name="connsiteX0" fmla="*/ 75771 w 151542"/>
                <a:gd name="connsiteY0" fmla="*/ 0 h 151542"/>
                <a:gd name="connsiteX1" fmla="*/ 0 w 151542"/>
                <a:gd name="connsiteY1" fmla="*/ 75771 h 151542"/>
                <a:gd name="connsiteX2" fmla="*/ 75771 w 151542"/>
                <a:gd name="connsiteY2" fmla="*/ 151542 h 151542"/>
                <a:gd name="connsiteX3" fmla="*/ 151542 w 151542"/>
                <a:gd name="connsiteY3" fmla="*/ 75771 h 151542"/>
                <a:gd name="connsiteX4" fmla="*/ 75771 w 151542"/>
                <a:gd name="connsiteY4" fmla="*/ 0 h 151542"/>
                <a:gd name="connsiteX5" fmla="*/ 39401 w 151542"/>
                <a:gd name="connsiteY5" fmla="*/ 127902 h 151542"/>
                <a:gd name="connsiteX6" fmla="*/ 79408 w 151542"/>
                <a:gd name="connsiteY6" fmla="*/ 94562 h 151542"/>
                <a:gd name="connsiteX7" fmla="*/ 112748 w 151542"/>
                <a:gd name="connsiteY7" fmla="*/ 127902 h 151542"/>
                <a:gd name="connsiteX8" fmla="*/ 39401 w 151542"/>
                <a:gd name="connsiteY8" fmla="*/ 127902 h 151542"/>
                <a:gd name="connsiteX9" fmla="*/ 58798 w 151542"/>
                <a:gd name="connsiteY9" fmla="*/ 65466 h 151542"/>
                <a:gd name="connsiteX10" fmla="*/ 75771 w 151542"/>
                <a:gd name="connsiteY10" fmla="*/ 48494 h 151542"/>
                <a:gd name="connsiteX11" fmla="*/ 92744 w 151542"/>
                <a:gd name="connsiteY11" fmla="*/ 65466 h 151542"/>
                <a:gd name="connsiteX12" fmla="*/ 75771 w 151542"/>
                <a:gd name="connsiteY12" fmla="*/ 82439 h 151542"/>
                <a:gd name="connsiteX13" fmla="*/ 58798 w 151542"/>
                <a:gd name="connsiteY13" fmla="*/ 65466 h 151542"/>
                <a:gd name="connsiteX14" fmla="*/ 123052 w 151542"/>
                <a:gd name="connsiteY14" fmla="*/ 118203 h 151542"/>
                <a:gd name="connsiteX15" fmla="*/ 95775 w 151542"/>
                <a:gd name="connsiteY15" fmla="*/ 86076 h 151542"/>
                <a:gd name="connsiteX16" fmla="*/ 96987 w 151542"/>
                <a:gd name="connsiteY16" fmla="*/ 44857 h 151542"/>
                <a:gd name="connsiteX17" fmla="*/ 55768 w 151542"/>
                <a:gd name="connsiteY17" fmla="*/ 43644 h 151542"/>
                <a:gd name="connsiteX18" fmla="*/ 54555 w 151542"/>
                <a:gd name="connsiteY18" fmla="*/ 84864 h 151542"/>
                <a:gd name="connsiteX19" fmla="*/ 55768 w 151542"/>
                <a:gd name="connsiteY19" fmla="*/ 86076 h 151542"/>
                <a:gd name="connsiteX20" fmla="*/ 28490 w 151542"/>
                <a:gd name="connsiteY20" fmla="*/ 118203 h 151542"/>
                <a:gd name="connsiteX21" fmla="*/ 32733 w 151542"/>
                <a:gd name="connsiteY21" fmla="*/ 28490 h 151542"/>
                <a:gd name="connsiteX22" fmla="*/ 122446 w 151542"/>
                <a:gd name="connsiteY22" fmla="*/ 32733 h 151542"/>
                <a:gd name="connsiteX23" fmla="*/ 123052 w 151542"/>
                <a:gd name="connsiteY23" fmla="*/ 118203 h 15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51542" h="151542">
                  <a:moveTo>
                    <a:pt x="75771" y="0"/>
                  </a:moveTo>
                  <a:cubicBezTo>
                    <a:pt x="33946" y="0"/>
                    <a:pt x="0" y="33946"/>
                    <a:pt x="0" y="75771"/>
                  </a:cubicBezTo>
                  <a:cubicBezTo>
                    <a:pt x="0" y="117597"/>
                    <a:pt x="33946" y="151542"/>
                    <a:pt x="75771" y="151542"/>
                  </a:cubicBezTo>
                  <a:cubicBezTo>
                    <a:pt x="117597" y="151542"/>
                    <a:pt x="151542" y="117597"/>
                    <a:pt x="151542" y="75771"/>
                  </a:cubicBezTo>
                  <a:cubicBezTo>
                    <a:pt x="151542" y="33946"/>
                    <a:pt x="117597" y="0"/>
                    <a:pt x="75771" y="0"/>
                  </a:cubicBezTo>
                  <a:close/>
                  <a:moveTo>
                    <a:pt x="39401" y="127902"/>
                  </a:moveTo>
                  <a:cubicBezTo>
                    <a:pt x="41220" y="107898"/>
                    <a:pt x="59405" y="92744"/>
                    <a:pt x="79408" y="94562"/>
                  </a:cubicBezTo>
                  <a:cubicBezTo>
                    <a:pt x="96987" y="96381"/>
                    <a:pt x="110929" y="110323"/>
                    <a:pt x="112748" y="127902"/>
                  </a:cubicBezTo>
                  <a:cubicBezTo>
                    <a:pt x="90319" y="143056"/>
                    <a:pt x="61223" y="143056"/>
                    <a:pt x="39401" y="127902"/>
                  </a:cubicBezTo>
                  <a:close/>
                  <a:moveTo>
                    <a:pt x="58798" y="65466"/>
                  </a:moveTo>
                  <a:cubicBezTo>
                    <a:pt x="58798" y="56374"/>
                    <a:pt x="66073" y="48494"/>
                    <a:pt x="75771" y="48494"/>
                  </a:cubicBezTo>
                  <a:cubicBezTo>
                    <a:pt x="84864" y="48494"/>
                    <a:pt x="92744" y="55768"/>
                    <a:pt x="92744" y="65466"/>
                  </a:cubicBezTo>
                  <a:cubicBezTo>
                    <a:pt x="92744" y="74559"/>
                    <a:pt x="85470" y="82439"/>
                    <a:pt x="75771" y="82439"/>
                  </a:cubicBezTo>
                  <a:cubicBezTo>
                    <a:pt x="66679" y="82439"/>
                    <a:pt x="58798" y="74559"/>
                    <a:pt x="58798" y="65466"/>
                  </a:cubicBezTo>
                  <a:close/>
                  <a:moveTo>
                    <a:pt x="123052" y="118203"/>
                  </a:moveTo>
                  <a:cubicBezTo>
                    <a:pt x="119415" y="104261"/>
                    <a:pt x="109111" y="92138"/>
                    <a:pt x="95775" y="86076"/>
                  </a:cubicBezTo>
                  <a:cubicBezTo>
                    <a:pt x="107292" y="75165"/>
                    <a:pt x="107898" y="56980"/>
                    <a:pt x="96987" y="44857"/>
                  </a:cubicBezTo>
                  <a:cubicBezTo>
                    <a:pt x="86076" y="33339"/>
                    <a:pt x="67891" y="32733"/>
                    <a:pt x="55768" y="43644"/>
                  </a:cubicBezTo>
                  <a:cubicBezTo>
                    <a:pt x="44250" y="54555"/>
                    <a:pt x="43644" y="72740"/>
                    <a:pt x="54555" y="84864"/>
                  </a:cubicBezTo>
                  <a:cubicBezTo>
                    <a:pt x="55161" y="85470"/>
                    <a:pt x="55768" y="86076"/>
                    <a:pt x="55768" y="86076"/>
                  </a:cubicBezTo>
                  <a:cubicBezTo>
                    <a:pt x="42432" y="92138"/>
                    <a:pt x="32127" y="103655"/>
                    <a:pt x="28490" y="118203"/>
                  </a:cubicBezTo>
                  <a:cubicBezTo>
                    <a:pt x="4849" y="92138"/>
                    <a:pt x="6668" y="52131"/>
                    <a:pt x="32733" y="28490"/>
                  </a:cubicBezTo>
                  <a:cubicBezTo>
                    <a:pt x="58798" y="4849"/>
                    <a:pt x="98806" y="6668"/>
                    <a:pt x="122446" y="32733"/>
                  </a:cubicBezTo>
                  <a:cubicBezTo>
                    <a:pt x="144875" y="56980"/>
                    <a:pt x="144875" y="93956"/>
                    <a:pt x="123052" y="118203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6" name="Freihandform: Form 225">
              <a:extLst>
                <a:ext uri="{FF2B5EF4-FFF2-40B4-BE49-F238E27FC236}">
                  <a16:creationId xmlns:a16="http://schemas.microsoft.com/office/drawing/2014/main" id="{0F35FCFE-7838-46EA-9818-2FD5A482C459}"/>
                </a:ext>
              </a:extLst>
            </p:cNvPr>
            <p:cNvSpPr/>
            <p:nvPr/>
          </p:nvSpPr>
          <p:spPr>
            <a:xfrm>
              <a:off x="6648287" y="5277109"/>
              <a:ext cx="151542" cy="151542"/>
            </a:xfrm>
            <a:custGeom>
              <a:avLst/>
              <a:gdLst>
                <a:gd name="connsiteX0" fmla="*/ 75771 w 151542"/>
                <a:gd name="connsiteY0" fmla="*/ 0 h 151542"/>
                <a:gd name="connsiteX1" fmla="*/ 0 w 151542"/>
                <a:gd name="connsiteY1" fmla="*/ 75771 h 151542"/>
                <a:gd name="connsiteX2" fmla="*/ 75771 w 151542"/>
                <a:gd name="connsiteY2" fmla="*/ 151542 h 151542"/>
                <a:gd name="connsiteX3" fmla="*/ 151542 w 151542"/>
                <a:gd name="connsiteY3" fmla="*/ 75771 h 151542"/>
                <a:gd name="connsiteX4" fmla="*/ 75771 w 151542"/>
                <a:gd name="connsiteY4" fmla="*/ 0 h 151542"/>
                <a:gd name="connsiteX5" fmla="*/ 39401 w 151542"/>
                <a:gd name="connsiteY5" fmla="*/ 127902 h 151542"/>
                <a:gd name="connsiteX6" fmla="*/ 79408 w 151542"/>
                <a:gd name="connsiteY6" fmla="*/ 94562 h 151542"/>
                <a:gd name="connsiteX7" fmla="*/ 112748 w 151542"/>
                <a:gd name="connsiteY7" fmla="*/ 127902 h 151542"/>
                <a:gd name="connsiteX8" fmla="*/ 39401 w 151542"/>
                <a:gd name="connsiteY8" fmla="*/ 127902 h 151542"/>
                <a:gd name="connsiteX9" fmla="*/ 58798 w 151542"/>
                <a:gd name="connsiteY9" fmla="*/ 65466 h 151542"/>
                <a:gd name="connsiteX10" fmla="*/ 75771 w 151542"/>
                <a:gd name="connsiteY10" fmla="*/ 48494 h 151542"/>
                <a:gd name="connsiteX11" fmla="*/ 92744 w 151542"/>
                <a:gd name="connsiteY11" fmla="*/ 65466 h 151542"/>
                <a:gd name="connsiteX12" fmla="*/ 75771 w 151542"/>
                <a:gd name="connsiteY12" fmla="*/ 82439 h 151542"/>
                <a:gd name="connsiteX13" fmla="*/ 58798 w 151542"/>
                <a:gd name="connsiteY13" fmla="*/ 65466 h 151542"/>
                <a:gd name="connsiteX14" fmla="*/ 123052 w 151542"/>
                <a:gd name="connsiteY14" fmla="*/ 118203 h 151542"/>
                <a:gd name="connsiteX15" fmla="*/ 95775 w 151542"/>
                <a:gd name="connsiteY15" fmla="*/ 86076 h 151542"/>
                <a:gd name="connsiteX16" fmla="*/ 96987 w 151542"/>
                <a:gd name="connsiteY16" fmla="*/ 44857 h 151542"/>
                <a:gd name="connsiteX17" fmla="*/ 55768 w 151542"/>
                <a:gd name="connsiteY17" fmla="*/ 43644 h 151542"/>
                <a:gd name="connsiteX18" fmla="*/ 54555 w 151542"/>
                <a:gd name="connsiteY18" fmla="*/ 84864 h 151542"/>
                <a:gd name="connsiteX19" fmla="*/ 55768 w 151542"/>
                <a:gd name="connsiteY19" fmla="*/ 86076 h 151542"/>
                <a:gd name="connsiteX20" fmla="*/ 28490 w 151542"/>
                <a:gd name="connsiteY20" fmla="*/ 118203 h 151542"/>
                <a:gd name="connsiteX21" fmla="*/ 32733 w 151542"/>
                <a:gd name="connsiteY21" fmla="*/ 28490 h 151542"/>
                <a:gd name="connsiteX22" fmla="*/ 122446 w 151542"/>
                <a:gd name="connsiteY22" fmla="*/ 32733 h 151542"/>
                <a:gd name="connsiteX23" fmla="*/ 123052 w 151542"/>
                <a:gd name="connsiteY23" fmla="*/ 118203 h 15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51542" h="151542">
                  <a:moveTo>
                    <a:pt x="75771" y="0"/>
                  </a:moveTo>
                  <a:cubicBezTo>
                    <a:pt x="33946" y="0"/>
                    <a:pt x="0" y="33946"/>
                    <a:pt x="0" y="75771"/>
                  </a:cubicBezTo>
                  <a:cubicBezTo>
                    <a:pt x="0" y="117597"/>
                    <a:pt x="33946" y="151542"/>
                    <a:pt x="75771" y="151542"/>
                  </a:cubicBezTo>
                  <a:cubicBezTo>
                    <a:pt x="117597" y="151542"/>
                    <a:pt x="151542" y="117597"/>
                    <a:pt x="151542" y="75771"/>
                  </a:cubicBezTo>
                  <a:cubicBezTo>
                    <a:pt x="151542" y="33946"/>
                    <a:pt x="117597" y="0"/>
                    <a:pt x="75771" y="0"/>
                  </a:cubicBezTo>
                  <a:close/>
                  <a:moveTo>
                    <a:pt x="39401" y="127902"/>
                  </a:moveTo>
                  <a:cubicBezTo>
                    <a:pt x="41220" y="107898"/>
                    <a:pt x="59405" y="92744"/>
                    <a:pt x="79408" y="94562"/>
                  </a:cubicBezTo>
                  <a:cubicBezTo>
                    <a:pt x="96987" y="96381"/>
                    <a:pt x="110929" y="110323"/>
                    <a:pt x="112748" y="127902"/>
                  </a:cubicBezTo>
                  <a:cubicBezTo>
                    <a:pt x="90319" y="143056"/>
                    <a:pt x="61223" y="143056"/>
                    <a:pt x="39401" y="127902"/>
                  </a:cubicBezTo>
                  <a:close/>
                  <a:moveTo>
                    <a:pt x="58798" y="65466"/>
                  </a:moveTo>
                  <a:cubicBezTo>
                    <a:pt x="58798" y="56374"/>
                    <a:pt x="66073" y="48494"/>
                    <a:pt x="75771" y="48494"/>
                  </a:cubicBezTo>
                  <a:cubicBezTo>
                    <a:pt x="84864" y="48494"/>
                    <a:pt x="92744" y="55768"/>
                    <a:pt x="92744" y="65466"/>
                  </a:cubicBezTo>
                  <a:cubicBezTo>
                    <a:pt x="92744" y="74559"/>
                    <a:pt x="85470" y="82439"/>
                    <a:pt x="75771" y="82439"/>
                  </a:cubicBezTo>
                  <a:cubicBezTo>
                    <a:pt x="66679" y="82439"/>
                    <a:pt x="58798" y="74559"/>
                    <a:pt x="58798" y="65466"/>
                  </a:cubicBezTo>
                  <a:close/>
                  <a:moveTo>
                    <a:pt x="123052" y="118203"/>
                  </a:moveTo>
                  <a:cubicBezTo>
                    <a:pt x="119415" y="104261"/>
                    <a:pt x="109111" y="92138"/>
                    <a:pt x="95775" y="86076"/>
                  </a:cubicBezTo>
                  <a:cubicBezTo>
                    <a:pt x="107292" y="75165"/>
                    <a:pt x="107898" y="56980"/>
                    <a:pt x="96987" y="44857"/>
                  </a:cubicBezTo>
                  <a:cubicBezTo>
                    <a:pt x="86076" y="33339"/>
                    <a:pt x="67891" y="32733"/>
                    <a:pt x="55768" y="43644"/>
                  </a:cubicBezTo>
                  <a:cubicBezTo>
                    <a:pt x="43644" y="54555"/>
                    <a:pt x="43644" y="72740"/>
                    <a:pt x="54555" y="84864"/>
                  </a:cubicBezTo>
                  <a:cubicBezTo>
                    <a:pt x="55161" y="85470"/>
                    <a:pt x="55768" y="86076"/>
                    <a:pt x="55768" y="86076"/>
                  </a:cubicBezTo>
                  <a:cubicBezTo>
                    <a:pt x="42432" y="92138"/>
                    <a:pt x="32127" y="103655"/>
                    <a:pt x="28490" y="118203"/>
                  </a:cubicBezTo>
                  <a:cubicBezTo>
                    <a:pt x="4849" y="92138"/>
                    <a:pt x="6668" y="52131"/>
                    <a:pt x="32733" y="28490"/>
                  </a:cubicBezTo>
                  <a:cubicBezTo>
                    <a:pt x="58798" y="4849"/>
                    <a:pt x="98806" y="6668"/>
                    <a:pt x="122446" y="32733"/>
                  </a:cubicBezTo>
                  <a:cubicBezTo>
                    <a:pt x="144875" y="56980"/>
                    <a:pt x="144875" y="93956"/>
                    <a:pt x="123052" y="118203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7" name="Freihandform: Form 226">
              <a:extLst>
                <a:ext uri="{FF2B5EF4-FFF2-40B4-BE49-F238E27FC236}">
                  <a16:creationId xmlns:a16="http://schemas.microsoft.com/office/drawing/2014/main" id="{9E20ECEB-E5B1-4424-A67C-7C6E060598AC}"/>
                </a:ext>
              </a:extLst>
            </p:cNvPr>
            <p:cNvSpPr/>
            <p:nvPr/>
          </p:nvSpPr>
          <p:spPr>
            <a:xfrm>
              <a:off x="6496745" y="5016456"/>
              <a:ext cx="187912" cy="187912"/>
            </a:xfrm>
            <a:custGeom>
              <a:avLst/>
              <a:gdLst>
                <a:gd name="connsiteX0" fmla="*/ 93956 w 187912"/>
                <a:gd name="connsiteY0" fmla="*/ 0 h 187912"/>
                <a:gd name="connsiteX1" fmla="*/ 0 w 187912"/>
                <a:gd name="connsiteY1" fmla="*/ 93956 h 187912"/>
                <a:gd name="connsiteX2" fmla="*/ 93956 w 187912"/>
                <a:gd name="connsiteY2" fmla="*/ 187913 h 187912"/>
                <a:gd name="connsiteX3" fmla="*/ 187913 w 187912"/>
                <a:gd name="connsiteY3" fmla="*/ 93956 h 187912"/>
                <a:gd name="connsiteX4" fmla="*/ 93956 w 187912"/>
                <a:gd name="connsiteY4" fmla="*/ 0 h 187912"/>
                <a:gd name="connsiteX5" fmla="*/ 46069 w 187912"/>
                <a:gd name="connsiteY5" fmla="*/ 160029 h 187912"/>
                <a:gd name="connsiteX6" fmla="*/ 97593 w 187912"/>
                <a:gd name="connsiteY6" fmla="*/ 115778 h 187912"/>
                <a:gd name="connsiteX7" fmla="*/ 141844 w 187912"/>
                <a:gd name="connsiteY7" fmla="*/ 160029 h 187912"/>
                <a:gd name="connsiteX8" fmla="*/ 46069 w 187912"/>
                <a:gd name="connsiteY8" fmla="*/ 160029 h 187912"/>
                <a:gd name="connsiteX9" fmla="*/ 70922 w 187912"/>
                <a:gd name="connsiteY9" fmla="*/ 80621 h 187912"/>
                <a:gd name="connsiteX10" fmla="*/ 93956 w 187912"/>
                <a:gd name="connsiteY10" fmla="*/ 57586 h 187912"/>
                <a:gd name="connsiteX11" fmla="*/ 116991 w 187912"/>
                <a:gd name="connsiteY11" fmla="*/ 80621 h 187912"/>
                <a:gd name="connsiteX12" fmla="*/ 93956 w 187912"/>
                <a:gd name="connsiteY12" fmla="*/ 103655 h 187912"/>
                <a:gd name="connsiteX13" fmla="*/ 70922 w 187912"/>
                <a:gd name="connsiteY13" fmla="*/ 80621 h 187912"/>
                <a:gd name="connsiteX14" fmla="*/ 70922 w 187912"/>
                <a:gd name="connsiteY14" fmla="*/ 80621 h 187912"/>
                <a:gd name="connsiteX15" fmla="*/ 152755 w 187912"/>
                <a:gd name="connsiteY15" fmla="*/ 149724 h 187912"/>
                <a:gd name="connsiteX16" fmla="*/ 116385 w 187912"/>
                <a:gd name="connsiteY16" fmla="*/ 107898 h 187912"/>
                <a:gd name="connsiteX17" fmla="*/ 121234 w 187912"/>
                <a:gd name="connsiteY17" fmla="*/ 58798 h 187912"/>
                <a:gd name="connsiteX18" fmla="*/ 72134 w 187912"/>
                <a:gd name="connsiteY18" fmla="*/ 53949 h 187912"/>
                <a:gd name="connsiteX19" fmla="*/ 66679 w 187912"/>
                <a:gd name="connsiteY19" fmla="*/ 103049 h 187912"/>
                <a:gd name="connsiteX20" fmla="*/ 71528 w 187912"/>
                <a:gd name="connsiteY20" fmla="*/ 107898 h 187912"/>
                <a:gd name="connsiteX21" fmla="*/ 35158 w 187912"/>
                <a:gd name="connsiteY21" fmla="*/ 150936 h 187912"/>
                <a:gd name="connsiteX22" fmla="*/ 36976 w 187912"/>
                <a:gd name="connsiteY22" fmla="*/ 35158 h 187912"/>
                <a:gd name="connsiteX23" fmla="*/ 152755 w 187912"/>
                <a:gd name="connsiteY23" fmla="*/ 36976 h 187912"/>
                <a:gd name="connsiteX24" fmla="*/ 152755 w 187912"/>
                <a:gd name="connsiteY24" fmla="*/ 150936 h 187912"/>
                <a:gd name="connsiteX25" fmla="*/ 152755 w 187912"/>
                <a:gd name="connsiteY25" fmla="*/ 149724 h 187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87912" h="187912">
                  <a:moveTo>
                    <a:pt x="93956" y="0"/>
                  </a:moveTo>
                  <a:cubicBezTo>
                    <a:pt x="41826" y="0"/>
                    <a:pt x="0" y="41826"/>
                    <a:pt x="0" y="93956"/>
                  </a:cubicBezTo>
                  <a:cubicBezTo>
                    <a:pt x="0" y="146087"/>
                    <a:pt x="41826" y="187913"/>
                    <a:pt x="93956" y="187913"/>
                  </a:cubicBezTo>
                  <a:cubicBezTo>
                    <a:pt x="146087" y="187913"/>
                    <a:pt x="187913" y="146087"/>
                    <a:pt x="187913" y="93956"/>
                  </a:cubicBezTo>
                  <a:cubicBezTo>
                    <a:pt x="187913" y="41826"/>
                    <a:pt x="146087" y="0"/>
                    <a:pt x="93956" y="0"/>
                  </a:cubicBezTo>
                  <a:close/>
                  <a:moveTo>
                    <a:pt x="46069" y="160029"/>
                  </a:moveTo>
                  <a:cubicBezTo>
                    <a:pt x="47887" y="133357"/>
                    <a:pt x="70922" y="113960"/>
                    <a:pt x="97593" y="115778"/>
                  </a:cubicBezTo>
                  <a:cubicBezTo>
                    <a:pt x="121234" y="117597"/>
                    <a:pt x="140025" y="136388"/>
                    <a:pt x="141844" y="160029"/>
                  </a:cubicBezTo>
                  <a:cubicBezTo>
                    <a:pt x="113354" y="181245"/>
                    <a:pt x="74559" y="181245"/>
                    <a:pt x="46069" y="160029"/>
                  </a:cubicBezTo>
                  <a:close/>
                  <a:moveTo>
                    <a:pt x="70922" y="80621"/>
                  </a:moveTo>
                  <a:cubicBezTo>
                    <a:pt x="70922" y="67891"/>
                    <a:pt x="81227" y="57586"/>
                    <a:pt x="93956" y="57586"/>
                  </a:cubicBezTo>
                  <a:cubicBezTo>
                    <a:pt x="106686" y="57586"/>
                    <a:pt x="116991" y="67891"/>
                    <a:pt x="116991" y="80621"/>
                  </a:cubicBezTo>
                  <a:cubicBezTo>
                    <a:pt x="116991" y="93350"/>
                    <a:pt x="106686" y="103655"/>
                    <a:pt x="93956" y="103655"/>
                  </a:cubicBezTo>
                  <a:cubicBezTo>
                    <a:pt x="81227" y="103655"/>
                    <a:pt x="70922" y="93350"/>
                    <a:pt x="70922" y="80621"/>
                  </a:cubicBezTo>
                  <a:lnTo>
                    <a:pt x="70922" y="80621"/>
                  </a:lnTo>
                  <a:close/>
                  <a:moveTo>
                    <a:pt x="152755" y="149724"/>
                  </a:moveTo>
                  <a:cubicBezTo>
                    <a:pt x="148512" y="130327"/>
                    <a:pt x="134570" y="114566"/>
                    <a:pt x="116385" y="107898"/>
                  </a:cubicBezTo>
                  <a:cubicBezTo>
                    <a:pt x="131539" y="95775"/>
                    <a:pt x="133357" y="73953"/>
                    <a:pt x="121234" y="58798"/>
                  </a:cubicBezTo>
                  <a:cubicBezTo>
                    <a:pt x="109111" y="43644"/>
                    <a:pt x="87288" y="41826"/>
                    <a:pt x="72134" y="53949"/>
                  </a:cubicBezTo>
                  <a:cubicBezTo>
                    <a:pt x="56980" y="66073"/>
                    <a:pt x="54555" y="87895"/>
                    <a:pt x="66679" y="103049"/>
                  </a:cubicBezTo>
                  <a:cubicBezTo>
                    <a:pt x="67891" y="104867"/>
                    <a:pt x="69710" y="106686"/>
                    <a:pt x="71528" y="107898"/>
                  </a:cubicBezTo>
                  <a:cubicBezTo>
                    <a:pt x="52737" y="115172"/>
                    <a:pt x="39401" y="131539"/>
                    <a:pt x="35158" y="150936"/>
                  </a:cubicBezTo>
                  <a:cubicBezTo>
                    <a:pt x="3637" y="118809"/>
                    <a:pt x="4243" y="66679"/>
                    <a:pt x="36976" y="35158"/>
                  </a:cubicBezTo>
                  <a:cubicBezTo>
                    <a:pt x="69710" y="3637"/>
                    <a:pt x="121234" y="4243"/>
                    <a:pt x="152755" y="36976"/>
                  </a:cubicBezTo>
                  <a:cubicBezTo>
                    <a:pt x="183669" y="68497"/>
                    <a:pt x="183669" y="119415"/>
                    <a:pt x="152755" y="150936"/>
                  </a:cubicBezTo>
                  <a:cubicBezTo>
                    <a:pt x="152755" y="150936"/>
                    <a:pt x="152755" y="150330"/>
                    <a:pt x="152755" y="149724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28" name="Grafik 49" descr="Mann Silhouette">
            <a:extLst>
              <a:ext uri="{FF2B5EF4-FFF2-40B4-BE49-F238E27FC236}">
                <a16:creationId xmlns:a16="http://schemas.microsoft.com/office/drawing/2014/main" id="{EE16AE74-0A83-440A-84AC-43356647E457}"/>
              </a:ext>
            </a:extLst>
          </p:cNvPr>
          <p:cNvGrpSpPr/>
          <p:nvPr/>
        </p:nvGrpSpPr>
        <p:grpSpPr>
          <a:xfrm>
            <a:off x="2407473" y="4949778"/>
            <a:ext cx="230324" cy="545552"/>
            <a:chOff x="2407473" y="4949778"/>
            <a:chExt cx="230324" cy="545552"/>
          </a:xfrm>
          <a:solidFill>
            <a:schemeClr val="tx1"/>
          </a:solidFill>
        </p:grpSpPr>
        <p:sp>
          <p:nvSpPr>
            <p:cNvPr id="229" name="Freihandform: Form 228">
              <a:extLst>
                <a:ext uri="{FF2B5EF4-FFF2-40B4-BE49-F238E27FC236}">
                  <a16:creationId xmlns:a16="http://schemas.microsoft.com/office/drawing/2014/main" id="{442FA4F4-B8CB-4827-B007-BB55FD9539AC}"/>
                </a:ext>
              </a:extLst>
            </p:cNvPr>
            <p:cNvSpPr/>
            <p:nvPr/>
          </p:nvSpPr>
          <p:spPr>
            <a:xfrm>
              <a:off x="2462029" y="5137690"/>
              <a:ext cx="121233" cy="357640"/>
            </a:xfrm>
            <a:custGeom>
              <a:avLst/>
              <a:gdLst>
                <a:gd name="connsiteX0" fmla="*/ 113845 w 121233"/>
                <a:gd name="connsiteY0" fmla="*/ 0 h 357640"/>
                <a:gd name="connsiteX1" fmla="*/ 113845 w 121233"/>
                <a:gd name="connsiteY1" fmla="*/ 0 h 357640"/>
                <a:gd name="connsiteX2" fmla="*/ 107783 w 121233"/>
                <a:gd name="connsiteY2" fmla="*/ 6062 h 357640"/>
                <a:gd name="connsiteX3" fmla="*/ 109111 w 121233"/>
                <a:gd name="connsiteY3" fmla="*/ 345517 h 357640"/>
                <a:gd name="connsiteX4" fmla="*/ 66679 w 121233"/>
                <a:gd name="connsiteY4" fmla="*/ 345517 h 357640"/>
                <a:gd name="connsiteX5" fmla="*/ 66679 w 121233"/>
                <a:gd name="connsiteY5" fmla="*/ 139419 h 357640"/>
                <a:gd name="connsiteX6" fmla="*/ 54555 w 121233"/>
                <a:gd name="connsiteY6" fmla="*/ 139419 h 357640"/>
                <a:gd name="connsiteX7" fmla="*/ 54555 w 121233"/>
                <a:gd name="connsiteY7" fmla="*/ 345517 h 357640"/>
                <a:gd name="connsiteX8" fmla="*/ 12123 w 121233"/>
                <a:gd name="connsiteY8" fmla="*/ 345517 h 357640"/>
                <a:gd name="connsiteX9" fmla="*/ 12123 w 121233"/>
                <a:gd name="connsiteY9" fmla="*/ 6062 h 357640"/>
                <a:gd name="connsiteX10" fmla="*/ 6062 w 121233"/>
                <a:gd name="connsiteY10" fmla="*/ 0 h 357640"/>
                <a:gd name="connsiteX11" fmla="*/ 0 w 121233"/>
                <a:gd name="connsiteY11" fmla="*/ 6062 h 357640"/>
                <a:gd name="connsiteX12" fmla="*/ 0 w 121233"/>
                <a:gd name="connsiteY12" fmla="*/ 357640 h 357640"/>
                <a:gd name="connsiteX13" fmla="*/ 121234 w 121233"/>
                <a:gd name="connsiteY13" fmla="*/ 357640 h 357640"/>
                <a:gd name="connsiteX14" fmla="*/ 119882 w 121233"/>
                <a:gd name="connsiteY14" fmla="*/ 6062 h 357640"/>
                <a:gd name="connsiteX15" fmla="*/ 113845 w 121233"/>
                <a:gd name="connsiteY15" fmla="*/ 0 h 357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233" h="357640">
                  <a:moveTo>
                    <a:pt x="113845" y="0"/>
                  </a:moveTo>
                  <a:lnTo>
                    <a:pt x="113845" y="0"/>
                  </a:lnTo>
                  <a:cubicBezTo>
                    <a:pt x="110497" y="0"/>
                    <a:pt x="107783" y="2714"/>
                    <a:pt x="107783" y="6062"/>
                  </a:cubicBezTo>
                  <a:lnTo>
                    <a:pt x="109111" y="345517"/>
                  </a:lnTo>
                  <a:lnTo>
                    <a:pt x="66679" y="345517"/>
                  </a:lnTo>
                  <a:lnTo>
                    <a:pt x="66679" y="139419"/>
                  </a:lnTo>
                  <a:lnTo>
                    <a:pt x="54555" y="139419"/>
                  </a:lnTo>
                  <a:lnTo>
                    <a:pt x="54555" y="345517"/>
                  </a:lnTo>
                  <a:lnTo>
                    <a:pt x="12123" y="345517"/>
                  </a:lnTo>
                  <a:lnTo>
                    <a:pt x="12123" y="6062"/>
                  </a:lnTo>
                  <a:cubicBezTo>
                    <a:pt x="12123" y="2714"/>
                    <a:pt x="9410" y="0"/>
                    <a:pt x="6062" y="0"/>
                  </a:cubicBezTo>
                  <a:cubicBezTo>
                    <a:pt x="2714" y="0"/>
                    <a:pt x="0" y="2714"/>
                    <a:pt x="0" y="6062"/>
                  </a:cubicBezTo>
                  <a:lnTo>
                    <a:pt x="0" y="357640"/>
                  </a:lnTo>
                  <a:lnTo>
                    <a:pt x="121234" y="357640"/>
                  </a:lnTo>
                  <a:lnTo>
                    <a:pt x="119882" y="6062"/>
                  </a:lnTo>
                  <a:cubicBezTo>
                    <a:pt x="119882" y="2724"/>
                    <a:pt x="117183" y="13"/>
                    <a:pt x="113845" y="0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0" name="Freihandform: Form 229">
              <a:extLst>
                <a:ext uri="{FF2B5EF4-FFF2-40B4-BE49-F238E27FC236}">
                  <a16:creationId xmlns:a16="http://schemas.microsoft.com/office/drawing/2014/main" id="{A8AE72C6-92A7-4C24-B77E-5BA839782E8A}"/>
                </a:ext>
              </a:extLst>
            </p:cNvPr>
            <p:cNvSpPr/>
            <p:nvPr/>
          </p:nvSpPr>
          <p:spPr>
            <a:xfrm>
              <a:off x="2474152" y="4949778"/>
              <a:ext cx="96987" cy="96987"/>
            </a:xfrm>
            <a:custGeom>
              <a:avLst/>
              <a:gdLst>
                <a:gd name="connsiteX0" fmla="*/ 48494 w 96987"/>
                <a:gd name="connsiteY0" fmla="*/ 96987 h 96987"/>
                <a:gd name="connsiteX1" fmla="*/ 96987 w 96987"/>
                <a:gd name="connsiteY1" fmla="*/ 48494 h 96987"/>
                <a:gd name="connsiteX2" fmla="*/ 48494 w 96987"/>
                <a:gd name="connsiteY2" fmla="*/ 0 h 96987"/>
                <a:gd name="connsiteX3" fmla="*/ 0 w 96987"/>
                <a:gd name="connsiteY3" fmla="*/ 48494 h 96987"/>
                <a:gd name="connsiteX4" fmla="*/ 48494 w 96987"/>
                <a:gd name="connsiteY4" fmla="*/ 96987 h 96987"/>
                <a:gd name="connsiteX5" fmla="*/ 48494 w 96987"/>
                <a:gd name="connsiteY5" fmla="*/ 12123 h 96987"/>
                <a:gd name="connsiteX6" fmla="*/ 84864 w 96987"/>
                <a:gd name="connsiteY6" fmla="*/ 48494 h 96987"/>
                <a:gd name="connsiteX7" fmla="*/ 48494 w 96987"/>
                <a:gd name="connsiteY7" fmla="*/ 84864 h 96987"/>
                <a:gd name="connsiteX8" fmla="*/ 12123 w 96987"/>
                <a:gd name="connsiteY8" fmla="*/ 48494 h 96987"/>
                <a:gd name="connsiteX9" fmla="*/ 48494 w 96987"/>
                <a:gd name="connsiteY9" fmla="*/ 12123 h 96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6987" h="96987">
                  <a:moveTo>
                    <a:pt x="48494" y="96987"/>
                  </a:moveTo>
                  <a:cubicBezTo>
                    <a:pt x="75276" y="96987"/>
                    <a:pt x="96987" y="75276"/>
                    <a:pt x="96987" y="48494"/>
                  </a:cubicBezTo>
                  <a:cubicBezTo>
                    <a:pt x="96987" y="21711"/>
                    <a:pt x="75276" y="0"/>
                    <a:pt x="48494" y="0"/>
                  </a:cubicBezTo>
                  <a:cubicBezTo>
                    <a:pt x="21711" y="0"/>
                    <a:pt x="0" y="21711"/>
                    <a:pt x="0" y="48494"/>
                  </a:cubicBezTo>
                  <a:cubicBezTo>
                    <a:pt x="30" y="75263"/>
                    <a:pt x="21724" y="96957"/>
                    <a:pt x="48494" y="96987"/>
                  </a:cubicBezTo>
                  <a:close/>
                  <a:moveTo>
                    <a:pt x="48494" y="12123"/>
                  </a:moveTo>
                  <a:cubicBezTo>
                    <a:pt x="68580" y="12123"/>
                    <a:pt x="84864" y="28407"/>
                    <a:pt x="84864" y="48494"/>
                  </a:cubicBezTo>
                  <a:cubicBezTo>
                    <a:pt x="84864" y="68580"/>
                    <a:pt x="68580" y="84864"/>
                    <a:pt x="48494" y="84864"/>
                  </a:cubicBezTo>
                  <a:cubicBezTo>
                    <a:pt x="28407" y="84864"/>
                    <a:pt x="12123" y="68580"/>
                    <a:pt x="12123" y="48494"/>
                  </a:cubicBezTo>
                  <a:cubicBezTo>
                    <a:pt x="12143" y="28415"/>
                    <a:pt x="28415" y="12143"/>
                    <a:pt x="48494" y="12123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1" name="Freihandform: Form 230">
              <a:extLst>
                <a:ext uri="{FF2B5EF4-FFF2-40B4-BE49-F238E27FC236}">
                  <a16:creationId xmlns:a16="http://schemas.microsoft.com/office/drawing/2014/main" id="{F1105E64-8C4D-4308-B611-B9FA38667ADE}"/>
                </a:ext>
              </a:extLst>
            </p:cNvPr>
            <p:cNvSpPr/>
            <p:nvPr/>
          </p:nvSpPr>
          <p:spPr>
            <a:xfrm>
              <a:off x="2407473" y="5058888"/>
              <a:ext cx="230324" cy="224283"/>
            </a:xfrm>
            <a:custGeom>
              <a:avLst/>
              <a:gdLst>
                <a:gd name="connsiteX0" fmla="*/ 230085 w 230324"/>
                <a:gd name="connsiteY0" fmla="*/ 192423 h 224283"/>
                <a:gd name="connsiteX1" fmla="*/ 211033 w 230324"/>
                <a:gd name="connsiteY1" fmla="*/ 57350 h 224283"/>
                <a:gd name="connsiteX2" fmla="*/ 206984 w 230324"/>
                <a:gd name="connsiteY2" fmla="*/ 44293 h 224283"/>
                <a:gd name="connsiteX3" fmla="*/ 202231 w 230324"/>
                <a:gd name="connsiteY3" fmla="*/ 37395 h 224283"/>
                <a:gd name="connsiteX4" fmla="*/ 153828 w 230324"/>
                <a:gd name="connsiteY4" fmla="*/ 6365 h 224283"/>
                <a:gd name="connsiteX5" fmla="*/ 115779 w 230324"/>
                <a:gd name="connsiteY5" fmla="*/ 1 h 224283"/>
                <a:gd name="connsiteX6" fmla="*/ 114530 w 230324"/>
                <a:gd name="connsiteY6" fmla="*/ 1 h 224283"/>
                <a:gd name="connsiteX7" fmla="*/ 76590 w 230324"/>
                <a:gd name="connsiteY7" fmla="*/ 6335 h 224283"/>
                <a:gd name="connsiteX8" fmla="*/ 27885 w 230324"/>
                <a:gd name="connsiteY8" fmla="*/ 37662 h 224283"/>
                <a:gd name="connsiteX9" fmla="*/ 23369 w 230324"/>
                <a:gd name="connsiteY9" fmla="*/ 44293 h 224283"/>
                <a:gd name="connsiteX10" fmla="*/ 19319 w 230324"/>
                <a:gd name="connsiteY10" fmla="*/ 57356 h 224283"/>
                <a:gd name="connsiteX11" fmla="*/ 231 w 230324"/>
                <a:gd name="connsiteY11" fmla="*/ 192702 h 224283"/>
                <a:gd name="connsiteX12" fmla="*/ 15767 w 230324"/>
                <a:gd name="connsiteY12" fmla="*/ 223799 h 224283"/>
                <a:gd name="connsiteX13" fmla="*/ 18137 w 230324"/>
                <a:gd name="connsiteY13" fmla="*/ 224283 h 224283"/>
                <a:gd name="connsiteX14" fmla="*/ 24200 w 230324"/>
                <a:gd name="connsiteY14" fmla="*/ 218222 h 224283"/>
                <a:gd name="connsiteX15" fmla="*/ 20514 w 230324"/>
                <a:gd name="connsiteY15" fmla="*/ 212645 h 224283"/>
                <a:gd name="connsiteX16" fmla="*/ 12270 w 230324"/>
                <a:gd name="connsiteY16" fmla="*/ 194114 h 224283"/>
                <a:gd name="connsiteX17" fmla="*/ 31315 w 230324"/>
                <a:gd name="connsiteY17" fmla="*/ 59054 h 224283"/>
                <a:gd name="connsiteX18" fmla="*/ 33995 w 230324"/>
                <a:gd name="connsiteY18" fmla="*/ 50119 h 224283"/>
                <a:gd name="connsiteX19" fmla="*/ 36959 w 230324"/>
                <a:gd name="connsiteY19" fmla="*/ 45688 h 224283"/>
                <a:gd name="connsiteX20" fmla="*/ 80530 w 230324"/>
                <a:gd name="connsiteY20" fmla="*/ 17804 h 224283"/>
                <a:gd name="connsiteX21" fmla="*/ 113918 w 230324"/>
                <a:gd name="connsiteY21" fmla="*/ 12124 h 224283"/>
                <a:gd name="connsiteX22" fmla="*/ 114524 w 230324"/>
                <a:gd name="connsiteY22" fmla="*/ 12124 h 224283"/>
                <a:gd name="connsiteX23" fmla="*/ 115173 w 230324"/>
                <a:gd name="connsiteY23" fmla="*/ 11991 h 224283"/>
                <a:gd name="connsiteX24" fmla="*/ 115828 w 230324"/>
                <a:gd name="connsiteY24" fmla="*/ 12124 h 224283"/>
                <a:gd name="connsiteX25" fmla="*/ 115864 w 230324"/>
                <a:gd name="connsiteY25" fmla="*/ 12124 h 224283"/>
                <a:gd name="connsiteX26" fmla="*/ 149907 w 230324"/>
                <a:gd name="connsiteY26" fmla="*/ 17840 h 224283"/>
                <a:gd name="connsiteX27" fmla="*/ 193157 w 230324"/>
                <a:gd name="connsiteY27" fmla="*/ 45421 h 224283"/>
                <a:gd name="connsiteX28" fmla="*/ 196351 w 230324"/>
                <a:gd name="connsiteY28" fmla="*/ 50119 h 224283"/>
                <a:gd name="connsiteX29" fmla="*/ 199031 w 230324"/>
                <a:gd name="connsiteY29" fmla="*/ 59048 h 224283"/>
                <a:gd name="connsiteX30" fmla="*/ 218046 w 230324"/>
                <a:gd name="connsiteY30" fmla="*/ 193836 h 224283"/>
                <a:gd name="connsiteX31" fmla="*/ 209833 w 230324"/>
                <a:gd name="connsiteY31" fmla="*/ 212627 h 224283"/>
                <a:gd name="connsiteX32" fmla="*/ 206570 w 230324"/>
                <a:gd name="connsiteY32" fmla="*/ 220554 h 224283"/>
                <a:gd name="connsiteX33" fmla="*/ 212209 w 230324"/>
                <a:gd name="connsiteY33" fmla="*/ 224283 h 224283"/>
                <a:gd name="connsiteX34" fmla="*/ 214579 w 230324"/>
                <a:gd name="connsiteY34" fmla="*/ 223799 h 224283"/>
                <a:gd name="connsiteX35" fmla="*/ 230085 w 230324"/>
                <a:gd name="connsiteY35" fmla="*/ 192423 h 224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30324" h="224283">
                  <a:moveTo>
                    <a:pt x="230085" y="192423"/>
                  </a:moveTo>
                  <a:lnTo>
                    <a:pt x="211033" y="57350"/>
                  </a:lnTo>
                  <a:cubicBezTo>
                    <a:pt x="210488" y="52788"/>
                    <a:pt x="209116" y="48363"/>
                    <a:pt x="206984" y="44293"/>
                  </a:cubicBezTo>
                  <a:cubicBezTo>
                    <a:pt x="205636" y="41840"/>
                    <a:pt x="204044" y="39528"/>
                    <a:pt x="202231" y="37395"/>
                  </a:cubicBezTo>
                  <a:cubicBezTo>
                    <a:pt x="188913" y="23207"/>
                    <a:pt x="172281" y="12545"/>
                    <a:pt x="153828" y="6365"/>
                  </a:cubicBezTo>
                  <a:cubicBezTo>
                    <a:pt x="141594" y="2116"/>
                    <a:pt x="128730" y="-36"/>
                    <a:pt x="115779" y="1"/>
                  </a:cubicBezTo>
                  <a:cubicBezTo>
                    <a:pt x="115380" y="170"/>
                    <a:pt x="114929" y="170"/>
                    <a:pt x="114530" y="1"/>
                  </a:cubicBezTo>
                  <a:cubicBezTo>
                    <a:pt x="101617" y="-43"/>
                    <a:pt x="88789" y="2099"/>
                    <a:pt x="76590" y="6335"/>
                  </a:cubicBezTo>
                  <a:cubicBezTo>
                    <a:pt x="58003" y="12565"/>
                    <a:pt x="41263" y="23333"/>
                    <a:pt x="27885" y="37662"/>
                  </a:cubicBezTo>
                  <a:cubicBezTo>
                    <a:pt x="26167" y="39721"/>
                    <a:pt x="24655" y="41942"/>
                    <a:pt x="23369" y="44293"/>
                  </a:cubicBezTo>
                  <a:cubicBezTo>
                    <a:pt x="21236" y="48365"/>
                    <a:pt x="19863" y="52792"/>
                    <a:pt x="19319" y="57356"/>
                  </a:cubicBezTo>
                  <a:lnTo>
                    <a:pt x="231" y="192702"/>
                  </a:lnTo>
                  <a:cubicBezTo>
                    <a:pt x="-1587" y="212166"/>
                    <a:pt x="7675" y="220356"/>
                    <a:pt x="15767" y="223799"/>
                  </a:cubicBezTo>
                  <a:cubicBezTo>
                    <a:pt x="16516" y="224120"/>
                    <a:pt x="17323" y="224285"/>
                    <a:pt x="18137" y="224283"/>
                  </a:cubicBezTo>
                  <a:cubicBezTo>
                    <a:pt x="21485" y="224283"/>
                    <a:pt x="24199" y="221570"/>
                    <a:pt x="24200" y="218222"/>
                  </a:cubicBezTo>
                  <a:cubicBezTo>
                    <a:pt x="24200" y="215792"/>
                    <a:pt x="22749" y="213597"/>
                    <a:pt x="20514" y="212645"/>
                  </a:cubicBezTo>
                  <a:cubicBezTo>
                    <a:pt x="16398" y="210893"/>
                    <a:pt x="11063" y="207038"/>
                    <a:pt x="12270" y="194114"/>
                  </a:cubicBezTo>
                  <a:lnTo>
                    <a:pt x="31315" y="59054"/>
                  </a:lnTo>
                  <a:cubicBezTo>
                    <a:pt x="31664" y="55939"/>
                    <a:pt x="32571" y="52912"/>
                    <a:pt x="33995" y="50119"/>
                  </a:cubicBezTo>
                  <a:cubicBezTo>
                    <a:pt x="34847" y="48555"/>
                    <a:pt x="35839" y="47072"/>
                    <a:pt x="36959" y="45688"/>
                  </a:cubicBezTo>
                  <a:cubicBezTo>
                    <a:pt x="48945" y="32924"/>
                    <a:pt x="63919" y="23341"/>
                    <a:pt x="80530" y="17804"/>
                  </a:cubicBezTo>
                  <a:cubicBezTo>
                    <a:pt x="91259" y="14038"/>
                    <a:pt x="102548" y="12117"/>
                    <a:pt x="113918" y="12124"/>
                  </a:cubicBezTo>
                  <a:cubicBezTo>
                    <a:pt x="114118" y="12124"/>
                    <a:pt x="114318" y="12124"/>
                    <a:pt x="114524" y="12124"/>
                  </a:cubicBezTo>
                  <a:cubicBezTo>
                    <a:pt x="114743" y="12092"/>
                    <a:pt x="114960" y="12047"/>
                    <a:pt x="115173" y="11991"/>
                  </a:cubicBezTo>
                  <a:cubicBezTo>
                    <a:pt x="115389" y="12047"/>
                    <a:pt x="115607" y="12092"/>
                    <a:pt x="115828" y="12124"/>
                  </a:cubicBezTo>
                  <a:lnTo>
                    <a:pt x="115864" y="12124"/>
                  </a:lnTo>
                  <a:cubicBezTo>
                    <a:pt x="127455" y="12068"/>
                    <a:pt x="138969" y="14001"/>
                    <a:pt x="149907" y="17840"/>
                  </a:cubicBezTo>
                  <a:cubicBezTo>
                    <a:pt x="166376" y="23328"/>
                    <a:pt x="181233" y="32804"/>
                    <a:pt x="193157" y="45421"/>
                  </a:cubicBezTo>
                  <a:cubicBezTo>
                    <a:pt x="194370" y="46881"/>
                    <a:pt x="195440" y="48454"/>
                    <a:pt x="196351" y="50119"/>
                  </a:cubicBezTo>
                  <a:cubicBezTo>
                    <a:pt x="197774" y="52910"/>
                    <a:pt x="198681" y="55934"/>
                    <a:pt x="199031" y="59048"/>
                  </a:cubicBezTo>
                  <a:lnTo>
                    <a:pt x="218046" y="193836"/>
                  </a:lnTo>
                  <a:cubicBezTo>
                    <a:pt x="219258" y="207038"/>
                    <a:pt x="213948" y="210893"/>
                    <a:pt x="209833" y="212627"/>
                  </a:cubicBezTo>
                  <a:cubicBezTo>
                    <a:pt x="206742" y="213915"/>
                    <a:pt x="205281" y="217464"/>
                    <a:pt x="206570" y="220554"/>
                  </a:cubicBezTo>
                  <a:cubicBezTo>
                    <a:pt x="207517" y="222827"/>
                    <a:pt x="209746" y="224301"/>
                    <a:pt x="212209" y="224283"/>
                  </a:cubicBezTo>
                  <a:cubicBezTo>
                    <a:pt x="213023" y="224285"/>
                    <a:pt x="213830" y="224120"/>
                    <a:pt x="214579" y="223799"/>
                  </a:cubicBezTo>
                  <a:cubicBezTo>
                    <a:pt x="222671" y="220356"/>
                    <a:pt x="231940" y="212160"/>
                    <a:pt x="230085" y="192423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32" name="Grafik 50" descr="Benutzer Silhouette">
            <a:extLst>
              <a:ext uri="{FF2B5EF4-FFF2-40B4-BE49-F238E27FC236}">
                <a16:creationId xmlns:a16="http://schemas.microsoft.com/office/drawing/2014/main" id="{185D3175-78C9-4C17-858D-0D24750316BF}"/>
              </a:ext>
            </a:extLst>
          </p:cNvPr>
          <p:cNvGrpSpPr/>
          <p:nvPr/>
        </p:nvGrpSpPr>
        <p:grpSpPr>
          <a:xfrm>
            <a:off x="1310900" y="5016456"/>
            <a:ext cx="387948" cy="412195"/>
            <a:chOff x="1310900" y="5016456"/>
            <a:chExt cx="387948" cy="412195"/>
          </a:xfrm>
          <a:solidFill>
            <a:schemeClr val="tx1"/>
          </a:solidFill>
        </p:grpSpPr>
        <p:sp>
          <p:nvSpPr>
            <p:cNvPr id="233" name="Freihandform: Form 232">
              <a:extLst>
                <a:ext uri="{FF2B5EF4-FFF2-40B4-BE49-F238E27FC236}">
                  <a16:creationId xmlns:a16="http://schemas.microsoft.com/office/drawing/2014/main" id="{2936F0CE-EFB0-4837-8F9B-3612B1AD4BAC}"/>
                </a:ext>
              </a:extLst>
            </p:cNvPr>
            <p:cNvSpPr/>
            <p:nvPr/>
          </p:nvSpPr>
          <p:spPr>
            <a:xfrm>
              <a:off x="1407887" y="5016456"/>
              <a:ext cx="193974" cy="193974"/>
            </a:xfrm>
            <a:custGeom>
              <a:avLst/>
              <a:gdLst>
                <a:gd name="connsiteX0" fmla="*/ 96987 w 193974"/>
                <a:gd name="connsiteY0" fmla="*/ 12123 h 193974"/>
                <a:gd name="connsiteX1" fmla="*/ 181851 w 193974"/>
                <a:gd name="connsiteY1" fmla="*/ 96987 h 193974"/>
                <a:gd name="connsiteX2" fmla="*/ 96987 w 193974"/>
                <a:gd name="connsiteY2" fmla="*/ 181851 h 193974"/>
                <a:gd name="connsiteX3" fmla="*/ 12123 w 193974"/>
                <a:gd name="connsiteY3" fmla="*/ 96987 h 193974"/>
                <a:gd name="connsiteX4" fmla="*/ 96987 w 193974"/>
                <a:gd name="connsiteY4" fmla="*/ 12123 h 193974"/>
                <a:gd name="connsiteX5" fmla="*/ 96987 w 193974"/>
                <a:gd name="connsiteY5" fmla="*/ 0 h 193974"/>
                <a:gd name="connsiteX6" fmla="*/ 0 w 193974"/>
                <a:gd name="connsiteY6" fmla="*/ 96987 h 193974"/>
                <a:gd name="connsiteX7" fmla="*/ 96987 w 193974"/>
                <a:gd name="connsiteY7" fmla="*/ 193974 h 193974"/>
                <a:gd name="connsiteX8" fmla="*/ 193974 w 193974"/>
                <a:gd name="connsiteY8" fmla="*/ 96987 h 193974"/>
                <a:gd name="connsiteX9" fmla="*/ 96987 w 193974"/>
                <a:gd name="connsiteY9" fmla="*/ 0 h 193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3974" h="193974">
                  <a:moveTo>
                    <a:pt x="96987" y="12123"/>
                  </a:moveTo>
                  <a:cubicBezTo>
                    <a:pt x="143856" y="12123"/>
                    <a:pt x="181851" y="50118"/>
                    <a:pt x="181851" y="96987"/>
                  </a:cubicBezTo>
                  <a:cubicBezTo>
                    <a:pt x="181851" y="143856"/>
                    <a:pt x="143856" y="181851"/>
                    <a:pt x="96987" y="181851"/>
                  </a:cubicBezTo>
                  <a:cubicBezTo>
                    <a:pt x="50118" y="181851"/>
                    <a:pt x="12123" y="143856"/>
                    <a:pt x="12123" y="96987"/>
                  </a:cubicBezTo>
                  <a:cubicBezTo>
                    <a:pt x="12170" y="50138"/>
                    <a:pt x="50138" y="12170"/>
                    <a:pt x="96987" y="12123"/>
                  </a:cubicBezTo>
                  <a:moveTo>
                    <a:pt x="96987" y="0"/>
                  </a:moveTo>
                  <a:cubicBezTo>
                    <a:pt x="43422" y="0"/>
                    <a:pt x="0" y="43422"/>
                    <a:pt x="0" y="96987"/>
                  </a:cubicBezTo>
                  <a:cubicBezTo>
                    <a:pt x="0" y="150552"/>
                    <a:pt x="43422" y="193974"/>
                    <a:pt x="96987" y="193974"/>
                  </a:cubicBezTo>
                  <a:cubicBezTo>
                    <a:pt x="150552" y="193974"/>
                    <a:pt x="193974" y="150552"/>
                    <a:pt x="193974" y="96987"/>
                  </a:cubicBezTo>
                  <a:cubicBezTo>
                    <a:pt x="193974" y="43422"/>
                    <a:pt x="150552" y="0"/>
                    <a:pt x="96987" y="0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4" name="Freihandform: Form 233">
              <a:extLst>
                <a:ext uri="{FF2B5EF4-FFF2-40B4-BE49-F238E27FC236}">
                  <a16:creationId xmlns:a16="http://schemas.microsoft.com/office/drawing/2014/main" id="{7301BCBD-C259-4BA4-A212-45F8FA60728A}"/>
                </a:ext>
              </a:extLst>
            </p:cNvPr>
            <p:cNvSpPr/>
            <p:nvPr/>
          </p:nvSpPr>
          <p:spPr>
            <a:xfrm>
              <a:off x="1310900" y="5234677"/>
              <a:ext cx="387948" cy="193974"/>
            </a:xfrm>
            <a:custGeom>
              <a:avLst/>
              <a:gdLst>
                <a:gd name="connsiteX0" fmla="*/ 387949 w 387948"/>
                <a:gd name="connsiteY0" fmla="*/ 193974 h 193974"/>
                <a:gd name="connsiteX1" fmla="*/ 375825 w 387948"/>
                <a:gd name="connsiteY1" fmla="*/ 193974 h 193974"/>
                <a:gd name="connsiteX2" fmla="*/ 375825 w 387948"/>
                <a:gd name="connsiteY2" fmla="*/ 100018 h 193974"/>
                <a:gd name="connsiteX3" fmla="*/ 359307 w 387948"/>
                <a:gd name="connsiteY3" fmla="*/ 67170 h 193974"/>
                <a:gd name="connsiteX4" fmla="*/ 269824 w 387948"/>
                <a:gd name="connsiteY4" fmla="*/ 23641 h 193974"/>
                <a:gd name="connsiteX5" fmla="*/ 193974 w 387948"/>
                <a:gd name="connsiteY5" fmla="*/ 12123 h 193974"/>
                <a:gd name="connsiteX6" fmla="*/ 118058 w 387948"/>
                <a:gd name="connsiteY6" fmla="*/ 23641 h 193974"/>
                <a:gd name="connsiteX7" fmla="*/ 28417 w 387948"/>
                <a:gd name="connsiteY7" fmla="*/ 67285 h 193974"/>
                <a:gd name="connsiteX8" fmla="*/ 12123 w 387948"/>
                <a:gd name="connsiteY8" fmla="*/ 100018 h 193974"/>
                <a:gd name="connsiteX9" fmla="*/ 12123 w 387948"/>
                <a:gd name="connsiteY9" fmla="*/ 193974 h 193974"/>
                <a:gd name="connsiteX10" fmla="*/ 0 w 387948"/>
                <a:gd name="connsiteY10" fmla="*/ 193974 h 193974"/>
                <a:gd name="connsiteX11" fmla="*/ 0 w 387948"/>
                <a:gd name="connsiteY11" fmla="*/ 100018 h 193974"/>
                <a:gd name="connsiteX12" fmla="*/ 21070 w 387948"/>
                <a:gd name="connsiteY12" fmla="*/ 57701 h 193974"/>
                <a:gd name="connsiteX13" fmla="*/ 114790 w 387948"/>
                <a:gd name="connsiteY13" fmla="*/ 11984 h 193974"/>
                <a:gd name="connsiteX14" fmla="*/ 193974 w 387948"/>
                <a:gd name="connsiteY14" fmla="*/ 0 h 193974"/>
                <a:gd name="connsiteX15" fmla="*/ 273231 w 387948"/>
                <a:gd name="connsiteY15" fmla="*/ 11996 h 193974"/>
                <a:gd name="connsiteX16" fmla="*/ 366933 w 387948"/>
                <a:gd name="connsiteY16" fmla="*/ 57738 h 193974"/>
                <a:gd name="connsiteX17" fmla="*/ 387949 w 387948"/>
                <a:gd name="connsiteY17" fmla="*/ 100018 h 193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87948" h="193974">
                  <a:moveTo>
                    <a:pt x="387949" y="193974"/>
                  </a:moveTo>
                  <a:lnTo>
                    <a:pt x="375825" y="193974"/>
                  </a:lnTo>
                  <a:lnTo>
                    <a:pt x="375825" y="100018"/>
                  </a:lnTo>
                  <a:cubicBezTo>
                    <a:pt x="375537" y="87142"/>
                    <a:pt x="369471" y="75080"/>
                    <a:pt x="359307" y="67170"/>
                  </a:cubicBezTo>
                  <a:cubicBezTo>
                    <a:pt x="332722" y="46771"/>
                    <a:pt x="302284" y="31964"/>
                    <a:pt x="269824" y="23641"/>
                  </a:cubicBezTo>
                  <a:cubicBezTo>
                    <a:pt x="245248" y="16078"/>
                    <a:pt x="219687" y="12197"/>
                    <a:pt x="193974" y="12123"/>
                  </a:cubicBezTo>
                  <a:cubicBezTo>
                    <a:pt x="168269" y="12570"/>
                    <a:pt x="142738" y="16443"/>
                    <a:pt x="118058" y="23641"/>
                  </a:cubicBezTo>
                  <a:cubicBezTo>
                    <a:pt x="85937" y="33048"/>
                    <a:pt x="55633" y="47803"/>
                    <a:pt x="28417" y="67285"/>
                  </a:cubicBezTo>
                  <a:cubicBezTo>
                    <a:pt x="18356" y="75204"/>
                    <a:pt x="12376" y="87217"/>
                    <a:pt x="12123" y="100018"/>
                  </a:cubicBezTo>
                  <a:lnTo>
                    <a:pt x="12123" y="193974"/>
                  </a:lnTo>
                  <a:lnTo>
                    <a:pt x="0" y="193974"/>
                  </a:lnTo>
                  <a:lnTo>
                    <a:pt x="0" y="100018"/>
                  </a:lnTo>
                  <a:cubicBezTo>
                    <a:pt x="301" y="83461"/>
                    <a:pt x="8040" y="67920"/>
                    <a:pt x="21070" y="57701"/>
                  </a:cubicBezTo>
                  <a:cubicBezTo>
                    <a:pt x="49509" y="37287"/>
                    <a:pt x="81196" y="21829"/>
                    <a:pt x="114790" y="11984"/>
                  </a:cubicBezTo>
                  <a:cubicBezTo>
                    <a:pt x="140534" y="4483"/>
                    <a:pt x="167164" y="453"/>
                    <a:pt x="193974" y="0"/>
                  </a:cubicBezTo>
                  <a:cubicBezTo>
                    <a:pt x="220840" y="66"/>
                    <a:pt x="247549" y="4109"/>
                    <a:pt x="273231" y="11996"/>
                  </a:cubicBezTo>
                  <a:cubicBezTo>
                    <a:pt x="307234" y="20758"/>
                    <a:pt x="339109" y="36317"/>
                    <a:pt x="366933" y="57738"/>
                  </a:cubicBezTo>
                  <a:cubicBezTo>
                    <a:pt x="379938" y="67955"/>
                    <a:pt x="387655" y="83482"/>
                    <a:pt x="387949" y="100018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35" name="Grafik 51" descr="Benutzer Silhouette">
            <a:extLst>
              <a:ext uri="{FF2B5EF4-FFF2-40B4-BE49-F238E27FC236}">
                <a16:creationId xmlns:a16="http://schemas.microsoft.com/office/drawing/2014/main" id="{738740A6-54EC-4EF4-BD94-E236D8E7E77D}"/>
              </a:ext>
            </a:extLst>
          </p:cNvPr>
          <p:cNvGrpSpPr/>
          <p:nvPr/>
        </p:nvGrpSpPr>
        <p:grpSpPr>
          <a:xfrm>
            <a:off x="4303646" y="5064980"/>
            <a:ext cx="509141" cy="309116"/>
            <a:chOff x="4303646" y="5064980"/>
            <a:chExt cx="509141" cy="309116"/>
          </a:xfrm>
          <a:solidFill>
            <a:schemeClr val="tx1"/>
          </a:solidFill>
        </p:grpSpPr>
        <p:sp>
          <p:nvSpPr>
            <p:cNvPr id="236" name="Freihandform: Form 235">
              <a:extLst>
                <a:ext uri="{FF2B5EF4-FFF2-40B4-BE49-F238E27FC236}">
                  <a16:creationId xmlns:a16="http://schemas.microsoft.com/office/drawing/2014/main" id="{2E95FA58-7D5B-40AE-AEDD-D3DB56634ACD}"/>
                </a:ext>
              </a:extLst>
            </p:cNvPr>
            <p:cNvSpPr/>
            <p:nvPr/>
          </p:nvSpPr>
          <p:spPr>
            <a:xfrm>
              <a:off x="4358153" y="5064980"/>
              <a:ext cx="109110" cy="109110"/>
            </a:xfrm>
            <a:custGeom>
              <a:avLst/>
              <a:gdLst>
                <a:gd name="connsiteX0" fmla="*/ 54555 w 109110"/>
                <a:gd name="connsiteY0" fmla="*/ 109111 h 109110"/>
                <a:gd name="connsiteX1" fmla="*/ 109111 w 109110"/>
                <a:gd name="connsiteY1" fmla="*/ 54555 h 109110"/>
                <a:gd name="connsiteX2" fmla="*/ 54555 w 109110"/>
                <a:gd name="connsiteY2" fmla="*/ 0 h 109110"/>
                <a:gd name="connsiteX3" fmla="*/ 0 w 109110"/>
                <a:gd name="connsiteY3" fmla="*/ 54555 h 109110"/>
                <a:gd name="connsiteX4" fmla="*/ 54555 w 109110"/>
                <a:gd name="connsiteY4" fmla="*/ 109111 h 109110"/>
                <a:gd name="connsiteX5" fmla="*/ 54555 w 109110"/>
                <a:gd name="connsiteY5" fmla="*/ 12093 h 109110"/>
                <a:gd name="connsiteX6" fmla="*/ 96987 w 109110"/>
                <a:gd name="connsiteY6" fmla="*/ 54525 h 109110"/>
                <a:gd name="connsiteX7" fmla="*/ 54555 w 109110"/>
                <a:gd name="connsiteY7" fmla="*/ 96957 h 109110"/>
                <a:gd name="connsiteX8" fmla="*/ 12123 w 109110"/>
                <a:gd name="connsiteY8" fmla="*/ 54525 h 109110"/>
                <a:gd name="connsiteX9" fmla="*/ 54555 w 109110"/>
                <a:gd name="connsiteY9" fmla="*/ 12093 h 109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9110" h="109110">
                  <a:moveTo>
                    <a:pt x="54555" y="109111"/>
                  </a:moveTo>
                  <a:cubicBezTo>
                    <a:pt x="84686" y="109111"/>
                    <a:pt x="109111" y="84686"/>
                    <a:pt x="109111" y="54555"/>
                  </a:cubicBezTo>
                  <a:cubicBezTo>
                    <a:pt x="109111" y="24425"/>
                    <a:pt x="84686" y="0"/>
                    <a:pt x="54555" y="0"/>
                  </a:cubicBezTo>
                  <a:cubicBezTo>
                    <a:pt x="24425" y="0"/>
                    <a:pt x="0" y="24425"/>
                    <a:pt x="0" y="54555"/>
                  </a:cubicBezTo>
                  <a:cubicBezTo>
                    <a:pt x="0" y="84686"/>
                    <a:pt x="24425" y="109111"/>
                    <a:pt x="54555" y="109111"/>
                  </a:cubicBezTo>
                  <a:close/>
                  <a:moveTo>
                    <a:pt x="54555" y="12093"/>
                  </a:moveTo>
                  <a:cubicBezTo>
                    <a:pt x="77990" y="12093"/>
                    <a:pt x="96987" y="31090"/>
                    <a:pt x="96987" y="54525"/>
                  </a:cubicBezTo>
                  <a:cubicBezTo>
                    <a:pt x="96987" y="77960"/>
                    <a:pt x="77990" y="96957"/>
                    <a:pt x="54555" y="96957"/>
                  </a:cubicBezTo>
                  <a:cubicBezTo>
                    <a:pt x="31121" y="96957"/>
                    <a:pt x="12123" y="77960"/>
                    <a:pt x="12123" y="54525"/>
                  </a:cubicBezTo>
                  <a:cubicBezTo>
                    <a:pt x="12154" y="31103"/>
                    <a:pt x="31133" y="12123"/>
                    <a:pt x="54555" y="12093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7" name="Freihandform: Form 236">
              <a:extLst>
                <a:ext uri="{FF2B5EF4-FFF2-40B4-BE49-F238E27FC236}">
                  <a16:creationId xmlns:a16="http://schemas.microsoft.com/office/drawing/2014/main" id="{0C4CDE5F-0C5E-44CB-B6B7-10B98EEF5DCE}"/>
                </a:ext>
              </a:extLst>
            </p:cNvPr>
            <p:cNvSpPr/>
            <p:nvPr/>
          </p:nvSpPr>
          <p:spPr>
            <a:xfrm>
              <a:off x="4649114" y="5064980"/>
              <a:ext cx="109110" cy="109110"/>
            </a:xfrm>
            <a:custGeom>
              <a:avLst/>
              <a:gdLst>
                <a:gd name="connsiteX0" fmla="*/ 54555 w 109110"/>
                <a:gd name="connsiteY0" fmla="*/ 109111 h 109110"/>
                <a:gd name="connsiteX1" fmla="*/ 109111 w 109110"/>
                <a:gd name="connsiteY1" fmla="*/ 54555 h 109110"/>
                <a:gd name="connsiteX2" fmla="*/ 54555 w 109110"/>
                <a:gd name="connsiteY2" fmla="*/ 0 h 109110"/>
                <a:gd name="connsiteX3" fmla="*/ 0 w 109110"/>
                <a:gd name="connsiteY3" fmla="*/ 54555 h 109110"/>
                <a:gd name="connsiteX4" fmla="*/ 54555 w 109110"/>
                <a:gd name="connsiteY4" fmla="*/ 109111 h 109110"/>
                <a:gd name="connsiteX5" fmla="*/ 54555 w 109110"/>
                <a:gd name="connsiteY5" fmla="*/ 12093 h 109110"/>
                <a:gd name="connsiteX6" fmla="*/ 96987 w 109110"/>
                <a:gd name="connsiteY6" fmla="*/ 54525 h 109110"/>
                <a:gd name="connsiteX7" fmla="*/ 54555 w 109110"/>
                <a:gd name="connsiteY7" fmla="*/ 96957 h 109110"/>
                <a:gd name="connsiteX8" fmla="*/ 12123 w 109110"/>
                <a:gd name="connsiteY8" fmla="*/ 54525 h 109110"/>
                <a:gd name="connsiteX9" fmla="*/ 54555 w 109110"/>
                <a:gd name="connsiteY9" fmla="*/ 12093 h 109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9110" h="109110">
                  <a:moveTo>
                    <a:pt x="54555" y="109111"/>
                  </a:moveTo>
                  <a:cubicBezTo>
                    <a:pt x="84686" y="109111"/>
                    <a:pt x="109111" y="84686"/>
                    <a:pt x="109111" y="54555"/>
                  </a:cubicBezTo>
                  <a:cubicBezTo>
                    <a:pt x="109111" y="24425"/>
                    <a:pt x="84686" y="0"/>
                    <a:pt x="54555" y="0"/>
                  </a:cubicBezTo>
                  <a:cubicBezTo>
                    <a:pt x="24425" y="0"/>
                    <a:pt x="0" y="24425"/>
                    <a:pt x="0" y="54555"/>
                  </a:cubicBezTo>
                  <a:cubicBezTo>
                    <a:pt x="0" y="84686"/>
                    <a:pt x="24425" y="109111"/>
                    <a:pt x="54555" y="109111"/>
                  </a:cubicBezTo>
                  <a:close/>
                  <a:moveTo>
                    <a:pt x="54555" y="12093"/>
                  </a:moveTo>
                  <a:cubicBezTo>
                    <a:pt x="77990" y="12093"/>
                    <a:pt x="96987" y="31090"/>
                    <a:pt x="96987" y="54525"/>
                  </a:cubicBezTo>
                  <a:cubicBezTo>
                    <a:pt x="96987" y="77960"/>
                    <a:pt x="77990" y="96957"/>
                    <a:pt x="54555" y="96957"/>
                  </a:cubicBezTo>
                  <a:cubicBezTo>
                    <a:pt x="31121" y="96957"/>
                    <a:pt x="12123" y="77960"/>
                    <a:pt x="12123" y="54525"/>
                  </a:cubicBezTo>
                  <a:cubicBezTo>
                    <a:pt x="12154" y="31103"/>
                    <a:pt x="31133" y="12123"/>
                    <a:pt x="54555" y="12093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8" name="Freihandform: Form 237">
              <a:extLst>
                <a:ext uri="{FF2B5EF4-FFF2-40B4-BE49-F238E27FC236}">
                  <a16:creationId xmlns:a16="http://schemas.microsoft.com/office/drawing/2014/main" id="{0227F3AB-BB6E-41B3-B1C7-E44EE13A1A4D}"/>
                </a:ext>
              </a:extLst>
            </p:cNvPr>
            <p:cNvSpPr/>
            <p:nvPr/>
          </p:nvSpPr>
          <p:spPr>
            <a:xfrm>
              <a:off x="4628814" y="5187336"/>
              <a:ext cx="183973" cy="103048"/>
            </a:xfrm>
            <a:custGeom>
              <a:avLst/>
              <a:gdLst>
                <a:gd name="connsiteX0" fmla="*/ 171237 w 183973"/>
                <a:gd name="connsiteY0" fmla="*/ 32121 h 103048"/>
                <a:gd name="connsiteX1" fmla="*/ 118821 w 183973"/>
                <a:gd name="connsiteY1" fmla="*/ 7080 h 103048"/>
                <a:gd name="connsiteX2" fmla="*/ 74856 w 183973"/>
                <a:gd name="connsiteY2" fmla="*/ 0 h 103048"/>
                <a:gd name="connsiteX3" fmla="*/ 31024 w 183973"/>
                <a:gd name="connsiteY3" fmla="*/ 7050 h 103048"/>
                <a:gd name="connsiteX4" fmla="*/ 1988 w 183973"/>
                <a:gd name="connsiteY4" fmla="*/ 18112 h 103048"/>
                <a:gd name="connsiteX5" fmla="*/ 0 w 183973"/>
                <a:gd name="connsiteY5" fmla="*/ 32903 h 103048"/>
                <a:gd name="connsiteX6" fmla="*/ 34418 w 183973"/>
                <a:gd name="connsiteY6" fmla="*/ 18682 h 103048"/>
                <a:gd name="connsiteX7" fmla="*/ 74856 w 183973"/>
                <a:gd name="connsiteY7" fmla="*/ 12123 h 103048"/>
                <a:gd name="connsiteX8" fmla="*/ 115736 w 183973"/>
                <a:gd name="connsiteY8" fmla="*/ 18791 h 103048"/>
                <a:gd name="connsiteX9" fmla="*/ 163696 w 183973"/>
                <a:gd name="connsiteY9" fmla="*/ 41614 h 103048"/>
                <a:gd name="connsiteX10" fmla="*/ 164217 w 183973"/>
                <a:gd name="connsiteY10" fmla="*/ 42002 h 103048"/>
                <a:gd name="connsiteX11" fmla="*/ 171843 w 183973"/>
                <a:gd name="connsiteY11" fmla="*/ 57586 h 103048"/>
                <a:gd name="connsiteX12" fmla="*/ 171843 w 183973"/>
                <a:gd name="connsiteY12" fmla="*/ 103049 h 103048"/>
                <a:gd name="connsiteX13" fmla="*/ 183966 w 183973"/>
                <a:gd name="connsiteY13" fmla="*/ 103049 h 103048"/>
                <a:gd name="connsiteX14" fmla="*/ 183966 w 183973"/>
                <a:gd name="connsiteY14" fmla="*/ 57586 h 103048"/>
                <a:gd name="connsiteX15" fmla="*/ 171237 w 183973"/>
                <a:gd name="connsiteY15" fmla="*/ 32121 h 103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3973" h="103048">
                  <a:moveTo>
                    <a:pt x="171237" y="32121"/>
                  </a:moveTo>
                  <a:cubicBezTo>
                    <a:pt x="155787" y="20073"/>
                    <a:pt x="137902" y="11528"/>
                    <a:pt x="118821" y="7080"/>
                  </a:cubicBezTo>
                  <a:cubicBezTo>
                    <a:pt x="104538" y="2814"/>
                    <a:pt x="89757" y="434"/>
                    <a:pt x="74856" y="0"/>
                  </a:cubicBezTo>
                  <a:cubicBezTo>
                    <a:pt x="59964" y="15"/>
                    <a:pt x="45169" y="2395"/>
                    <a:pt x="31024" y="7050"/>
                  </a:cubicBezTo>
                  <a:cubicBezTo>
                    <a:pt x="20966" y="9653"/>
                    <a:pt x="11229" y="13364"/>
                    <a:pt x="1988" y="18112"/>
                  </a:cubicBezTo>
                  <a:cubicBezTo>
                    <a:pt x="1840" y="23098"/>
                    <a:pt x="1174" y="28055"/>
                    <a:pt x="0" y="32903"/>
                  </a:cubicBezTo>
                  <a:cubicBezTo>
                    <a:pt x="10780" y="26634"/>
                    <a:pt x="22357" y="21851"/>
                    <a:pt x="34418" y="18682"/>
                  </a:cubicBezTo>
                  <a:cubicBezTo>
                    <a:pt x="47471" y="14394"/>
                    <a:pt x="61116" y="12180"/>
                    <a:pt x="74856" y="12123"/>
                  </a:cubicBezTo>
                  <a:cubicBezTo>
                    <a:pt x="88714" y="12570"/>
                    <a:pt x="102455" y="14811"/>
                    <a:pt x="115736" y="18791"/>
                  </a:cubicBezTo>
                  <a:cubicBezTo>
                    <a:pt x="133197" y="22806"/>
                    <a:pt x="149567" y="30596"/>
                    <a:pt x="163696" y="41614"/>
                  </a:cubicBezTo>
                  <a:lnTo>
                    <a:pt x="164217" y="42002"/>
                  </a:lnTo>
                  <a:cubicBezTo>
                    <a:pt x="169203" y="45596"/>
                    <a:pt x="172064" y="51444"/>
                    <a:pt x="171843" y="57586"/>
                  </a:cubicBezTo>
                  <a:lnTo>
                    <a:pt x="171843" y="103049"/>
                  </a:lnTo>
                  <a:lnTo>
                    <a:pt x="183966" y="103049"/>
                  </a:lnTo>
                  <a:lnTo>
                    <a:pt x="183966" y="57586"/>
                  </a:lnTo>
                  <a:cubicBezTo>
                    <a:pt x="184188" y="47516"/>
                    <a:pt x="179424" y="37987"/>
                    <a:pt x="171237" y="32121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9" name="Freihandform: Form 238">
              <a:extLst>
                <a:ext uri="{FF2B5EF4-FFF2-40B4-BE49-F238E27FC236}">
                  <a16:creationId xmlns:a16="http://schemas.microsoft.com/office/drawing/2014/main" id="{6C534737-FEE2-4B3D-B2D4-DE9EEF77964E}"/>
                </a:ext>
              </a:extLst>
            </p:cNvPr>
            <p:cNvSpPr/>
            <p:nvPr/>
          </p:nvSpPr>
          <p:spPr>
            <a:xfrm>
              <a:off x="4303646" y="5187336"/>
              <a:ext cx="183663" cy="103048"/>
            </a:xfrm>
            <a:custGeom>
              <a:avLst/>
              <a:gdLst>
                <a:gd name="connsiteX0" fmla="*/ 183663 w 183663"/>
                <a:gd name="connsiteY0" fmla="*/ 31963 h 103048"/>
                <a:gd name="connsiteX1" fmla="*/ 181845 w 183663"/>
                <a:gd name="connsiteY1" fmla="*/ 17367 h 103048"/>
                <a:gd name="connsiteX2" fmla="*/ 153015 w 183663"/>
                <a:gd name="connsiteY2" fmla="*/ 7062 h 103048"/>
                <a:gd name="connsiteX3" fmla="*/ 109062 w 183663"/>
                <a:gd name="connsiteY3" fmla="*/ 0 h 103048"/>
                <a:gd name="connsiteX4" fmla="*/ 65230 w 183663"/>
                <a:gd name="connsiteY4" fmla="*/ 7050 h 103048"/>
                <a:gd name="connsiteX5" fmla="*/ 12451 w 183663"/>
                <a:gd name="connsiteY5" fmla="*/ 32321 h 103048"/>
                <a:gd name="connsiteX6" fmla="*/ 0 w 183663"/>
                <a:gd name="connsiteY6" fmla="*/ 57586 h 103048"/>
                <a:gd name="connsiteX7" fmla="*/ 0 w 183663"/>
                <a:gd name="connsiteY7" fmla="*/ 103049 h 103048"/>
                <a:gd name="connsiteX8" fmla="*/ 12123 w 183663"/>
                <a:gd name="connsiteY8" fmla="*/ 103049 h 103048"/>
                <a:gd name="connsiteX9" fmla="*/ 12123 w 183663"/>
                <a:gd name="connsiteY9" fmla="*/ 57586 h 103048"/>
                <a:gd name="connsiteX10" fmla="*/ 19810 w 183663"/>
                <a:gd name="connsiteY10" fmla="*/ 41959 h 103048"/>
                <a:gd name="connsiteX11" fmla="*/ 68649 w 183663"/>
                <a:gd name="connsiteY11" fmla="*/ 18682 h 103048"/>
                <a:gd name="connsiteX12" fmla="*/ 109062 w 183663"/>
                <a:gd name="connsiteY12" fmla="*/ 12123 h 103048"/>
                <a:gd name="connsiteX13" fmla="*/ 149942 w 183663"/>
                <a:gd name="connsiteY13" fmla="*/ 18791 h 103048"/>
                <a:gd name="connsiteX14" fmla="*/ 183663 w 183663"/>
                <a:gd name="connsiteY14" fmla="*/ 31963 h 103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83663" h="103048">
                  <a:moveTo>
                    <a:pt x="183663" y="31963"/>
                  </a:moveTo>
                  <a:cubicBezTo>
                    <a:pt x="182560" y="27173"/>
                    <a:pt x="181950" y="22282"/>
                    <a:pt x="181845" y="17367"/>
                  </a:cubicBezTo>
                  <a:cubicBezTo>
                    <a:pt x="172595" y="12999"/>
                    <a:pt x="162938" y="9548"/>
                    <a:pt x="153015" y="7062"/>
                  </a:cubicBezTo>
                  <a:cubicBezTo>
                    <a:pt x="138735" y="2804"/>
                    <a:pt x="123958" y="429"/>
                    <a:pt x="109062" y="0"/>
                  </a:cubicBezTo>
                  <a:cubicBezTo>
                    <a:pt x="94170" y="15"/>
                    <a:pt x="79376" y="2395"/>
                    <a:pt x="65230" y="7050"/>
                  </a:cubicBezTo>
                  <a:cubicBezTo>
                    <a:pt x="46257" y="12223"/>
                    <a:pt x="28376" y="20784"/>
                    <a:pt x="12451" y="32321"/>
                  </a:cubicBezTo>
                  <a:cubicBezTo>
                    <a:pt x="4608" y="38357"/>
                    <a:pt x="9" y="47690"/>
                    <a:pt x="0" y="57586"/>
                  </a:cubicBezTo>
                  <a:lnTo>
                    <a:pt x="0" y="103049"/>
                  </a:lnTo>
                  <a:lnTo>
                    <a:pt x="12123" y="103049"/>
                  </a:lnTo>
                  <a:lnTo>
                    <a:pt x="12123" y="57586"/>
                  </a:lnTo>
                  <a:cubicBezTo>
                    <a:pt x="12135" y="51470"/>
                    <a:pt x="14972" y="45702"/>
                    <a:pt x="19810" y="41959"/>
                  </a:cubicBezTo>
                  <a:cubicBezTo>
                    <a:pt x="34560" y="31332"/>
                    <a:pt x="51104" y="23447"/>
                    <a:pt x="68649" y="18682"/>
                  </a:cubicBezTo>
                  <a:cubicBezTo>
                    <a:pt x="81694" y="14396"/>
                    <a:pt x="95331" y="12183"/>
                    <a:pt x="109062" y="12123"/>
                  </a:cubicBezTo>
                  <a:cubicBezTo>
                    <a:pt x="122920" y="12570"/>
                    <a:pt x="136661" y="14812"/>
                    <a:pt x="149942" y="18791"/>
                  </a:cubicBezTo>
                  <a:cubicBezTo>
                    <a:pt x="161714" y="21677"/>
                    <a:pt x="173052" y="26106"/>
                    <a:pt x="183663" y="31963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0" name="Freihandform: Form 239">
              <a:extLst>
                <a:ext uri="{FF2B5EF4-FFF2-40B4-BE49-F238E27FC236}">
                  <a16:creationId xmlns:a16="http://schemas.microsoft.com/office/drawing/2014/main" id="{7AA94677-137C-4130-99F6-9AF466B648CA}"/>
                </a:ext>
              </a:extLst>
            </p:cNvPr>
            <p:cNvSpPr/>
            <p:nvPr/>
          </p:nvSpPr>
          <p:spPr>
            <a:xfrm>
              <a:off x="4449078" y="5271048"/>
              <a:ext cx="218228" cy="103048"/>
            </a:xfrm>
            <a:custGeom>
              <a:avLst/>
              <a:gdLst>
                <a:gd name="connsiteX0" fmla="*/ 205492 w 218228"/>
                <a:gd name="connsiteY0" fmla="*/ 32127 h 103048"/>
                <a:gd name="connsiteX1" fmla="*/ 153076 w 218228"/>
                <a:gd name="connsiteY1" fmla="*/ 7086 h 103048"/>
                <a:gd name="connsiteX2" fmla="*/ 109111 w 218228"/>
                <a:gd name="connsiteY2" fmla="*/ 0 h 103048"/>
                <a:gd name="connsiteX3" fmla="*/ 65291 w 218228"/>
                <a:gd name="connsiteY3" fmla="*/ 7050 h 103048"/>
                <a:gd name="connsiteX4" fmla="*/ 12511 w 218228"/>
                <a:gd name="connsiteY4" fmla="*/ 32321 h 103048"/>
                <a:gd name="connsiteX5" fmla="*/ 0 w 218228"/>
                <a:gd name="connsiteY5" fmla="*/ 57586 h 103048"/>
                <a:gd name="connsiteX6" fmla="*/ 0 w 218228"/>
                <a:gd name="connsiteY6" fmla="*/ 103049 h 103048"/>
                <a:gd name="connsiteX7" fmla="*/ 12123 w 218228"/>
                <a:gd name="connsiteY7" fmla="*/ 103049 h 103048"/>
                <a:gd name="connsiteX8" fmla="*/ 12123 w 218228"/>
                <a:gd name="connsiteY8" fmla="*/ 57586 h 103048"/>
                <a:gd name="connsiteX9" fmla="*/ 19816 w 218228"/>
                <a:gd name="connsiteY9" fmla="*/ 41959 h 103048"/>
                <a:gd name="connsiteX10" fmla="*/ 68649 w 218228"/>
                <a:gd name="connsiteY10" fmla="*/ 18682 h 103048"/>
                <a:gd name="connsiteX11" fmla="*/ 109111 w 218228"/>
                <a:gd name="connsiteY11" fmla="*/ 12123 h 103048"/>
                <a:gd name="connsiteX12" fmla="*/ 149997 w 218228"/>
                <a:gd name="connsiteY12" fmla="*/ 18791 h 103048"/>
                <a:gd name="connsiteX13" fmla="*/ 197951 w 218228"/>
                <a:gd name="connsiteY13" fmla="*/ 41607 h 103048"/>
                <a:gd name="connsiteX14" fmla="*/ 198472 w 218228"/>
                <a:gd name="connsiteY14" fmla="*/ 41995 h 103048"/>
                <a:gd name="connsiteX15" fmla="*/ 206098 w 218228"/>
                <a:gd name="connsiteY15" fmla="*/ 57586 h 103048"/>
                <a:gd name="connsiteX16" fmla="*/ 206098 w 218228"/>
                <a:gd name="connsiteY16" fmla="*/ 103049 h 103048"/>
                <a:gd name="connsiteX17" fmla="*/ 218221 w 218228"/>
                <a:gd name="connsiteY17" fmla="*/ 103049 h 103048"/>
                <a:gd name="connsiteX18" fmla="*/ 218221 w 218228"/>
                <a:gd name="connsiteY18" fmla="*/ 57586 h 103048"/>
                <a:gd name="connsiteX19" fmla="*/ 205492 w 218228"/>
                <a:gd name="connsiteY19" fmla="*/ 32127 h 103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18228" h="103048">
                  <a:moveTo>
                    <a:pt x="205492" y="32127"/>
                  </a:moveTo>
                  <a:cubicBezTo>
                    <a:pt x="190043" y="20077"/>
                    <a:pt x="172157" y="11532"/>
                    <a:pt x="153076" y="7086"/>
                  </a:cubicBezTo>
                  <a:cubicBezTo>
                    <a:pt x="138792" y="2821"/>
                    <a:pt x="124011" y="439"/>
                    <a:pt x="109111" y="0"/>
                  </a:cubicBezTo>
                  <a:cubicBezTo>
                    <a:pt x="94223" y="15"/>
                    <a:pt x="79432" y="2394"/>
                    <a:pt x="65291" y="7050"/>
                  </a:cubicBezTo>
                  <a:cubicBezTo>
                    <a:pt x="46316" y="12219"/>
                    <a:pt x="28435" y="20781"/>
                    <a:pt x="12511" y="32321"/>
                  </a:cubicBezTo>
                  <a:cubicBezTo>
                    <a:pt x="4644" y="38343"/>
                    <a:pt x="21" y="47678"/>
                    <a:pt x="0" y="57586"/>
                  </a:cubicBezTo>
                  <a:lnTo>
                    <a:pt x="0" y="103049"/>
                  </a:lnTo>
                  <a:lnTo>
                    <a:pt x="12123" y="103049"/>
                  </a:lnTo>
                  <a:lnTo>
                    <a:pt x="12123" y="57586"/>
                  </a:lnTo>
                  <a:cubicBezTo>
                    <a:pt x="12134" y="51468"/>
                    <a:pt x="14974" y="45699"/>
                    <a:pt x="19816" y="41959"/>
                  </a:cubicBezTo>
                  <a:cubicBezTo>
                    <a:pt x="34563" y="31329"/>
                    <a:pt x="51105" y="23444"/>
                    <a:pt x="68649" y="18682"/>
                  </a:cubicBezTo>
                  <a:cubicBezTo>
                    <a:pt x="81709" y="14391"/>
                    <a:pt x="95363" y="12178"/>
                    <a:pt x="109111" y="12123"/>
                  </a:cubicBezTo>
                  <a:cubicBezTo>
                    <a:pt x="122971" y="12568"/>
                    <a:pt x="136714" y="14809"/>
                    <a:pt x="149997" y="18791"/>
                  </a:cubicBezTo>
                  <a:cubicBezTo>
                    <a:pt x="167457" y="22800"/>
                    <a:pt x="183826" y="30589"/>
                    <a:pt x="197951" y="41607"/>
                  </a:cubicBezTo>
                  <a:lnTo>
                    <a:pt x="198472" y="41995"/>
                  </a:lnTo>
                  <a:cubicBezTo>
                    <a:pt x="203459" y="45592"/>
                    <a:pt x="206320" y="51442"/>
                    <a:pt x="206098" y="57586"/>
                  </a:cubicBezTo>
                  <a:lnTo>
                    <a:pt x="206098" y="103049"/>
                  </a:lnTo>
                  <a:lnTo>
                    <a:pt x="218221" y="103049"/>
                  </a:lnTo>
                  <a:lnTo>
                    <a:pt x="218221" y="57586"/>
                  </a:lnTo>
                  <a:cubicBezTo>
                    <a:pt x="218441" y="47519"/>
                    <a:pt x="213677" y="37992"/>
                    <a:pt x="205492" y="32127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1" name="Freihandform: Form 240">
              <a:extLst>
                <a:ext uri="{FF2B5EF4-FFF2-40B4-BE49-F238E27FC236}">
                  <a16:creationId xmlns:a16="http://schemas.microsoft.com/office/drawing/2014/main" id="{6437648B-98BF-46F7-B261-6884DA86BEB4}"/>
                </a:ext>
              </a:extLst>
            </p:cNvPr>
            <p:cNvSpPr/>
            <p:nvPr/>
          </p:nvSpPr>
          <p:spPr>
            <a:xfrm>
              <a:off x="4503634" y="5148692"/>
              <a:ext cx="109110" cy="109110"/>
            </a:xfrm>
            <a:custGeom>
              <a:avLst/>
              <a:gdLst>
                <a:gd name="connsiteX0" fmla="*/ 54555 w 109110"/>
                <a:gd name="connsiteY0" fmla="*/ 109111 h 109110"/>
                <a:gd name="connsiteX1" fmla="*/ 109111 w 109110"/>
                <a:gd name="connsiteY1" fmla="*/ 54555 h 109110"/>
                <a:gd name="connsiteX2" fmla="*/ 54555 w 109110"/>
                <a:gd name="connsiteY2" fmla="*/ 0 h 109110"/>
                <a:gd name="connsiteX3" fmla="*/ 0 w 109110"/>
                <a:gd name="connsiteY3" fmla="*/ 54555 h 109110"/>
                <a:gd name="connsiteX4" fmla="*/ 54555 w 109110"/>
                <a:gd name="connsiteY4" fmla="*/ 109111 h 109110"/>
                <a:gd name="connsiteX5" fmla="*/ 54555 w 109110"/>
                <a:gd name="connsiteY5" fmla="*/ 12123 h 109110"/>
                <a:gd name="connsiteX6" fmla="*/ 96987 w 109110"/>
                <a:gd name="connsiteY6" fmla="*/ 54555 h 109110"/>
                <a:gd name="connsiteX7" fmla="*/ 54555 w 109110"/>
                <a:gd name="connsiteY7" fmla="*/ 96987 h 109110"/>
                <a:gd name="connsiteX8" fmla="*/ 12123 w 109110"/>
                <a:gd name="connsiteY8" fmla="*/ 54555 h 109110"/>
                <a:gd name="connsiteX9" fmla="*/ 54555 w 109110"/>
                <a:gd name="connsiteY9" fmla="*/ 12093 h 109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9110" h="109110">
                  <a:moveTo>
                    <a:pt x="54555" y="109111"/>
                  </a:moveTo>
                  <a:cubicBezTo>
                    <a:pt x="84686" y="109111"/>
                    <a:pt x="109111" y="84686"/>
                    <a:pt x="109111" y="54555"/>
                  </a:cubicBezTo>
                  <a:cubicBezTo>
                    <a:pt x="109111" y="24425"/>
                    <a:pt x="84686" y="0"/>
                    <a:pt x="54555" y="0"/>
                  </a:cubicBezTo>
                  <a:cubicBezTo>
                    <a:pt x="24425" y="0"/>
                    <a:pt x="0" y="24425"/>
                    <a:pt x="0" y="54555"/>
                  </a:cubicBezTo>
                  <a:cubicBezTo>
                    <a:pt x="0" y="84686"/>
                    <a:pt x="24425" y="109111"/>
                    <a:pt x="54555" y="109111"/>
                  </a:cubicBezTo>
                  <a:close/>
                  <a:moveTo>
                    <a:pt x="54555" y="12123"/>
                  </a:moveTo>
                  <a:cubicBezTo>
                    <a:pt x="77990" y="12123"/>
                    <a:pt x="96987" y="31121"/>
                    <a:pt x="96987" y="54555"/>
                  </a:cubicBezTo>
                  <a:cubicBezTo>
                    <a:pt x="96987" y="77990"/>
                    <a:pt x="77990" y="96987"/>
                    <a:pt x="54555" y="96987"/>
                  </a:cubicBezTo>
                  <a:cubicBezTo>
                    <a:pt x="31121" y="96987"/>
                    <a:pt x="12123" y="77990"/>
                    <a:pt x="12123" y="54555"/>
                  </a:cubicBezTo>
                  <a:cubicBezTo>
                    <a:pt x="12140" y="31123"/>
                    <a:pt x="31123" y="12126"/>
                    <a:pt x="54555" y="12093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42" name="Grafik 52" descr="Frau Silhouette">
            <a:extLst>
              <a:ext uri="{FF2B5EF4-FFF2-40B4-BE49-F238E27FC236}">
                <a16:creationId xmlns:a16="http://schemas.microsoft.com/office/drawing/2014/main" id="{760BA1E2-0FD2-4D3A-A725-35BEE2EAD0C0}"/>
              </a:ext>
            </a:extLst>
          </p:cNvPr>
          <p:cNvGrpSpPr/>
          <p:nvPr/>
        </p:nvGrpSpPr>
        <p:grpSpPr>
          <a:xfrm>
            <a:off x="3431649" y="4949778"/>
            <a:ext cx="217856" cy="545552"/>
            <a:chOff x="3431649" y="4949778"/>
            <a:chExt cx="217856" cy="545552"/>
          </a:xfrm>
          <a:solidFill>
            <a:schemeClr val="tx1"/>
          </a:solidFill>
        </p:grpSpPr>
        <p:sp>
          <p:nvSpPr>
            <p:cNvPr id="243" name="Freihandform: Form 242">
              <a:extLst>
                <a:ext uri="{FF2B5EF4-FFF2-40B4-BE49-F238E27FC236}">
                  <a16:creationId xmlns:a16="http://schemas.microsoft.com/office/drawing/2014/main" id="{517E0D26-94B4-495B-9C9C-DD49F3960775}"/>
                </a:ext>
              </a:extLst>
            </p:cNvPr>
            <p:cNvSpPr/>
            <p:nvPr/>
          </p:nvSpPr>
          <p:spPr>
            <a:xfrm>
              <a:off x="3492093" y="4949778"/>
              <a:ext cx="96987" cy="96987"/>
            </a:xfrm>
            <a:custGeom>
              <a:avLst/>
              <a:gdLst>
                <a:gd name="connsiteX0" fmla="*/ 48494 w 96987"/>
                <a:gd name="connsiteY0" fmla="*/ 96987 h 96987"/>
                <a:gd name="connsiteX1" fmla="*/ 96987 w 96987"/>
                <a:gd name="connsiteY1" fmla="*/ 48494 h 96987"/>
                <a:gd name="connsiteX2" fmla="*/ 48494 w 96987"/>
                <a:gd name="connsiteY2" fmla="*/ 0 h 96987"/>
                <a:gd name="connsiteX3" fmla="*/ 0 w 96987"/>
                <a:gd name="connsiteY3" fmla="*/ 48494 h 96987"/>
                <a:gd name="connsiteX4" fmla="*/ 48494 w 96987"/>
                <a:gd name="connsiteY4" fmla="*/ 96987 h 96987"/>
                <a:gd name="connsiteX5" fmla="*/ 48494 w 96987"/>
                <a:gd name="connsiteY5" fmla="*/ 12123 h 96987"/>
                <a:gd name="connsiteX6" fmla="*/ 84864 w 96987"/>
                <a:gd name="connsiteY6" fmla="*/ 48494 h 96987"/>
                <a:gd name="connsiteX7" fmla="*/ 48494 w 96987"/>
                <a:gd name="connsiteY7" fmla="*/ 84864 h 96987"/>
                <a:gd name="connsiteX8" fmla="*/ 12123 w 96987"/>
                <a:gd name="connsiteY8" fmla="*/ 48494 h 96987"/>
                <a:gd name="connsiteX9" fmla="*/ 48494 w 96987"/>
                <a:gd name="connsiteY9" fmla="*/ 12123 h 96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6987" h="96987">
                  <a:moveTo>
                    <a:pt x="48494" y="96987"/>
                  </a:moveTo>
                  <a:cubicBezTo>
                    <a:pt x="75276" y="96987"/>
                    <a:pt x="96987" y="75276"/>
                    <a:pt x="96987" y="48494"/>
                  </a:cubicBezTo>
                  <a:cubicBezTo>
                    <a:pt x="96987" y="21711"/>
                    <a:pt x="75276" y="0"/>
                    <a:pt x="48494" y="0"/>
                  </a:cubicBezTo>
                  <a:cubicBezTo>
                    <a:pt x="21711" y="0"/>
                    <a:pt x="0" y="21711"/>
                    <a:pt x="0" y="48494"/>
                  </a:cubicBezTo>
                  <a:cubicBezTo>
                    <a:pt x="30" y="75263"/>
                    <a:pt x="21724" y="96957"/>
                    <a:pt x="48494" y="96987"/>
                  </a:cubicBezTo>
                  <a:close/>
                  <a:moveTo>
                    <a:pt x="48494" y="12123"/>
                  </a:moveTo>
                  <a:cubicBezTo>
                    <a:pt x="68580" y="12123"/>
                    <a:pt x="84864" y="28407"/>
                    <a:pt x="84864" y="48494"/>
                  </a:cubicBezTo>
                  <a:cubicBezTo>
                    <a:pt x="84864" y="68580"/>
                    <a:pt x="68580" y="84864"/>
                    <a:pt x="48494" y="84864"/>
                  </a:cubicBezTo>
                  <a:cubicBezTo>
                    <a:pt x="28407" y="84864"/>
                    <a:pt x="12123" y="68580"/>
                    <a:pt x="12123" y="48494"/>
                  </a:cubicBezTo>
                  <a:cubicBezTo>
                    <a:pt x="12143" y="28415"/>
                    <a:pt x="28415" y="12143"/>
                    <a:pt x="48494" y="12123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4" name="Freihandform: Form 243">
              <a:extLst>
                <a:ext uri="{FF2B5EF4-FFF2-40B4-BE49-F238E27FC236}">
                  <a16:creationId xmlns:a16="http://schemas.microsoft.com/office/drawing/2014/main" id="{AE507571-DA9F-4AD0-8C69-1948E6C926F0}"/>
                </a:ext>
              </a:extLst>
            </p:cNvPr>
            <p:cNvSpPr/>
            <p:nvPr/>
          </p:nvSpPr>
          <p:spPr>
            <a:xfrm>
              <a:off x="3431649" y="5058887"/>
              <a:ext cx="217856" cy="212190"/>
            </a:xfrm>
            <a:custGeom>
              <a:avLst/>
              <a:gdLst>
                <a:gd name="connsiteX0" fmla="*/ 217630 w 217856"/>
                <a:gd name="connsiteY0" fmla="*/ 181725 h 212190"/>
                <a:gd name="connsiteX1" fmla="*/ 199693 w 217856"/>
                <a:gd name="connsiteY1" fmla="*/ 54375 h 212190"/>
                <a:gd name="connsiteX2" fmla="*/ 195832 w 217856"/>
                <a:gd name="connsiteY2" fmla="*/ 41936 h 212190"/>
                <a:gd name="connsiteX3" fmla="*/ 191298 w 217856"/>
                <a:gd name="connsiteY3" fmla="*/ 35365 h 212190"/>
                <a:gd name="connsiteX4" fmla="*/ 145526 w 217856"/>
                <a:gd name="connsiteY4" fmla="*/ 6021 h 212190"/>
                <a:gd name="connsiteX5" fmla="*/ 109526 w 217856"/>
                <a:gd name="connsiteY5" fmla="*/ 1 h 212190"/>
                <a:gd name="connsiteX6" fmla="*/ 108919 w 217856"/>
                <a:gd name="connsiteY6" fmla="*/ 123 h 212190"/>
                <a:gd name="connsiteX7" fmla="*/ 108313 w 217856"/>
                <a:gd name="connsiteY7" fmla="*/ 1 h 212190"/>
                <a:gd name="connsiteX8" fmla="*/ 72428 w 217856"/>
                <a:gd name="connsiteY8" fmla="*/ 5990 h 212190"/>
                <a:gd name="connsiteX9" fmla="*/ 26329 w 217856"/>
                <a:gd name="connsiteY9" fmla="*/ 35632 h 212190"/>
                <a:gd name="connsiteX10" fmla="*/ 22037 w 217856"/>
                <a:gd name="connsiteY10" fmla="*/ 41930 h 212190"/>
                <a:gd name="connsiteX11" fmla="*/ 18176 w 217856"/>
                <a:gd name="connsiteY11" fmla="*/ 54375 h 212190"/>
                <a:gd name="connsiteX12" fmla="*/ 221 w 217856"/>
                <a:gd name="connsiteY12" fmla="*/ 182004 h 212190"/>
                <a:gd name="connsiteX13" fmla="*/ 15084 w 217856"/>
                <a:gd name="connsiteY13" fmla="*/ 211706 h 212190"/>
                <a:gd name="connsiteX14" fmla="*/ 23031 w 217856"/>
                <a:gd name="connsiteY14" fmla="*/ 208506 h 212190"/>
                <a:gd name="connsiteX15" fmla="*/ 19831 w 217856"/>
                <a:gd name="connsiteY15" fmla="*/ 200553 h 212190"/>
                <a:gd name="connsiteX16" fmla="*/ 19831 w 217856"/>
                <a:gd name="connsiteY16" fmla="*/ 200553 h 212190"/>
                <a:gd name="connsiteX17" fmla="*/ 12260 w 217856"/>
                <a:gd name="connsiteY17" fmla="*/ 183446 h 212190"/>
                <a:gd name="connsiteX18" fmla="*/ 30220 w 217856"/>
                <a:gd name="connsiteY18" fmla="*/ 56072 h 212190"/>
                <a:gd name="connsiteX19" fmla="*/ 32706 w 217856"/>
                <a:gd name="connsiteY19" fmla="*/ 47767 h 212190"/>
                <a:gd name="connsiteX20" fmla="*/ 35421 w 217856"/>
                <a:gd name="connsiteY20" fmla="*/ 43646 h 212190"/>
                <a:gd name="connsiteX21" fmla="*/ 76368 w 217856"/>
                <a:gd name="connsiteY21" fmla="*/ 17447 h 212190"/>
                <a:gd name="connsiteX22" fmla="*/ 107743 w 217856"/>
                <a:gd name="connsiteY22" fmla="*/ 12125 h 212190"/>
                <a:gd name="connsiteX23" fmla="*/ 108319 w 217856"/>
                <a:gd name="connsiteY23" fmla="*/ 12125 h 212190"/>
                <a:gd name="connsiteX24" fmla="*/ 108926 w 217856"/>
                <a:gd name="connsiteY24" fmla="*/ 11997 h 212190"/>
                <a:gd name="connsiteX25" fmla="*/ 109532 w 217856"/>
                <a:gd name="connsiteY25" fmla="*/ 12125 h 212190"/>
                <a:gd name="connsiteX26" fmla="*/ 110108 w 217856"/>
                <a:gd name="connsiteY26" fmla="*/ 12125 h 212190"/>
                <a:gd name="connsiteX27" fmla="*/ 141550 w 217856"/>
                <a:gd name="connsiteY27" fmla="*/ 17495 h 212190"/>
                <a:gd name="connsiteX28" fmla="*/ 182163 w 217856"/>
                <a:gd name="connsiteY28" fmla="*/ 43397 h 212190"/>
                <a:gd name="connsiteX29" fmla="*/ 185139 w 217856"/>
                <a:gd name="connsiteY29" fmla="*/ 47767 h 212190"/>
                <a:gd name="connsiteX30" fmla="*/ 187631 w 217856"/>
                <a:gd name="connsiteY30" fmla="*/ 56072 h 212190"/>
                <a:gd name="connsiteX31" fmla="*/ 205555 w 217856"/>
                <a:gd name="connsiteY31" fmla="*/ 183131 h 212190"/>
                <a:gd name="connsiteX32" fmla="*/ 198014 w 217856"/>
                <a:gd name="connsiteY32" fmla="*/ 200522 h 212190"/>
                <a:gd name="connsiteX33" fmla="*/ 194813 w 217856"/>
                <a:gd name="connsiteY33" fmla="*/ 208475 h 212190"/>
                <a:gd name="connsiteX34" fmla="*/ 200427 w 217856"/>
                <a:gd name="connsiteY34" fmla="*/ 212161 h 212190"/>
                <a:gd name="connsiteX35" fmla="*/ 202803 w 217856"/>
                <a:gd name="connsiteY35" fmla="*/ 211676 h 212190"/>
                <a:gd name="connsiteX36" fmla="*/ 217630 w 217856"/>
                <a:gd name="connsiteY36" fmla="*/ 181725 h 212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217856" h="212190">
                  <a:moveTo>
                    <a:pt x="217630" y="181725"/>
                  </a:moveTo>
                  <a:lnTo>
                    <a:pt x="199693" y="54375"/>
                  </a:lnTo>
                  <a:cubicBezTo>
                    <a:pt x="199173" y="50029"/>
                    <a:pt x="197865" y="45813"/>
                    <a:pt x="195832" y="41936"/>
                  </a:cubicBezTo>
                  <a:cubicBezTo>
                    <a:pt x="194543" y="39601"/>
                    <a:pt x="193024" y="37399"/>
                    <a:pt x="191298" y="35365"/>
                  </a:cubicBezTo>
                  <a:cubicBezTo>
                    <a:pt x="178705" y="21945"/>
                    <a:pt x="162978" y="11862"/>
                    <a:pt x="145526" y="6021"/>
                  </a:cubicBezTo>
                  <a:cubicBezTo>
                    <a:pt x="133946" y="2020"/>
                    <a:pt x="121777" y="-14"/>
                    <a:pt x="109526" y="1"/>
                  </a:cubicBezTo>
                  <a:cubicBezTo>
                    <a:pt x="109320" y="1"/>
                    <a:pt x="109144" y="104"/>
                    <a:pt x="108919" y="123"/>
                  </a:cubicBezTo>
                  <a:cubicBezTo>
                    <a:pt x="108695" y="141"/>
                    <a:pt x="108544" y="1"/>
                    <a:pt x="108313" y="1"/>
                  </a:cubicBezTo>
                  <a:cubicBezTo>
                    <a:pt x="96098" y="-59"/>
                    <a:pt x="83962" y="1967"/>
                    <a:pt x="72428" y="5990"/>
                  </a:cubicBezTo>
                  <a:cubicBezTo>
                    <a:pt x="54835" y="11883"/>
                    <a:pt x="38990" y="22071"/>
                    <a:pt x="26329" y="35632"/>
                  </a:cubicBezTo>
                  <a:cubicBezTo>
                    <a:pt x="24698" y="37587"/>
                    <a:pt x="23261" y="39697"/>
                    <a:pt x="22037" y="41930"/>
                  </a:cubicBezTo>
                  <a:cubicBezTo>
                    <a:pt x="20003" y="45808"/>
                    <a:pt x="18694" y="50026"/>
                    <a:pt x="18176" y="54375"/>
                  </a:cubicBezTo>
                  <a:lnTo>
                    <a:pt x="221" y="182004"/>
                  </a:lnTo>
                  <a:cubicBezTo>
                    <a:pt x="-1519" y="200565"/>
                    <a:pt x="7344" y="208384"/>
                    <a:pt x="15084" y="211706"/>
                  </a:cubicBezTo>
                  <a:cubicBezTo>
                    <a:pt x="18162" y="213014"/>
                    <a:pt x="21719" y="211582"/>
                    <a:pt x="23031" y="208506"/>
                  </a:cubicBezTo>
                  <a:cubicBezTo>
                    <a:pt x="24344" y="205426"/>
                    <a:pt x="22911" y="201865"/>
                    <a:pt x="19831" y="200553"/>
                  </a:cubicBezTo>
                  <a:cubicBezTo>
                    <a:pt x="19831" y="200553"/>
                    <a:pt x="19831" y="200553"/>
                    <a:pt x="19831" y="200553"/>
                  </a:cubicBezTo>
                  <a:cubicBezTo>
                    <a:pt x="16042" y="198940"/>
                    <a:pt x="11150" y="195388"/>
                    <a:pt x="12260" y="183446"/>
                  </a:cubicBezTo>
                  <a:lnTo>
                    <a:pt x="30220" y="56072"/>
                  </a:lnTo>
                  <a:cubicBezTo>
                    <a:pt x="30542" y="53177"/>
                    <a:pt x="31384" y="50364"/>
                    <a:pt x="32706" y="47767"/>
                  </a:cubicBezTo>
                  <a:cubicBezTo>
                    <a:pt x="33490" y="46318"/>
                    <a:pt x="34399" y="44939"/>
                    <a:pt x="35421" y="43646"/>
                  </a:cubicBezTo>
                  <a:cubicBezTo>
                    <a:pt x="46688" y="31654"/>
                    <a:pt x="60759" y="22651"/>
                    <a:pt x="76368" y="17447"/>
                  </a:cubicBezTo>
                  <a:cubicBezTo>
                    <a:pt x="86451" y="13912"/>
                    <a:pt x="97059" y="12112"/>
                    <a:pt x="107743" y="12125"/>
                  </a:cubicBezTo>
                  <a:lnTo>
                    <a:pt x="108319" y="12125"/>
                  </a:lnTo>
                  <a:cubicBezTo>
                    <a:pt x="108524" y="12094"/>
                    <a:pt x="108726" y="12051"/>
                    <a:pt x="108926" y="11997"/>
                  </a:cubicBezTo>
                  <a:cubicBezTo>
                    <a:pt x="109125" y="12051"/>
                    <a:pt x="109327" y="12094"/>
                    <a:pt x="109532" y="12125"/>
                  </a:cubicBezTo>
                  <a:lnTo>
                    <a:pt x="110108" y="12125"/>
                  </a:lnTo>
                  <a:cubicBezTo>
                    <a:pt x="120817" y="12125"/>
                    <a:pt x="131448" y="13941"/>
                    <a:pt x="141550" y="17495"/>
                  </a:cubicBezTo>
                  <a:cubicBezTo>
                    <a:pt x="157017" y="22647"/>
                    <a:pt x="170969" y="31545"/>
                    <a:pt x="182163" y="43397"/>
                  </a:cubicBezTo>
                  <a:cubicBezTo>
                    <a:pt x="183295" y="44754"/>
                    <a:pt x="184292" y="46217"/>
                    <a:pt x="185139" y="47767"/>
                  </a:cubicBezTo>
                  <a:cubicBezTo>
                    <a:pt x="186465" y="50363"/>
                    <a:pt x="187309" y="53176"/>
                    <a:pt x="187631" y="56072"/>
                  </a:cubicBezTo>
                  <a:lnTo>
                    <a:pt x="205555" y="183131"/>
                  </a:lnTo>
                  <a:cubicBezTo>
                    <a:pt x="206695" y="195364"/>
                    <a:pt x="201803" y="198892"/>
                    <a:pt x="198014" y="200522"/>
                  </a:cubicBezTo>
                  <a:cubicBezTo>
                    <a:pt x="194934" y="201834"/>
                    <a:pt x="193501" y="205395"/>
                    <a:pt x="194813" y="208475"/>
                  </a:cubicBezTo>
                  <a:cubicBezTo>
                    <a:pt x="195770" y="210722"/>
                    <a:pt x="197983" y="212176"/>
                    <a:pt x="200427" y="212161"/>
                  </a:cubicBezTo>
                  <a:cubicBezTo>
                    <a:pt x="201243" y="212163"/>
                    <a:pt x="202052" y="211998"/>
                    <a:pt x="202803" y="211676"/>
                  </a:cubicBezTo>
                  <a:cubicBezTo>
                    <a:pt x="210538" y="208384"/>
                    <a:pt x="219394" y="200565"/>
                    <a:pt x="217630" y="181725"/>
                  </a:cubicBez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5" name="Freihandform: Form 244">
              <a:extLst>
                <a:ext uri="{FF2B5EF4-FFF2-40B4-BE49-F238E27FC236}">
                  <a16:creationId xmlns:a16="http://schemas.microsoft.com/office/drawing/2014/main" id="{9241349A-74EA-48C1-B750-B3CADA93F163}"/>
                </a:ext>
              </a:extLst>
            </p:cNvPr>
            <p:cNvSpPr/>
            <p:nvPr/>
          </p:nvSpPr>
          <p:spPr>
            <a:xfrm>
              <a:off x="3447734" y="5119505"/>
              <a:ext cx="185730" cy="375825"/>
            </a:xfrm>
            <a:custGeom>
              <a:avLst/>
              <a:gdLst>
                <a:gd name="connsiteX0" fmla="*/ 141298 w 185730"/>
                <a:gd name="connsiteY0" fmla="*/ 54816 h 375825"/>
                <a:gd name="connsiteX1" fmla="*/ 141347 w 185730"/>
                <a:gd name="connsiteY1" fmla="*/ 54555 h 375825"/>
                <a:gd name="connsiteX2" fmla="*/ 141347 w 185730"/>
                <a:gd name="connsiteY2" fmla="*/ 6062 h 375825"/>
                <a:gd name="connsiteX3" fmla="*/ 135285 w 185730"/>
                <a:gd name="connsiteY3" fmla="*/ 0 h 375825"/>
                <a:gd name="connsiteX4" fmla="*/ 129223 w 185730"/>
                <a:gd name="connsiteY4" fmla="*/ 6062 h 375825"/>
                <a:gd name="connsiteX5" fmla="*/ 129223 w 185730"/>
                <a:gd name="connsiteY5" fmla="*/ 54555 h 375825"/>
                <a:gd name="connsiteX6" fmla="*/ 129308 w 185730"/>
                <a:gd name="connsiteY6" fmla="*/ 54974 h 375825"/>
                <a:gd name="connsiteX7" fmla="*/ 129454 w 185730"/>
                <a:gd name="connsiteY7" fmla="*/ 57483 h 375825"/>
                <a:gd name="connsiteX8" fmla="*/ 169709 w 185730"/>
                <a:gd name="connsiteY8" fmla="*/ 200036 h 375825"/>
                <a:gd name="connsiteX9" fmla="*/ 15985 w 185730"/>
                <a:gd name="connsiteY9" fmla="*/ 200036 h 375825"/>
                <a:gd name="connsiteX10" fmla="*/ 56259 w 185730"/>
                <a:gd name="connsiteY10" fmla="*/ 56192 h 375825"/>
                <a:gd name="connsiteX11" fmla="*/ 56483 w 185730"/>
                <a:gd name="connsiteY11" fmla="*/ 6062 h 375825"/>
                <a:gd name="connsiteX12" fmla="*/ 50421 w 185730"/>
                <a:gd name="connsiteY12" fmla="*/ 0 h 375825"/>
                <a:gd name="connsiteX13" fmla="*/ 44360 w 185730"/>
                <a:gd name="connsiteY13" fmla="*/ 6062 h 375825"/>
                <a:gd name="connsiteX14" fmla="*/ 44360 w 185730"/>
                <a:gd name="connsiteY14" fmla="*/ 53725 h 375825"/>
                <a:gd name="connsiteX15" fmla="*/ 0 w 185730"/>
                <a:gd name="connsiteY15" fmla="*/ 212159 h 375825"/>
                <a:gd name="connsiteX16" fmla="*/ 38298 w 185730"/>
                <a:gd name="connsiteY16" fmla="*/ 212159 h 375825"/>
                <a:gd name="connsiteX17" fmla="*/ 38298 w 185730"/>
                <a:gd name="connsiteY17" fmla="*/ 375825 h 375825"/>
                <a:gd name="connsiteX18" fmla="*/ 147408 w 185730"/>
                <a:gd name="connsiteY18" fmla="*/ 375825 h 375825"/>
                <a:gd name="connsiteX19" fmla="*/ 147408 w 185730"/>
                <a:gd name="connsiteY19" fmla="*/ 212159 h 375825"/>
                <a:gd name="connsiteX20" fmla="*/ 185730 w 185730"/>
                <a:gd name="connsiteY20" fmla="*/ 212159 h 375825"/>
                <a:gd name="connsiteX21" fmla="*/ 50421 w 185730"/>
                <a:gd name="connsiteY21" fmla="*/ 212159 h 375825"/>
                <a:gd name="connsiteX22" fmla="*/ 86791 w 185730"/>
                <a:gd name="connsiteY22" fmla="*/ 212159 h 375825"/>
                <a:gd name="connsiteX23" fmla="*/ 86791 w 185730"/>
                <a:gd name="connsiteY23" fmla="*/ 363702 h 375825"/>
                <a:gd name="connsiteX24" fmla="*/ 50421 w 185730"/>
                <a:gd name="connsiteY24" fmla="*/ 363702 h 375825"/>
                <a:gd name="connsiteX25" fmla="*/ 135285 w 185730"/>
                <a:gd name="connsiteY25" fmla="*/ 363702 h 375825"/>
                <a:gd name="connsiteX26" fmla="*/ 98915 w 185730"/>
                <a:gd name="connsiteY26" fmla="*/ 363702 h 375825"/>
                <a:gd name="connsiteX27" fmla="*/ 98915 w 185730"/>
                <a:gd name="connsiteY27" fmla="*/ 212159 h 375825"/>
                <a:gd name="connsiteX28" fmla="*/ 135285 w 185730"/>
                <a:gd name="connsiteY28" fmla="*/ 212159 h 375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85730" h="375825">
                  <a:moveTo>
                    <a:pt x="141298" y="54816"/>
                  </a:moveTo>
                  <a:cubicBezTo>
                    <a:pt x="141298" y="54725"/>
                    <a:pt x="141347" y="54646"/>
                    <a:pt x="141347" y="54555"/>
                  </a:cubicBezTo>
                  <a:lnTo>
                    <a:pt x="141347" y="6062"/>
                  </a:lnTo>
                  <a:cubicBezTo>
                    <a:pt x="141347" y="2714"/>
                    <a:pt x="138633" y="0"/>
                    <a:pt x="135285" y="0"/>
                  </a:cubicBezTo>
                  <a:cubicBezTo>
                    <a:pt x="131937" y="0"/>
                    <a:pt x="129223" y="2714"/>
                    <a:pt x="129223" y="6062"/>
                  </a:cubicBezTo>
                  <a:lnTo>
                    <a:pt x="129223" y="54555"/>
                  </a:lnTo>
                  <a:cubicBezTo>
                    <a:pt x="129223" y="54701"/>
                    <a:pt x="129302" y="54828"/>
                    <a:pt x="129308" y="54974"/>
                  </a:cubicBezTo>
                  <a:cubicBezTo>
                    <a:pt x="129182" y="55811"/>
                    <a:pt x="129231" y="56666"/>
                    <a:pt x="129454" y="57483"/>
                  </a:cubicBezTo>
                  <a:lnTo>
                    <a:pt x="169709" y="200036"/>
                  </a:lnTo>
                  <a:lnTo>
                    <a:pt x="15985" y="200036"/>
                  </a:lnTo>
                  <a:lnTo>
                    <a:pt x="56259" y="56192"/>
                  </a:lnTo>
                  <a:lnTo>
                    <a:pt x="56483" y="6062"/>
                  </a:lnTo>
                  <a:cubicBezTo>
                    <a:pt x="56483" y="2714"/>
                    <a:pt x="53769" y="0"/>
                    <a:pt x="50421" y="0"/>
                  </a:cubicBezTo>
                  <a:cubicBezTo>
                    <a:pt x="47073" y="0"/>
                    <a:pt x="44360" y="2714"/>
                    <a:pt x="44360" y="6062"/>
                  </a:cubicBezTo>
                  <a:lnTo>
                    <a:pt x="44360" y="53725"/>
                  </a:lnTo>
                  <a:lnTo>
                    <a:pt x="0" y="212159"/>
                  </a:lnTo>
                  <a:lnTo>
                    <a:pt x="38298" y="212159"/>
                  </a:lnTo>
                  <a:lnTo>
                    <a:pt x="38298" y="375825"/>
                  </a:lnTo>
                  <a:lnTo>
                    <a:pt x="147408" y="375825"/>
                  </a:lnTo>
                  <a:lnTo>
                    <a:pt x="147408" y="212159"/>
                  </a:lnTo>
                  <a:lnTo>
                    <a:pt x="185730" y="212159"/>
                  </a:lnTo>
                  <a:close/>
                  <a:moveTo>
                    <a:pt x="50421" y="212159"/>
                  </a:moveTo>
                  <a:lnTo>
                    <a:pt x="86791" y="212159"/>
                  </a:lnTo>
                  <a:lnTo>
                    <a:pt x="86791" y="363702"/>
                  </a:lnTo>
                  <a:lnTo>
                    <a:pt x="50421" y="363702"/>
                  </a:lnTo>
                  <a:close/>
                  <a:moveTo>
                    <a:pt x="135285" y="363702"/>
                  </a:moveTo>
                  <a:lnTo>
                    <a:pt x="98915" y="363702"/>
                  </a:lnTo>
                  <a:lnTo>
                    <a:pt x="98915" y="212159"/>
                  </a:lnTo>
                  <a:lnTo>
                    <a:pt x="135285" y="212159"/>
                  </a:lnTo>
                  <a:close/>
                </a:path>
              </a:pathLst>
            </a:custGeom>
            <a:solidFill>
              <a:schemeClr val="tx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2154F69-B954-4DF0-8D85-53B968B3B44E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8159A088-CBAE-4393-85F3-E00D38E505A2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E389CABE-9AD5-4F5B-B807-B0D40F7217B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sp>
        <p:nvSpPr>
          <p:cNvPr id="54" name="Grafik 12" descr="Pfeil nach rechts Silhouette">
            <a:extLst>
              <a:ext uri="{FF2B5EF4-FFF2-40B4-BE49-F238E27FC236}">
                <a16:creationId xmlns:a16="http://schemas.microsoft.com/office/drawing/2014/main" id="{D70A80E7-07F0-4228-8B6E-0ADDEAFF1ED2}"/>
              </a:ext>
            </a:extLst>
          </p:cNvPr>
          <p:cNvSpPr/>
          <p:nvPr/>
        </p:nvSpPr>
        <p:spPr>
          <a:xfrm>
            <a:off x="4363372" y="2365621"/>
            <a:ext cx="509181" cy="193974"/>
          </a:xfrm>
          <a:custGeom>
            <a:avLst/>
            <a:gdLst>
              <a:gd name="connsiteX0" fmla="*/ 416481 w 509181"/>
              <a:gd name="connsiteY0" fmla="*/ 1702 h 193974"/>
              <a:gd name="connsiteX1" fmla="*/ 407910 w 509181"/>
              <a:gd name="connsiteY1" fmla="*/ 1851 h 193974"/>
              <a:gd name="connsiteX2" fmla="*/ 407910 w 509181"/>
              <a:gd name="connsiteY2" fmla="*/ 10273 h 193974"/>
              <a:gd name="connsiteX3" fmla="*/ 488385 w 509181"/>
              <a:gd name="connsiteY3" fmla="*/ 90748 h 193974"/>
              <a:gd name="connsiteX4" fmla="*/ 488384 w 509181"/>
              <a:gd name="connsiteY4" fmla="*/ 90834 h 193974"/>
              <a:gd name="connsiteX5" fmla="*/ 488343 w 509181"/>
              <a:gd name="connsiteY5" fmla="*/ 90851 h 193974"/>
              <a:gd name="connsiteX6" fmla="*/ 6062 w 509181"/>
              <a:gd name="connsiteY6" fmla="*/ 90851 h 193974"/>
              <a:gd name="connsiteX7" fmla="*/ 0 w 509181"/>
              <a:gd name="connsiteY7" fmla="*/ 96913 h 193974"/>
              <a:gd name="connsiteX8" fmla="*/ 6062 w 509181"/>
              <a:gd name="connsiteY8" fmla="*/ 102974 h 193974"/>
              <a:gd name="connsiteX9" fmla="*/ 488343 w 509181"/>
              <a:gd name="connsiteY9" fmla="*/ 102974 h 193974"/>
              <a:gd name="connsiteX10" fmla="*/ 488403 w 509181"/>
              <a:gd name="connsiteY10" fmla="*/ 103036 h 193974"/>
              <a:gd name="connsiteX11" fmla="*/ 488385 w 509181"/>
              <a:gd name="connsiteY11" fmla="*/ 103078 h 193974"/>
              <a:gd name="connsiteX12" fmla="*/ 407910 w 509181"/>
              <a:gd name="connsiteY12" fmla="*/ 183553 h 193974"/>
              <a:gd name="connsiteX13" fmla="*/ 407761 w 509181"/>
              <a:gd name="connsiteY13" fmla="*/ 192124 h 193974"/>
              <a:gd name="connsiteX14" fmla="*/ 416332 w 509181"/>
              <a:gd name="connsiteY14" fmla="*/ 192273 h 193974"/>
              <a:gd name="connsiteX15" fmla="*/ 416481 w 509181"/>
              <a:gd name="connsiteY15" fmla="*/ 192124 h 193974"/>
              <a:gd name="connsiteX16" fmla="*/ 507407 w 509181"/>
              <a:gd name="connsiteY16" fmla="*/ 101198 h 193974"/>
              <a:gd name="connsiteX17" fmla="*/ 507407 w 509181"/>
              <a:gd name="connsiteY17" fmla="*/ 92627 h 193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09181" h="193974">
                <a:moveTo>
                  <a:pt x="416481" y="1702"/>
                </a:moveTo>
                <a:cubicBezTo>
                  <a:pt x="414073" y="-624"/>
                  <a:pt x="410236" y="-558"/>
                  <a:pt x="407910" y="1851"/>
                </a:cubicBezTo>
                <a:cubicBezTo>
                  <a:pt x="405641" y="4200"/>
                  <a:pt x="405641" y="7924"/>
                  <a:pt x="407910" y="10273"/>
                </a:cubicBezTo>
                <a:lnTo>
                  <a:pt x="488385" y="90748"/>
                </a:lnTo>
                <a:cubicBezTo>
                  <a:pt x="488409" y="90772"/>
                  <a:pt x="488408" y="90810"/>
                  <a:pt x="488384" y="90834"/>
                </a:cubicBezTo>
                <a:cubicBezTo>
                  <a:pt x="488373" y="90844"/>
                  <a:pt x="488358" y="90851"/>
                  <a:pt x="488343" y="90851"/>
                </a:cubicBezTo>
                <a:lnTo>
                  <a:pt x="6062" y="90851"/>
                </a:lnTo>
                <a:cubicBezTo>
                  <a:pt x="2714" y="90851"/>
                  <a:pt x="0" y="93565"/>
                  <a:pt x="0" y="96913"/>
                </a:cubicBezTo>
                <a:cubicBezTo>
                  <a:pt x="0" y="100261"/>
                  <a:pt x="2714" y="102974"/>
                  <a:pt x="6062" y="102974"/>
                </a:cubicBezTo>
                <a:lnTo>
                  <a:pt x="488343" y="102974"/>
                </a:lnTo>
                <a:cubicBezTo>
                  <a:pt x="488376" y="102975"/>
                  <a:pt x="488403" y="103002"/>
                  <a:pt x="488403" y="103036"/>
                </a:cubicBezTo>
                <a:cubicBezTo>
                  <a:pt x="488402" y="103051"/>
                  <a:pt x="488396" y="103067"/>
                  <a:pt x="488385" y="103078"/>
                </a:cubicBezTo>
                <a:lnTo>
                  <a:pt x="407910" y="183553"/>
                </a:lnTo>
                <a:cubicBezTo>
                  <a:pt x="405502" y="185879"/>
                  <a:pt x="405435" y="189716"/>
                  <a:pt x="407761" y="192124"/>
                </a:cubicBezTo>
                <a:cubicBezTo>
                  <a:pt x="410087" y="194532"/>
                  <a:pt x="413924" y="194599"/>
                  <a:pt x="416332" y="192273"/>
                </a:cubicBezTo>
                <a:cubicBezTo>
                  <a:pt x="416383" y="192224"/>
                  <a:pt x="416433" y="192174"/>
                  <a:pt x="416481" y="192124"/>
                </a:cubicBezTo>
                <a:lnTo>
                  <a:pt x="507407" y="101198"/>
                </a:lnTo>
                <a:cubicBezTo>
                  <a:pt x="509773" y="98831"/>
                  <a:pt x="509773" y="94994"/>
                  <a:pt x="507407" y="92627"/>
                </a:cubicBezTo>
                <a:close/>
              </a:path>
            </a:pathLst>
          </a:custGeom>
          <a:solidFill>
            <a:schemeClr val="tx1"/>
          </a:solidFill>
          <a:ln w="6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6" name="Grafik 13" descr="Caretzeichen nach links Silhouette">
            <a:extLst>
              <a:ext uri="{FF2B5EF4-FFF2-40B4-BE49-F238E27FC236}">
                <a16:creationId xmlns:a16="http://schemas.microsoft.com/office/drawing/2014/main" id="{05167D41-E9B0-4E4A-A722-9D75DADA892D}"/>
              </a:ext>
            </a:extLst>
          </p:cNvPr>
          <p:cNvSpPr/>
          <p:nvPr/>
        </p:nvSpPr>
        <p:spPr>
          <a:xfrm rot="10800000">
            <a:off x="2483088" y="2300643"/>
            <a:ext cx="170461" cy="323779"/>
          </a:xfrm>
          <a:custGeom>
            <a:avLst/>
            <a:gdLst>
              <a:gd name="connsiteX0" fmla="*/ 161890 w 170461"/>
              <a:gd name="connsiteY0" fmla="*/ 0 h 323779"/>
              <a:gd name="connsiteX1" fmla="*/ 0 w 170461"/>
              <a:gd name="connsiteY1" fmla="*/ 161890 h 323779"/>
              <a:gd name="connsiteX2" fmla="*/ 161890 w 170461"/>
              <a:gd name="connsiteY2" fmla="*/ 323780 h 323779"/>
              <a:gd name="connsiteX3" fmla="*/ 170461 w 170461"/>
              <a:gd name="connsiteY3" fmla="*/ 315208 h 323779"/>
              <a:gd name="connsiteX4" fmla="*/ 17143 w 170461"/>
              <a:gd name="connsiteY4" fmla="*/ 161890 h 323779"/>
              <a:gd name="connsiteX5" fmla="*/ 170461 w 170461"/>
              <a:gd name="connsiteY5" fmla="*/ 8571 h 323779"/>
              <a:gd name="connsiteX6" fmla="*/ 161890 w 170461"/>
              <a:gd name="connsiteY6" fmla="*/ 0 h 323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0461" h="323779">
                <a:moveTo>
                  <a:pt x="161890" y="0"/>
                </a:moveTo>
                <a:lnTo>
                  <a:pt x="0" y="161890"/>
                </a:lnTo>
                <a:lnTo>
                  <a:pt x="161890" y="323780"/>
                </a:lnTo>
                <a:lnTo>
                  <a:pt x="170461" y="315208"/>
                </a:lnTo>
                <a:lnTo>
                  <a:pt x="17143" y="161890"/>
                </a:lnTo>
                <a:lnTo>
                  <a:pt x="170461" y="8571"/>
                </a:lnTo>
                <a:lnTo>
                  <a:pt x="161890" y="0"/>
                </a:lnTo>
                <a:close/>
              </a:path>
            </a:pathLst>
          </a:custGeom>
          <a:solidFill>
            <a:schemeClr val="tx1"/>
          </a:solidFill>
          <a:ln w="6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1" name="Grafik 15" descr="Wiedergabe Silhouette">
            <a:extLst>
              <a:ext uri="{FF2B5EF4-FFF2-40B4-BE49-F238E27FC236}">
                <a16:creationId xmlns:a16="http://schemas.microsoft.com/office/drawing/2014/main" id="{452545CD-201B-4435-8AB6-A538085E70CF}"/>
              </a:ext>
            </a:extLst>
          </p:cNvPr>
          <p:cNvSpPr/>
          <p:nvPr/>
        </p:nvSpPr>
        <p:spPr>
          <a:xfrm>
            <a:off x="1367890" y="2239221"/>
            <a:ext cx="344540" cy="446625"/>
          </a:xfrm>
          <a:custGeom>
            <a:avLst/>
            <a:gdLst>
              <a:gd name="connsiteX0" fmla="*/ 0 w 344540"/>
              <a:gd name="connsiteY0" fmla="*/ 446626 h 446625"/>
              <a:gd name="connsiteX1" fmla="*/ 344541 w 344540"/>
              <a:gd name="connsiteY1" fmla="*/ 223313 h 446625"/>
              <a:gd name="connsiteX2" fmla="*/ 0 w 344540"/>
              <a:gd name="connsiteY2" fmla="*/ 0 h 446625"/>
              <a:gd name="connsiteX3" fmla="*/ 12123 w 344540"/>
              <a:gd name="connsiteY3" fmla="*/ 22307 h 446625"/>
              <a:gd name="connsiteX4" fmla="*/ 322246 w 344540"/>
              <a:gd name="connsiteY4" fmla="*/ 223313 h 446625"/>
              <a:gd name="connsiteX5" fmla="*/ 12123 w 344540"/>
              <a:gd name="connsiteY5" fmla="*/ 424319 h 446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44540" h="446625">
                <a:moveTo>
                  <a:pt x="0" y="446626"/>
                </a:moveTo>
                <a:lnTo>
                  <a:pt x="344541" y="223313"/>
                </a:lnTo>
                <a:lnTo>
                  <a:pt x="0" y="0"/>
                </a:lnTo>
                <a:close/>
                <a:moveTo>
                  <a:pt x="12123" y="22307"/>
                </a:moveTo>
                <a:lnTo>
                  <a:pt x="322246" y="223313"/>
                </a:lnTo>
                <a:lnTo>
                  <a:pt x="12123" y="424319"/>
                </a:lnTo>
                <a:close/>
              </a:path>
            </a:pathLst>
          </a:custGeom>
          <a:solidFill>
            <a:schemeClr val="tx1"/>
          </a:solidFill>
          <a:ln w="6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8" name="Grafik 18" descr="Aktualisieren Silhouette">
            <a:extLst>
              <a:ext uri="{FF2B5EF4-FFF2-40B4-BE49-F238E27FC236}">
                <a16:creationId xmlns:a16="http://schemas.microsoft.com/office/drawing/2014/main" id="{3B449257-8D1A-4058-9956-B31403057938}"/>
              </a:ext>
            </a:extLst>
          </p:cNvPr>
          <p:cNvSpPr/>
          <p:nvPr/>
        </p:nvSpPr>
        <p:spPr>
          <a:xfrm>
            <a:off x="9419612" y="2257969"/>
            <a:ext cx="392145" cy="409160"/>
          </a:xfrm>
          <a:custGeom>
            <a:avLst/>
            <a:gdLst>
              <a:gd name="connsiteX0" fmla="*/ 278508 w 392145"/>
              <a:gd name="connsiteY0" fmla="*/ 125019 h 409160"/>
              <a:gd name="connsiteX1" fmla="*/ 392146 w 392145"/>
              <a:gd name="connsiteY1" fmla="*/ 125019 h 409160"/>
              <a:gd name="connsiteX2" fmla="*/ 392146 w 392145"/>
              <a:gd name="connsiteY2" fmla="*/ 11381 h 409160"/>
              <a:gd name="connsiteX3" fmla="*/ 380782 w 392145"/>
              <a:gd name="connsiteY3" fmla="*/ 11381 h 409160"/>
              <a:gd name="connsiteX4" fmla="*/ 380782 w 392145"/>
              <a:gd name="connsiteY4" fmla="*/ 100518 h 409160"/>
              <a:gd name="connsiteX5" fmla="*/ 380731 w 392145"/>
              <a:gd name="connsiteY5" fmla="*/ 100570 h 409160"/>
              <a:gd name="connsiteX6" fmla="*/ 380680 w 392145"/>
              <a:gd name="connsiteY6" fmla="*/ 100518 h 409160"/>
              <a:gd name="connsiteX7" fmla="*/ 100518 w 392145"/>
              <a:gd name="connsiteY7" fmla="*/ 28481 h 409160"/>
              <a:gd name="connsiteX8" fmla="*/ 28481 w 392145"/>
              <a:gd name="connsiteY8" fmla="*/ 308642 h 409160"/>
              <a:gd name="connsiteX9" fmla="*/ 308642 w 392145"/>
              <a:gd name="connsiteY9" fmla="*/ 380680 h 409160"/>
              <a:gd name="connsiteX10" fmla="*/ 344884 w 392145"/>
              <a:gd name="connsiteY10" fmla="*/ 353425 h 409160"/>
              <a:gd name="connsiteX11" fmla="*/ 337082 w 392145"/>
              <a:gd name="connsiteY11" fmla="*/ 345158 h 409160"/>
              <a:gd name="connsiteX12" fmla="*/ 63932 w 392145"/>
              <a:gd name="connsiteY12" fmla="*/ 337167 h 409160"/>
              <a:gd name="connsiteX13" fmla="*/ 71922 w 392145"/>
              <a:gd name="connsiteY13" fmla="*/ 64016 h 409160"/>
              <a:gd name="connsiteX14" fmla="*/ 345073 w 392145"/>
              <a:gd name="connsiteY14" fmla="*/ 72007 h 409160"/>
              <a:gd name="connsiteX15" fmla="*/ 374941 w 392145"/>
              <a:gd name="connsiteY15" fmla="*/ 113547 h 409160"/>
              <a:gd name="connsiteX16" fmla="*/ 374920 w 392145"/>
              <a:gd name="connsiteY16" fmla="*/ 113625 h 409160"/>
              <a:gd name="connsiteX17" fmla="*/ 374890 w 392145"/>
              <a:gd name="connsiteY17" fmla="*/ 113632 h 409160"/>
              <a:gd name="connsiteX18" fmla="*/ 278508 w 392145"/>
              <a:gd name="connsiteY18" fmla="*/ 113632 h 409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392145" h="409160">
                <a:moveTo>
                  <a:pt x="278508" y="125019"/>
                </a:moveTo>
                <a:lnTo>
                  <a:pt x="392146" y="125019"/>
                </a:lnTo>
                <a:lnTo>
                  <a:pt x="392146" y="11381"/>
                </a:lnTo>
                <a:lnTo>
                  <a:pt x="380782" y="11381"/>
                </a:lnTo>
                <a:lnTo>
                  <a:pt x="380782" y="100518"/>
                </a:lnTo>
                <a:cubicBezTo>
                  <a:pt x="380782" y="100547"/>
                  <a:pt x="380759" y="100570"/>
                  <a:pt x="380731" y="100570"/>
                </a:cubicBezTo>
                <a:cubicBezTo>
                  <a:pt x="380702" y="100570"/>
                  <a:pt x="380680" y="100547"/>
                  <a:pt x="380680" y="100518"/>
                </a:cubicBezTo>
                <a:cubicBezTo>
                  <a:pt x="323208" y="3262"/>
                  <a:pt x="197776" y="-28991"/>
                  <a:pt x="100518" y="28481"/>
                </a:cubicBezTo>
                <a:cubicBezTo>
                  <a:pt x="3261" y="85952"/>
                  <a:pt x="-28991" y="211384"/>
                  <a:pt x="28481" y="308642"/>
                </a:cubicBezTo>
                <a:cubicBezTo>
                  <a:pt x="85952" y="405899"/>
                  <a:pt x="211385" y="438151"/>
                  <a:pt x="308642" y="380680"/>
                </a:cubicBezTo>
                <a:cubicBezTo>
                  <a:pt x="321695" y="372966"/>
                  <a:pt x="333851" y="363825"/>
                  <a:pt x="344884" y="353425"/>
                </a:cubicBezTo>
                <a:lnTo>
                  <a:pt x="337082" y="345158"/>
                </a:lnTo>
                <a:cubicBezTo>
                  <a:pt x="259447" y="418380"/>
                  <a:pt x="137153" y="414802"/>
                  <a:pt x="63932" y="337167"/>
                </a:cubicBezTo>
                <a:cubicBezTo>
                  <a:pt x="-9291" y="259532"/>
                  <a:pt x="-5713" y="137239"/>
                  <a:pt x="71922" y="64016"/>
                </a:cubicBezTo>
                <a:cubicBezTo>
                  <a:pt x="149557" y="-9206"/>
                  <a:pt x="271850" y="-5628"/>
                  <a:pt x="345073" y="72007"/>
                </a:cubicBezTo>
                <a:cubicBezTo>
                  <a:pt x="356826" y="84468"/>
                  <a:pt x="366870" y="98438"/>
                  <a:pt x="374941" y="113547"/>
                </a:cubicBezTo>
                <a:cubicBezTo>
                  <a:pt x="374957" y="113574"/>
                  <a:pt x="374947" y="113609"/>
                  <a:pt x="374920" y="113625"/>
                </a:cubicBezTo>
                <a:cubicBezTo>
                  <a:pt x="374911" y="113630"/>
                  <a:pt x="374901" y="113633"/>
                  <a:pt x="374890" y="113632"/>
                </a:cubicBezTo>
                <a:lnTo>
                  <a:pt x="278508" y="113632"/>
                </a:lnTo>
                <a:close/>
              </a:path>
            </a:pathLst>
          </a:custGeom>
          <a:solidFill>
            <a:schemeClr val="tx1"/>
          </a:solidFill>
          <a:ln w="56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9" name="Grafik 19" descr="Hinzufügen Silhouette">
            <a:extLst>
              <a:ext uri="{FF2B5EF4-FFF2-40B4-BE49-F238E27FC236}">
                <a16:creationId xmlns:a16="http://schemas.microsoft.com/office/drawing/2014/main" id="{922E3C5D-6C22-466F-A418-B54F059AA291}"/>
              </a:ext>
            </a:extLst>
          </p:cNvPr>
          <p:cNvSpPr/>
          <p:nvPr/>
        </p:nvSpPr>
        <p:spPr>
          <a:xfrm>
            <a:off x="6426021" y="2235259"/>
            <a:ext cx="454550" cy="454550"/>
          </a:xfrm>
          <a:custGeom>
            <a:avLst/>
            <a:gdLst>
              <a:gd name="connsiteX0" fmla="*/ 232957 w 454550"/>
              <a:gd name="connsiteY0" fmla="*/ 0 h 454550"/>
              <a:gd name="connsiteX1" fmla="*/ 221594 w 454550"/>
              <a:gd name="connsiteY1" fmla="*/ 0 h 454550"/>
              <a:gd name="connsiteX2" fmla="*/ 221594 w 454550"/>
              <a:gd name="connsiteY2" fmla="*/ 221594 h 454550"/>
              <a:gd name="connsiteX3" fmla="*/ 0 w 454550"/>
              <a:gd name="connsiteY3" fmla="*/ 221594 h 454550"/>
              <a:gd name="connsiteX4" fmla="*/ 0 w 454550"/>
              <a:gd name="connsiteY4" fmla="*/ 232957 h 454550"/>
              <a:gd name="connsiteX5" fmla="*/ 221594 w 454550"/>
              <a:gd name="connsiteY5" fmla="*/ 232957 h 454550"/>
              <a:gd name="connsiteX6" fmla="*/ 221594 w 454550"/>
              <a:gd name="connsiteY6" fmla="*/ 454551 h 454550"/>
              <a:gd name="connsiteX7" fmla="*/ 232957 w 454550"/>
              <a:gd name="connsiteY7" fmla="*/ 454551 h 454550"/>
              <a:gd name="connsiteX8" fmla="*/ 232957 w 454550"/>
              <a:gd name="connsiteY8" fmla="*/ 232957 h 454550"/>
              <a:gd name="connsiteX9" fmla="*/ 454551 w 454550"/>
              <a:gd name="connsiteY9" fmla="*/ 232957 h 454550"/>
              <a:gd name="connsiteX10" fmla="*/ 454551 w 454550"/>
              <a:gd name="connsiteY10" fmla="*/ 221594 h 454550"/>
              <a:gd name="connsiteX11" fmla="*/ 232957 w 454550"/>
              <a:gd name="connsiteY11" fmla="*/ 221594 h 454550"/>
              <a:gd name="connsiteX12" fmla="*/ 232957 w 454550"/>
              <a:gd name="connsiteY12" fmla="*/ 0 h 454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54550" h="454550">
                <a:moveTo>
                  <a:pt x="232957" y="0"/>
                </a:moveTo>
                <a:lnTo>
                  <a:pt x="221594" y="0"/>
                </a:lnTo>
                <a:lnTo>
                  <a:pt x="221594" y="221594"/>
                </a:lnTo>
                <a:lnTo>
                  <a:pt x="0" y="221594"/>
                </a:lnTo>
                <a:lnTo>
                  <a:pt x="0" y="232957"/>
                </a:lnTo>
                <a:lnTo>
                  <a:pt x="221594" y="232957"/>
                </a:lnTo>
                <a:lnTo>
                  <a:pt x="221594" y="454551"/>
                </a:lnTo>
                <a:lnTo>
                  <a:pt x="232957" y="454551"/>
                </a:lnTo>
                <a:lnTo>
                  <a:pt x="232957" y="232957"/>
                </a:lnTo>
                <a:lnTo>
                  <a:pt x="454551" y="232957"/>
                </a:lnTo>
                <a:lnTo>
                  <a:pt x="454551" y="221594"/>
                </a:lnTo>
                <a:lnTo>
                  <a:pt x="232957" y="221594"/>
                </a:lnTo>
                <a:lnTo>
                  <a:pt x="232957" y="0"/>
                </a:lnTo>
                <a:close/>
              </a:path>
            </a:pathLst>
          </a:custGeom>
          <a:solidFill>
            <a:schemeClr val="tx1"/>
          </a:solidFill>
          <a:ln w="56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0" name="Grafik 20" descr="Häkchen Silhouette">
            <a:extLst>
              <a:ext uri="{FF2B5EF4-FFF2-40B4-BE49-F238E27FC236}">
                <a16:creationId xmlns:a16="http://schemas.microsoft.com/office/drawing/2014/main" id="{3054DB5E-76A7-4756-8282-A58B6833C156}"/>
              </a:ext>
            </a:extLst>
          </p:cNvPr>
          <p:cNvSpPr/>
          <p:nvPr/>
        </p:nvSpPr>
        <p:spPr>
          <a:xfrm>
            <a:off x="7400960" y="2299276"/>
            <a:ext cx="485164" cy="304668"/>
          </a:xfrm>
          <a:custGeom>
            <a:avLst/>
            <a:gdLst>
              <a:gd name="connsiteX0" fmla="*/ 166099 w 485164"/>
              <a:gd name="connsiteY0" fmla="*/ 288895 h 304668"/>
              <a:gd name="connsiteX1" fmla="*/ 8034 w 485164"/>
              <a:gd name="connsiteY1" fmla="*/ 130831 h 304668"/>
              <a:gd name="connsiteX2" fmla="*/ 0 w 485164"/>
              <a:gd name="connsiteY2" fmla="*/ 138865 h 304668"/>
              <a:gd name="connsiteX3" fmla="*/ 165803 w 485164"/>
              <a:gd name="connsiteY3" fmla="*/ 304668 h 304668"/>
              <a:gd name="connsiteX4" fmla="*/ 485165 w 485164"/>
              <a:gd name="connsiteY4" fmla="*/ 8330 h 304668"/>
              <a:gd name="connsiteX5" fmla="*/ 477426 w 485164"/>
              <a:gd name="connsiteY5" fmla="*/ 0 h 304668"/>
              <a:gd name="connsiteX6" fmla="*/ 166099 w 485164"/>
              <a:gd name="connsiteY6" fmla="*/ 288895 h 304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85164" h="304668">
                <a:moveTo>
                  <a:pt x="166099" y="288895"/>
                </a:moveTo>
                <a:lnTo>
                  <a:pt x="8034" y="130831"/>
                </a:lnTo>
                <a:lnTo>
                  <a:pt x="0" y="138865"/>
                </a:lnTo>
                <a:lnTo>
                  <a:pt x="165803" y="304668"/>
                </a:lnTo>
                <a:lnTo>
                  <a:pt x="485165" y="8330"/>
                </a:lnTo>
                <a:lnTo>
                  <a:pt x="477426" y="0"/>
                </a:lnTo>
                <a:lnTo>
                  <a:pt x="166099" y="288895"/>
                </a:lnTo>
                <a:close/>
              </a:path>
            </a:pathLst>
          </a:custGeom>
          <a:solidFill>
            <a:schemeClr val="tx1"/>
          </a:solidFill>
          <a:ln w="56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1" name="Grafik 21" descr="Schließen Silhouette">
            <a:extLst>
              <a:ext uri="{FF2B5EF4-FFF2-40B4-BE49-F238E27FC236}">
                <a16:creationId xmlns:a16="http://schemas.microsoft.com/office/drawing/2014/main" id="{C7CB6451-ECC4-4337-B785-692E90B9336D}"/>
              </a:ext>
            </a:extLst>
          </p:cNvPr>
          <p:cNvSpPr/>
          <p:nvPr/>
        </p:nvSpPr>
        <p:spPr>
          <a:xfrm>
            <a:off x="8448098" y="2276697"/>
            <a:ext cx="365992" cy="371674"/>
          </a:xfrm>
          <a:custGeom>
            <a:avLst/>
            <a:gdLst>
              <a:gd name="connsiteX0" fmla="*/ 8034 w 365992"/>
              <a:gd name="connsiteY0" fmla="*/ 365993 h 371674"/>
              <a:gd name="connsiteX1" fmla="*/ 180156 w 365992"/>
              <a:gd name="connsiteY1" fmla="*/ 193872 h 371674"/>
              <a:gd name="connsiteX2" fmla="*/ 357959 w 365992"/>
              <a:gd name="connsiteY2" fmla="*/ 371675 h 371674"/>
              <a:gd name="connsiteX3" fmla="*/ 365993 w 365992"/>
              <a:gd name="connsiteY3" fmla="*/ 363641 h 371674"/>
              <a:gd name="connsiteX4" fmla="*/ 188190 w 365992"/>
              <a:gd name="connsiteY4" fmla="*/ 185837 h 371674"/>
              <a:gd name="connsiteX5" fmla="*/ 365993 w 365992"/>
              <a:gd name="connsiteY5" fmla="*/ 8034 h 371674"/>
              <a:gd name="connsiteX6" fmla="*/ 357959 w 365992"/>
              <a:gd name="connsiteY6" fmla="*/ 0 h 371674"/>
              <a:gd name="connsiteX7" fmla="*/ 180156 w 365992"/>
              <a:gd name="connsiteY7" fmla="*/ 177803 h 371674"/>
              <a:gd name="connsiteX8" fmla="*/ 8034 w 365992"/>
              <a:gd name="connsiteY8" fmla="*/ 5682 h 371674"/>
              <a:gd name="connsiteX9" fmla="*/ 0 w 365992"/>
              <a:gd name="connsiteY9" fmla="*/ 13716 h 371674"/>
              <a:gd name="connsiteX10" fmla="*/ 172121 w 365992"/>
              <a:gd name="connsiteY10" fmla="*/ 185837 h 371674"/>
              <a:gd name="connsiteX11" fmla="*/ 0 w 365992"/>
              <a:gd name="connsiteY11" fmla="*/ 357959 h 371674"/>
              <a:gd name="connsiteX12" fmla="*/ 8034 w 365992"/>
              <a:gd name="connsiteY12" fmla="*/ 365993 h 371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65992" h="371674">
                <a:moveTo>
                  <a:pt x="8034" y="365993"/>
                </a:moveTo>
                <a:lnTo>
                  <a:pt x="180156" y="193872"/>
                </a:lnTo>
                <a:lnTo>
                  <a:pt x="357959" y="371675"/>
                </a:lnTo>
                <a:lnTo>
                  <a:pt x="365993" y="363641"/>
                </a:lnTo>
                <a:lnTo>
                  <a:pt x="188190" y="185837"/>
                </a:lnTo>
                <a:lnTo>
                  <a:pt x="365993" y="8034"/>
                </a:lnTo>
                <a:lnTo>
                  <a:pt x="357959" y="0"/>
                </a:lnTo>
                <a:lnTo>
                  <a:pt x="180156" y="177803"/>
                </a:lnTo>
                <a:lnTo>
                  <a:pt x="8034" y="5682"/>
                </a:lnTo>
                <a:lnTo>
                  <a:pt x="0" y="13716"/>
                </a:lnTo>
                <a:lnTo>
                  <a:pt x="172121" y="185837"/>
                </a:lnTo>
                <a:lnTo>
                  <a:pt x="0" y="357959"/>
                </a:lnTo>
                <a:lnTo>
                  <a:pt x="8034" y="365993"/>
                </a:lnTo>
                <a:close/>
              </a:path>
            </a:pathLst>
          </a:custGeom>
          <a:solidFill>
            <a:schemeClr val="tx1"/>
          </a:solidFill>
          <a:ln w="56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2" name="Grafik 22" descr="Cursor Silhouette">
            <a:extLst>
              <a:ext uri="{FF2B5EF4-FFF2-40B4-BE49-F238E27FC236}">
                <a16:creationId xmlns:a16="http://schemas.microsoft.com/office/drawing/2014/main" id="{BD11AC60-8AA9-430E-9389-1EC84F290C94}"/>
              </a:ext>
            </a:extLst>
          </p:cNvPr>
          <p:cNvSpPr/>
          <p:nvPr/>
        </p:nvSpPr>
        <p:spPr>
          <a:xfrm>
            <a:off x="4047304" y="3241615"/>
            <a:ext cx="339233" cy="339552"/>
          </a:xfrm>
          <a:custGeom>
            <a:avLst/>
            <a:gdLst>
              <a:gd name="connsiteX0" fmla="*/ 13150 w 339233"/>
              <a:gd name="connsiteY0" fmla="*/ 13124 h 339552"/>
              <a:gd name="connsiteX1" fmla="*/ 316453 w 339233"/>
              <a:gd name="connsiteY1" fmla="*/ 114263 h 339552"/>
              <a:gd name="connsiteX2" fmla="*/ 316492 w 339233"/>
              <a:gd name="connsiteY2" fmla="*/ 114339 h 339552"/>
              <a:gd name="connsiteX3" fmla="*/ 316453 w 339233"/>
              <a:gd name="connsiteY3" fmla="*/ 114378 h 339552"/>
              <a:gd name="connsiteX4" fmla="*/ 212671 w 339233"/>
              <a:gd name="connsiteY4" fmla="*/ 151761 h 339552"/>
              <a:gd name="connsiteX5" fmla="*/ 194698 w 339233"/>
              <a:gd name="connsiteY5" fmla="*/ 158210 h 339552"/>
              <a:gd name="connsiteX6" fmla="*/ 208210 w 339233"/>
              <a:gd name="connsiteY6" fmla="*/ 171716 h 339552"/>
              <a:gd name="connsiteX7" fmla="*/ 322085 w 339233"/>
              <a:gd name="connsiteY7" fmla="*/ 285585 h 339552"/>
              <a:gd name="connsiteX8" fmla="*/ 285224 w 339233"/>
              <a:gd name="connsiteY8" fmla="*/ 322410 h 339552"/>
              <a:gd name="connsiteX9" fmla="*/ 171464 w 339233"/>
              <a:gd name="connsiteY9" fmla="*/ 208619 h 339552"/>
              <a:gd name="connsiteX10" fmla="*/ 157989 w 339233"/>
              <a:gd name="connsiteY10" fmla="*/ 195114 h 339552"/>
              <a:gd name="connsiteX11" fmla="*/ 151515 w 339233"/>
              <a:gd name="connsiteY11" fmla="*/ 213081 h 339552"/>
              <a:gd name="connsiteX12" fmla="*/ 114090 w 339233"/>
              <a:gd name="connsiteY12" fmla="*/ 316906 h 339552"/>
              <a:gd name="connsiteX13" fmla="*/ 114013 w 339233"/>
              <a:gd name="connsiteY13" fmla="*/ 316944 h 339552"/>
              <a:gd name="connsiteX14" fmla="*/ 113975 w 339233"/>
              <a:gd name="connsiteY14" fmla="*/ 316906 h 339552"/>
              <a:gd name="connsiteX15" fmla="*/ 13078 w 339233"/>
              <a:gd name="connsiteY15" fmla="*/ 13215 h 339552"/>
              <a:gd name="connsiteX16" fmla="*/ 13068 w 339233"/>
              <a:gd name="connsiteY16" fmla="*/ 13133 h 339552"/>
              <a:gd name="connsiteX17" fmla="*/ 13150 w 339233"/>
              <a:gd name="connsiteY17" fmla="*/ 13124 h 339552"/>
              <a:gd name="connsiteX18" fmla="*/ 10362 w 339233"/>
              <a:gd name="connsiteY18" fmla="*/ 0 h 339552"/>
              <a:gd name="connsiteX19" fmla="*/ 10307 w 339233"/>
              <a:gd name="connsiteY19" fmla="*/ 0 h 339552"/>
              <a:gd name="connsiteX20" fmla="*/ 3 w 339233"/>
              <a:gd name="connsiteY20" fmla="*/ 10772 h 339552"/>
              <a:gd name="connsiteX21" fmla="*/ 560 w 339233"/>
              <a:gd name="connsiteY21" fmla="*/ 13948 h 339552"/>
              <a:gd name="connsiteX22" fmla="*/ 103967 w 339233"/>
              <a:gd name="connsiteY22" fmla="*/ 325240 h 339552"/>
              <a:gd name="connsiteX23" fmla="*/ 117503 w 339233"/>
              <a:gd name="connsiteY23" fmla="*/ 331708 h 339552"/>
              <a:gd name="connsiteX24" fmla="*/ 123970 w 339233"/>
              <a:gd name="connsiteY24" fmla="*/ 325240 h 339552"/>
              <a:gd name="connsiteX25" fmla="*/ 162892 w 339233"/>
              <a:gd name="connsiteY25" fmla="*/ 217191 h 339552"/>
              <a:gd name="connsiteX26" fmla="*/ 285224 w 339233"/>
              <a:gd name="connsiteY26" fmla="*/ 339552 h 339552"/>
              <a:gd name="connsiteX27" fmla="*/ 339233 w 339233"/>
              <a:gd name="connsiteY27" fmla="*/ 285603 h 339552"/>
              <a:gd name="connsiteX28" fmla="*/ 216787 w 339233"/>
              <a:gd name="connsiteY28" fmla="*/ 163157 h 339552"/>
              <a:gd name="connsiteX29" fmla="*/ 324685 w 339233"/>
              <a:gd name="connsiteY29" fmla="*/ 124295 h 339552"/>
              <a:gd name="connsiteX30" fmla="*/ 331263 w 339233"/>
              <a:gd name="connsiteY30" fmla="*/ 110802 h 339552"/>
              <a:gd name="connsiteX31" fmla="*/ 324685 w 339233"/>
              <a:gd name="connsiteY31" fmla="*/ 104225 h 339552"/>
              <a:gd name="connsiteX32" fmla="*/ 13763 w 339233"/>
              <a:gd name="connsiteY32" fmla="*/ 546 h 339552"/>
              <a:gd name="connsiteX33" fmla="*/ 10362 w 339233"/>
              <a:gd name="connsiteY33" fmla="*/ 0 h 339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339233" h="339552">
                <a:moveTo>
                  <a:pt x="13150" y="13124"/>
                </a:moveTo>
                <a:lnTo>
                  <a:pt x="316453" y="114263"/>
                </a:lnTo>
                <a:cubicBezTo>
                  <a:pt x="316485" y="114273"/>
                  <a:pt x="316503" y="114308"/>
                  <a:pt x="316492" y="114339"/>
                </a:cubicBezTo>
                <a:cubicBezTo>
                  <a:pt x="316486" y="114358"/>
                  <a:pt x="316472" y="114372"/>
                  <a:pt x="316453" y="114378"/>
                </a:cubicBezTo>
                <a:lnTo>
                  <a:pt x="212671" y="151761"/>
                </a:lnTo>
                <a:lnTo>
                  <a:pt x="194698" y="158210"/>
                </a:lnTo>
                <a:lnTo>
                  <a:pt x="208210" y="171716"/>
                </a:lnTo>
                <a:lnTo>
                  <a:pt x="322085" y="285585"/>
                </a:lnTo>
                <a:lnTo>
                  <a:pt x="285224" y="322410"/>
                </a:lnTo>
                <a:lnTo>
                  <a:pt x="171464" y="208619"/>
                </a:lnTo>
                <a:lnTo>
                  <a:pt x="157989" y="195114"/>
                </a:lnTo>
                <a:lnTo>
                  <a:pt x="151515" y="213081"/>
                </a:lnTo>
                <a:lnTo>
                  <a:pt x="114090" y="316906"/>
                </a:lnTo>
                <a:cubicBezTo>
                  <a:pt x="114079" y="316937"/>
                  <a:pt x="114045" y="316955"/>
                  <a:pt x="114013" y="316944"/>
                </a:cubicBezTo>
                <a:cubicBezTo>
                  <a:pt x="113995" y="316938"/>
                  <a:pt x="113981" y="316924"/>
                  <a:pt x="113975" y="316906"/>
                </a:cubicBezTo>
                <a:lnTo>
                  <a:pt x="13078" y="13215"/>
                </a:lnTo>
                <a:cubicBezTo>
                  <a:pt x="13053" y="13195"/>
                  <a:pt x="13048" y="13158"/>
                  <a:pt x="13068" y="13133"/>
                </a:cubicBezTo>
                <a:cubicBezTo>
                  <a:pt x="13088" y="13108"/>
                  <a:pt x="13125" y="13104"/>
                  <a:pt x="13150" y="13124"/>
                </a:cubicBezTo>
                <a:close/>
                <a:moveTo>
                  <a:pt x="10362" y="0"/>
                </a:moveTo>
                <a:lnTo>
                  <a:pt x="10307" y="0"/>
                </a:lnTo>
                <a:cubicBezTo>
                  <a:pt x="4489" y="133"/>
                  <a:pt x="-123" y="4953"/>
                  <a:pt x="3" y="10772"/>
                </a:cubicBezTo>
                <a:cubicBezTo>
                  <a:pt x="26" y="11852"/>
                  <a:pt x="215" y="12924"/>
                  <a:pt x="560" y="13948"/>
                </a:cubicBezTo>
                <a:lnTo>
                  <a:pt x="103967" y="325240"/>
                </a:lnTo>
                <a:cubicBezTo>
                  <a:pt x="105919" y="330764"/>
                  <a:pt x="111979" y="333660"/>
                  <a:pt x="117503" y="331708"/>
                </a:cubicBezTo>
                <a:cubicBezTo>
                  <a:pt x="120525" y="330640"/>
                  <a:pt x="122902" y="328263"/>
                  <a:pt x="123970" y="325240"/>
                </a:cubicBezTo>
                <a:lnTo>
                  <a:pt x="162892" y="217191"/>
                </a:lnTo>
                <a:lnTo>
                  <a:pt x="285224" y="339552"/>
                </a:lnTo>
                <a:lnTo>
                  <a:pt x="339233" y="285603"/>
                </a:lnTo>
                <a:lnTo>
                  <a:pt x="216787" y="163157"/>
                </a:lnTo>
                <a:lnTo>
                  <a:pt x="324685" y="124295"/>
                </a:lnTo>
                <a:cubicBezTo>
                  <a:pt x="330227" y="122386"/>
                  <a:pt x="333172" y="116345"/>
                  <a:pt x="331263" y="110802"/>
                </a:cubicBezTo>
                <a:cubicBezTo>
                  <a:pt x="330199" y="107715"/>
                  <a:pt x="327773" y="105289"/>
                  <a:pt x="324685" y="104225"/>
                </a:cubicBezTo>
                <a:lnTo>
                  <a:pt x="13763" y="546"/>
                </a:lnTo>
                <a:cubicBezTo>
                  <a:pt x="12665" y="183"/>
                  <a:pt x="11517" y="-1"/>
                  <a:pt x="10362" y="0"/>
                </a:cubicBezTo>
                <a:close/>
              </a:path>
            </a:pathLst>
          </a:custGeom>
          <a:solidFill>
            <a:schemeClr val="tx1"/>
          </a:solidFill>
          <a:ln w="6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6" name="Grafik 24" descr="Welt Silhouette">
            <a:extLst>
              <a:ext uri="{FF2B5EF4-FFF2-40B4-BE49-F238E27FC236}">
                <a16:creationId xmlns:a16="http://schemas.microsoft.com/office/drawing/2014/main" id="{4E0F9895-4F61-4316-8477-CE6B04EB5625}"/>
              </a:ext>
            </a:extLst>
          </p:cNvPr>
          <p:cNvSpPr/>
          <p:nvPr/>
        </p:nvSpPr>
        <p:spPr>
          <a:xfrm>
            <a:off x="7387220" y="4998271"/>
            <a:ext cx="448565" cy="448565"/>
          </a:xfrm>
          <a:custGeom>
            <a:avLst/>
            <a:gdLst>
              <a:gd name="connsiteX0" fmla="*/ 224283 w 448565"/>
              <a:gd name="connsiteY0" fmla="*/ 0 h 448565"/>
              <a:gd name="connsiteX1" fmla="*/ 224283 w 448565"/>
              <a:gd name="connsiteY1" fmla="*/ 0 h 448565"/>
              <a:gd name="connsiteX2" fmla="*/ 0 w 448565"/>
              <a:gd name="connsiteY2" fmla="*/ 224283 h 448565"/>
              <a:gd name="connsiteX3" fmla="*/ 224283 w 448565"/>
              <a:gd name="connsiteY3" fmla="*/ 448566 h 448565"/>
              <a:gd name="connsiteX4" fmla="*/ 448566 w 448565"/>
              <a:gd name="connsiteY4" fmla="*/ 224283 h 448565"/>
              <a:gd name="connsiteX5" fmla="*/ 224283 w 448565"/>
              <a:gd name="connsiteY5" fmla="*/ 0 h 448565"/>
              <a:gd name="connsiteX6" fmla="*/ 436442 w 448565"/>
              <a:gd name="connsiteY6" fmla="*/ 218221 h 448565"/>
              <a:gd name="connsiteX7" fmla="*/ 339455 w 448565"/>
              <a:gd name="connsiteY7" fmla="*/ 218221 h 448565"/>
              <a:gd name="connsiteX8" fmla="*/ 243680 w 448565"/>
              <a:gd name="connsiteY8" fmla="*/ 13336 h 448565"/>
              <a:gd name="connsiteX9" fmla="*/ 436442 w 448565"/>
              <a:gd name="connsiteY9" fmla="*/ 218221 h 448565"/>
              <a:gd name="connsiteX10" fmla="*/ 218221 w 448565"/>
              <a:gd name="connsiteY10" fmla="*/ 218221 h 448565"/>
              <a:gd name="connsiteX11" fmla="*/ 121234 w 448565"/>
              <a:gd name="connsiteY11" fmla="*/ 218221 h 448565"/>
              <a:gd name="connsiteX12" fmla="*/ 218221 w 448565"/>
              <a:gd name="connsiteY12" fmla="*/ 18185 h 448565"/>
              <a:gd name="connsiteX13" fmla="*/ 218221 w 448565"/>
              <a:gd name="connsiteY13" fmla="*/ 218221 h 448565"/>
              <a:gd name="connsiteX14" fmla="*/ 218221 w 448565"/>
              <a:gd name="connsiteY14" fmla="*/ 230345 h 448565"/>
              <a:gd name="connsiteX15" fmla="*/ 218221 w 448565"/>
              <a:gd name="connsiteY15" fmla="*/ 430381 h 448565"/>
              <a:gd name="connsiteX16" fmla="*/ 121234 w 448565"/>
              <a:gd name="connsiteY16" fmla="*/ 230345 h 448565"/>
              <a:gd name="connsiteX17" fmla="*/ 218221 w 448565"/>
              <a:gd name="connsiteY17" fmla="*/ 230345 h 448565"/>
              <a:gd name="connsiteX18" fmla="*/ 230345 w 448565"/>
              <a:gd name="connsiteY18" fmla="*/ 230345 h 448565"/>
              <a:gd name="connsiteX19" fmla="*/ 327332 w 448565"/>
              <a:gd name="connsiteY19" fmla="*/ 230345 h 448565"/>
              <a:gd name="connsiteX20" fmla="*/ 230345 w 448565"/>
              <a:gd name="connsiteY20" fmla="*/ 430381 h 448565"/>
              <a:gd name="connsiteX21" fmla="*/ 230345 w 448565"/>
              <a:gd name="connsiteY21" fmla="*/ 230345 h 448565"/>
              <a:gd name="connsiteX22" fmla="*/ 230345 w 448565"/>
              <a:gd name="connsiteY22" fmla="*/ 218221 h 448565"/>
              <a:gd name="connsiteX23" fmla="*/ 230345 w 448565"/>
              <a:gd name="connsiteY23" fmla="*/ 18185 h 448565"/>
              <a:gd name="connsiteX24" fmla="*/ 327332 w 448565"/>
              <a:gd name="connsiteY24" fmla="*/ 218221 h 448565"/>
              <a:gd name="connsiteX25" fmla="*/ 230345 w 448565"/>
              <a:gd name="connsiteY25" fmla="*/ 218221 h 448565"/>
              <a:gd name="connsiteX26" fmla="*/ 204885 w 448565"/>
              <a:gd name="connsiteY26" fmla="*/ 13336 h 448565"/>
              <a:gd name="connsiteX27" fmla="*/ 109111 w 448565"/>
              <a:gd name="connsiteY27" fmla="*/ 218221 h 448565"/>
              <a:gd name="connsiteX28" fmla="*/ 12123 w 448565"/>
              <a:gd name="connsiteY28" fmla="*/ 218221 h 448565"/>
              <a:gd name="connsiteX29" fmla="*/ 204885 w 448565"/>
              <a:gd name="connsiteY29" fmla="*/ 13336 h 448565"/>
              <a:gd name="connsiteX30" fmla="*/ 12123 w 448565"/>
              <a:gd name="connsiteY30" fmla="*/ 230345 h 448565"/>
              <a:gd name="connsiteX31" fmla="*/ 109111 w 448565"/>
              <a:gd name="connsiteY31" fmla="*/ 230345 h 448565"/>
              <a:gd name="connsiteX32" fmla="*/ 204885 w 448565"/>
              <a:gd name="connsiteY32" fmla="*/ 435230 h 448565"/>
              <a:gd name="connsiteX33" fmla="*/ 12123 w 448565"/>
              <a:gd name="connsiteY33" fmla="*/ 230345 h 448565"/>
              <a:gd name="connsiteX34" fmla="*/ 243680 w 448565"/>
              <a:gd name="connsiteY34" fmla="*/ 435230 h 448565"/>
              <a:gd name="connsiteX35" fmla="*/ 339455 w 448565"/>
              <a:gd name="connsiteY35" fmla="*/ 230345 h 448565"/>
              <a:gd name="connsiteX36" fmla="*/ 436442 w 448565"/>
              <a:gd name="connsiteY36" fmla="*/ 230345 h 448565"/>
              <a:gd name="connsiteX37" fmla="*/ 247923 w 448565"/>
              <a:gd name="connsiteY37" fmla="*/ 435230 h 448565"/>
              <a:gd name="connsiteX38" fmla="*/ 243680 w 448565"/>
              <a:gd name="connsiteY38" fmla="*/ 435230 h 4485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448565" h="448565">
                <a:moveTo>
                  <a:pt x="224283" y="0"/>
                </a:moveTo>
                <a:lnTo>
                  <a:pt x="224283" y="0"/>
                </a:lnTo>
                <a:cubicBezTo>
                  <a:pt x="100624" y="0"/>
                  <a:pt x="0" y="100624"/>
                  <a:pt x="0" y="224283"/>
                </a:cubicBezTo>
                <a:cubicBezTo>
                  <a:pt x="0" y="347941"/>
                  <a:pt x="100624" y="448566"/>
                  <a:pt x="224283" y="448566"/>
                </a:cubicBezTo>
                <a:cubicBezTo>
                  <a:pt x="347941" y="448566"/>
                  <a:pt x="448566" y="347941"/>
                  <a:pt x="448566" y="224283"/>
                </a:cubicBezTo>
                <a:cubicBezTo>
                  <a:pt x="448566" y="100624"/>
                  <a:pt x="347941" y="0"/>
                  <a:pt x="224283" y="0"/>
                </a:cubicBezTo>
                <a:close/>
                <a:moveTo>
                  <a:pt x="436442" y="218221"/>
                </a:moveTo>
                <a:lnTo>
                  <a:pt x="339455" y="218221"/>
                </a:lnTo>
                <a:cubicBezTo>
                  <a:pt x="337637" y="136388"/>
                  <a:pt x="301873" y="60011"/>
                  <a:pt x="243680" y="13336"/>
                </a:cubicBezTo>
                <a:cubicBezTo>
                  <a:pt x="350366" y="23034"/>
                  <a:pt x="432805" y="110929"/>
                  <a:pt x="436442" y="218221"/>
                </a:cubicBezTo>
                <a:close/>
                <a:moveTo>
                  <a:pt x="218221" y="218221"/>
                </a:moveTo>
                <a:lnTo>
                  <a:pt x="121234" y="218221"/>
                </a:lnTo>
                <a:cubicBezTo>
                  <a:pt x="123052" y="136994"/>
                  <a:pt x="159423" y="61829"/>
                  <a:pt x="218221" y="18185"/>
                </a:cubicBezTo>
                <a:lnTo>
                  <a:pt x="218221" y="218221"/>
                </a:lnTo>
                <a:close/>
                <a:moveTo>
                  <a:pt x="218221" y="230345"/>
                </a:moveTo>
                <a:lnTo>
                  <a:pt x="218221" y="430381"/>
                </a:lnTo>
                <a:cubicBezTo>
                  <a:pt x="159423" y="386130"/>
                  <a:pt x="123052" y="310965"/>
                  <a:pt x="121234" y="230345"/>
                </a:cubicBezTo>
                <a:lnTo>
                  <a:pt x="218221" y="230345"/>
                </a:lnTo>
                <a:close/>
                <a:moveTo>
                  <a:pt x="230345" y="230345"/>
                </a:moveTo>
                <a:lnTo>
                  <a:pt x="327332" y="230345"/>
                </a:lnTo>
                <a:cubicBezTo>
                  <a:pt x="325513" y="311571"/>
                  <a:pt x="289143" y="386736"/>
                  <a:pt x="230345" y="430381"/>
                </a:cubicBezTo>
                <a:lnTo>
                  <a:pt x="230345" y="230345"/>
                </a:lnTo>
                <a:close/>
                <a:moveTo>
                  <a:pt x="230345" y="218221"/>
                </a:moveTo>
                <a:lnTo>
                  <a:pt x="230345" y="18185"/>
                </a:lnTo>
                <a:cubicBezTo>
                  <a:pt x="289143" y="62435"/>
                  <a:pt x="325513" y="137601"/>
                  <a:pt x="327332" y="218221"/>
                </a:cubicBezTo>
                <a:lnTo>
                  <a:pt x="230345" y="218221"/>
                </a:lnTo>
                <a:close/>
                <a:moveTo>
                  <a:pt x="204885" y="13336"/>
                </a:moveTo>
                <a:cubicBezTo>
                  <a:pt x="146693" y="60011"/>
                  <a:pt x="110929" y="136388"/>
                  <a:pt x="109111" y="218221"/>
                </a:cubicBezTo>
                <a:lnTo>
                  <a:pt x="12123" y="218221"/>
                </a:lnTo>
                <a:cubicBezTo>
                  <a:pt x="15760" y="110929"/>
                  <a:pt x="98200" y="23034"/>
                  <a:pt x="204885" y="13336"/>
                </a:cubicBezTo>
                <a:close/>
                <a:moveTo>
                  <a:pt x="12123" y="230345"/>
                </a:moveTo>
                <a:lnTo>
                  <a:pt x="109111" y="230345"/>
                </a:lnTo>
                <a:cubicBezTo>
                  <a:pt x="110929" y="312177"/>
                  <a:pt x="146693" y="388555"/>
                  <a:pt x="204885" y="435230"/>
                </a:cubicBezTo>
                <a:cubicBezTo>
                  <a:pt x="98200" y="425531"/>
                  <a:pt x="15760" y="337637"/>
                  <a:pt x="12123" y="230345"/>
                </a:cubicBezTo>
                <a:close/>
                <a:moveTo>
                  <a:pt x="243680" y="435230"/>
                </a:moveTo>
                <a:cubicBezTo>
                  <a:pt x="301873" y="388555"/>
                  <a:pt x="337637" y="312177"/>
                  <a:pt x="339455" y="230345"/>
                </a:cubicBezTo>
                <a:lnTo>
                  <a:pt x="436442" y="230345"/>
                </a:lnTo>
                <a:cubicBezTo>
                  <a:pt x="433411" y="336424"/>
                  <a:pt x="352791" y="423713"/>
                  <a:pt x="247923" y="435230"/>
                </a:cubicBezTo>
                <a:cubicBezTo>
                  <a:pt x="246105" y="435230"/>
                  <a:pt x="243680" y="435230"/>
                  <a:pt x="243680" y="435230"/>
                </a:cubicBezTo>
                <a:close/>
              </a:path>
            </a:pathLst>
          </a:custGeom>
          <a:solidFill>
            <a:schemeClr val="tx1"/>
          </a:solidFill>
          <a:ln w="6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0" name="Grafik 29" descr="Umschlag Silhouette">
            <a:extLst>
              <a:ext uri="{FF2B5EF4-FFF2-40B4-BE49-F238E27FC236}">
                <a16:creationId xmlns:a16="http://schemas.microsoft.com/office/drawing/2014/main" id="{E740CCC9-6B27-47D0-B934-E248E0E7968A}"/>
              </a:ext>
            </a:extLst>
          </p:cNvPr>
          <p:cNvSpPr/>
          <p:nvPr/>
        </p:nvSpPr>
        <p:spPr>
          <a:xfrm>
            <a:off x="4015406" y="4212710"/>
            <a:ext cx="460689" cy="327331"/>
          </a:xfrm>
          <a:custGeom>
            <a:avLst/>
            <a:gdLst>
              <a:gd name="connsiteX0" fmla="*/ 0 w 460689"/>
              <a:gd name="connsiteY0" fmla="*/ 0 h 327331"/>
              <a:gd name="connsiteX1" fmla="*/ 0 w 460689"/>
              <a:gd name="connsiteY1" fmla="*/ 327332 h 327331"/>
              <a:gd name="connsiteX2" fmla="*/ 460689 w 460689"/>
              <a:gd name="connsiteY2" fmla="*/ 327332 h 327331"/>
              <a:gd name="connsiteX3" fmla="*/ 460689 w 460689"/>
              <a:gd name="connsiteY3" fmla="*/ 0 h 327331"/>
              <a:gd name="connsiteX4" fmla="*/ 243207 w 460689"/>
              <a:gd name="connsiteY4" fmla="*/ 208910 h 327331"/>
              <a:gd name="connsiteX5" fmla="*/ 217482 w 460689"/>
              <a:gd name="connsiteY5" fmla="*/ 208910 h 327331"/>
              <a:gd name="connsiteX6" fmla="*/ 20798 w 460689"/>
              <a:gd name="connsiteY6" fmla="*/ 12226 h 327331"/>
              <a:gd name="connsiteX7" fmla="*/ 20798 w 460689"/>
              <a:gd name="connsiteY7" fmla="*/ 12141 h 327331"/>
              <a:gd name="connsiteX8" fmla="*/ 20840 w 460689"/>
              <a:gd name="connsiteY8" fmla="*/ 12123 h 327331"/>
              <a:gd name="connsiteX9" fmla="*/ 439849 w 460689"/>
              <a:gd name="connsiteY9" fmla="*/ 12123 h 327331"/>
              <a:gd name="connsiteX10" fmla="*/ 439909 w 460689"/>
              <a:gd name="connsiteY10" fmla="*/ 12185 h 327331"/>
              <a:gd name="connsiteX11" fmla="*/ 439891 w 460689"/>
              <a:gd name="connsiteY11" fmla="*/ 12226 h 327331"/>
              <a:gd name="connsiteX12" fmla="*/ 155095 w 460689"/>
              <a:gd name="connsiteY12" fmla="*/ 163666 h 327331"/>
              <a:gd name="connsiteX13" fmla="*/ 12226 w 460689"/>
              <a:gd name="connsiteY13" fmla="*/ 306534 h 327331"/>
              <a:gd name="connsiteX14" fmla="*/ 12141 w 460689"/>
              <a:gd name="connsiteY14" fmla="*/ 306533 h 327331"/>
              <a:gd name="connsiteX15" fmla="*/ 12123 w 460689"/>
              <a:gd name="connsiteY15" fmla="*/ 306492 h 327331"/>
              <a:gd name="connsiteX16" fmla="*/ 12123 w 460689"/>
              <a:gd name="connsiteY16" fmla="*/ 20840 h 327331"/>
              <a:gd name="connsiteX17" fmla="*/ 12185 w 460689"/>
              <a:gd name="connsiteY17" fmla="*/ 20780 h 327331"/>
              <a:gd name="connsiteX18" fmla="*/ 12226 w 460689"/>
              <a:gd name="connsiteY18" fmla="*/ 20798 h 327331"/>
              <a:gd name="connsiteX19" fmla="*/ 163666 w 460689"/>
              <a:gd name="connsiteY19" fmla="*/ 172237 h 327331"/>
              <a:gd name="connsiteX20" fmla="*/ 208910 w 460689"/>
              <a:gd name="connsiteY20" fmla="*/ 217482 h 327331"/>
              <a:gd name="connsiteX21" fmla="*/ 251773 w 460689"/>
              <a:gd name="connsiteY21" fmla="*/ 217487 h 327331"/>
              <a:gd name="connsiteX22" fmla="*/ 251779 w 460689"/>
              <a:gd name="connsiteY22" fmla="*/ 217482 h 327331"/>
              <a:gd name="connsiteX23" fmla="*/ 297023 w 460689"/>
              <a:gd name="connsiteY23" fmla="*/ 172237 h 327331"/>
              <a:gd name="connsiteX24" fmla="*/ 439891 w 460689"/>
              <a:gd name="connsiteY24" fmla="*/ 315105 h 327331"/>
              <a:gd name="connsiteX25" fmla="*/ 439891 w 460689"/>
              <a:gd name="connsiteY25" fmla="*/ 315191 h 327331"/>
              <a:gd name="connsiteX26" fmla="*/ 439849 w 460689"/>
              <a:gd name="connsiteY26" fmla="*/ 315208 h 327331"/>
              <a:gd name="connsiteX27" fmla="*/ 20840 w 460689"/>
              <a:gd name="connsiteY27" fmla="*/ 315208 h 327331"/>
              <a:gd name="connsiteX28" fmla="*/ 20780 w 460689"/>
              <a:gd name="connsiteY28" fmla="*/ 315147 h 327331"/>
              <a:gd name="connsiteX29" fmla="*/ 20798 w 460689"/>
              <a:gd name="connsiteY29" fmla="*/ 315105 h 327331"/>
              <a:gd name="connsiteX30" fmla="*/ 305594 w 460689"/>
              <a:gd name="connsiteY30" fmla="*/ 163666 h 327331"/>
              <a:gd name="connsiteX31" fmla="*/ 448463 w 460689"/>
              <a:gd name="connsiteY31" fmla="*/ 20798 h 327331"/>
              <a:gd name="connsiteX32" fmla="*/ 448548 w 460689"/>
              <a:gd name="connsiteY32" fmla="*/ 20798 h 327331"/>
              <a:gd name="connsiteX33" fmla="*/ 448566 w 460689"/>
              <a:gd name="connsiteY33" fmla="*/ 20840 h 327331"/>
              <a:gd name="connsiteX34" fmla="*/ 448566 w 460689"/>
              <a:gd name="connsiteY34" fmla="*/ 306492 h 327331"/>
              <a:gd name="connsiteX35" fmla="*/ 448504 w 460689"/>
              <a:gd name="connsiteY35" fmla="*/ 306552 h 327331"/>
              <a:gd name="connsiteX36" fmla="*/ 448463 w 460689"/>
              <a:gd name="connsiteY36" fmla="*/ 306534 h 327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460689" h="327331">
                <a:moveTo>
                  <a:pt x="0" y="0"/>
                </a:moveTo>
                <a:lnTo>
                  <a:pt x="0" y="327332"/>
                </a:lnTo>
                <a:lnTo>
                  <a:pt x="460689" y="327332"/>
                </a:lnTo>
                <a:lnTo>
                  <a:pt x="460689" y="0"/>
                </a:lnTo>
                <a:close/>
                <a:moveTo>
                  <a:pt x="243207" y="208910"/>
                </a:moveTo>
                <a:cubicBezTo>
                  <a:pt x="236091" y="215984"/>
                  <a:pt x="224598" y="215984"/>
                  <a:pt x="217482" y="208910"/>
                </a:cubicBezTo>
                <a:lnTo>
                  <a:pt x="20798" y="12226"/>
                </a:lnTo>
                <a:cubicBezTo>
                  <a:pt x="20774" y="12203"/>
                  <a:pt x="20775" y="12164"/>
                  <a:pt x="20798" y="12141"/>
                </a:cubicBezTo>
                <a:cubicBezTo>
                  <a:pt x="20810" y="12130"/>
                  <a:pt x="20824" y="12123"/>
                  <a:pt x="20840" y="12123"/>
                </a:cubicBezTo>
                <a:lnTo>
                  <a:pt x="439849" y="12123"/>
                </a:lnTo>
                <a:cubicBezTo>
                  <a:pt x="439882" y="12124"/>
                  <a:pt x="439909" y="12151"/>
                  <a:pt x="439909" y="12185"/>
                </a:cubicBezTo>
                <a:cubicBezTo>
                  <a:pt x="439908" y="12200"/>
                  <a:pt x="439902" y="12216"/>
                  <a:pt x="439891" y="12226"/>
                </a:cubicBezTo>
                <a:close/>
                <a:moveTo>
                  <a:pt x="155095" y="163666"/>
                </a:moveTo>
                <a:lnTo>
                  <a:pt x="12226" y="306534"/>
                </a:lnTo>
                <a:cubicBezTo>
                  <a:pt x="12203" y="306558"/>
                  <a:pt x="12164" y="306557"/>
                  <a:pt x="12141" y="306533"/>
                </a:cubicBezTo>
                <a:cubicBezTo>
                  <a:pt x="12130" y="306522"/>
                  <a:pt x="12123" y="306507"/>
                  <a:pt x="12123" y="306492"/>
                </a:cubicBezTo>
                <a:lnTo>
                  <a:pt x="12123" y="20840"/>
                </a:lnTo>
                <a:cubicBezTo>
                  <a:pt x="12124" y="20807"/>
                  <a:pt x="12151" y="20780"/>
                  <a:pt x="12185" y="20780"/>
                </a:cubicBezTo>
                <a:cubicBezTo>
                  <a:pt x="12200" y="20781"/>
                  <a:pt x="12216" y="20787"/>
                  <a:pt x="12226" y="20798"/>
                </a:cubicBezTo>
                <a:close/>
                <a:moveTo>
                  <a:pt x="163666" y="172237"/>
                </a:moveTo>
                <a:lnTo>
                  <a:pt x="208910" y="217482"/>
                </a:lnTo>
                <a:cubicBezTo>
                  <a:pt x="220745" y="229319"/>
                  <a:pt x="239935" y="229322"/>
                  <a:pt x="251773" y="217487"/>
                </a:cubicBezTo>
                <a:cubicBezTo>
                  <a:pt x="251775" y="217485"/>
                  <a:pt x="251777" y="217483"/>
                  <a:pt x="251779" y="217482"/>
                </a:cubicBezTo>
                <a:lnTo>
                  <a:pt x="297023" y="172237"/>
                </a:lnTo>
                <a:lnTo>
                  <a:pt x="439891" y="315105"/>
                </a:lnTo>
                <a:cubicBezTo>
                  <a:pt x="439915" y="315129"/>
                  <a:pt x="439914" y="315168"/>
                  <a:pt x="439891" y="315191"/>
                </a:cubicBezTo>
                <a:cubicBezTo>
                  <a:pt x="439879" y="315202"/>
                  <a:pt x="439865" y="315208"/>
                  <a:pt x="439849" y="315208"/>
                </a:cubicBezTo>
                <a:lnTo>
                  <a:pt x="20840" y="315208"/>
                </a:lnTo>
                <a:cubicBezTo>
                  <a:pt x="20807" y="315208"/>
                  <a:pt x="20780" y="315180"/>
                  <a:pt x="20780" y="315147"/>
                </a:cubicBezTo>
                <a:cubicBezTo>
                  <a:pt x="20781" y="315131"/>
                  <a:pt x="20787" y="315116"/>
                  <a:pt x="20798" y="315105"/>
                </a:cubicBezTo>
                <a:close/>
                <a:moveTo>
                  <a:pt x="305594" y="163666"/>
                </a:moveTo>
                <a:lnTo>
                  <a:pt x="448463" y="20798"/>
                </a:lnTo>
                <a:cubicBezTo>
                  <a:pt x="448486" y="20774"/>
                  <a:pt x="448525" y="20775"/>
                  <a:pt x="448548" y="20798"/>
                </a:cubicBezTo>
                <a:cubicBezTo>
                  <a:pt x="448559" y="20810"/>
                  <a:pt x="448566" y="20824"/>
                  <a:pt x="448566" y="20840"/>
                </a:cubicBezTo>
                <a:lnTo>
                  <a:pt x="448566" y="306492"/>
                </a:lnTo>
                <a:cubicBezTo>
                  <a:pt x="448565" y="306525"/>
                  <a:pt x="448538" y="306552"/>
                  <a:pt x="448504" y="306552"/>
                </a:cubicBezTo>
                <a:cubicBezTo>
                  <a:pt x="448489" y="306551"/>
                  <a:pt x="448474" y="306545"/>
                  <a:pt x="448463" y="306534"/>
                </a:cubicBezTo>
                <a:close/>
              </a:path>
            </a:pathLst>
          </a:custGeom>
          <a:solidFill>
            <a:schemeClr val="tx1"/>
          </a:solidFill>
          <a:ln w="6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5" name="Grafik 38" descr="Ordner Silhouette">
            <a:extLst>
              <a:ext uri="{FF2B5EF4-FFF2-40B4-BE49-F238E27FC236}">
                <a16:creationId xmlns:a16="http://schemas.microsoft.com/office/drawing/2014/main" id="{665F773A-30DB-4B4E-AD93-6EFED864B3EB}"/>
              </a:ext>
            </a:extLst>
          </p:cNvPr>
          <p:cNvSpPr/>
          <p:nvPr/>
        </p:nvSpPr>
        <p:spPr>
          <a:xfrm>
            <a:off x="2196595" y="4206689"/>
            <a:ext cx="448565" cy="339542"/>
          </a:xfrm>
          <a:custGeom>
            <a:avLst/>
            <a:gdLst>
              <a:gd name="connsiteX0" fmla="*/ 24247 w 448565"/>
              <a:gd name="connsiteY0" fmla="*/ 339542 h 339542"/>
              <a:gd name="connsiteX1" fmla="*/ 424319 w 448565"/>
              <a:gd name="connsiteY1" fmla="*/ 339542 h 339542"/>
              <a:gd name="connsiteX2" fmla="*/ 448566 w 448565"/>
              <a:gd name="connsiteY2" fmla="*/ 315296 h 339542"/>
              <a:gd name="connsiteX3" fmla="*/ 448566 w 448565"/>
              <a:gd name="connsiteY3" fmla="*/ 72755 h 339542"/>
              <a:gd name="connsiteX4" fmla="*/ 424319 w 448565"/>
              <a:gd name="connsiteY4" fmla="*/ 48508 h 339542"/>
              <a:gd name="connsiteX5" fmla="*/ 218221 w 448565"/>
              <a:gd name="connsiteY5" fmla="*/ 48508 h 339542"/>
              <a:gd name="connsiteX6" fmla="*/ 151542 w 448565"/>
              <a:gd name="connsiteY6" fmla="*/ 4258 h 339542"/>
              <a:gd name="connsiteX7" fmla="*/ 138207 w 448565"/>
              <a:gd name="connsiteY7" fmla="*/ 15 h 339542"/>
              <a:gd name="connsiteX8" fmla="*/ 24247 w 448565"/>
              <a:gd name="connsiteY8" fmla="*/ 15 h 339542"/>
              <a:gd name="connsiteX9" fmla="*/ 0 w 448565"/>
              <a:gd name="connsiteY9" fmla="*/ 24261 h 339542"/>
              <a:gd name="connsiteX10" fmla="*/ 0 w 448565"/>
              <a:gd name="connsiteY10" fmla="*/ 315289 h 339542"/>
              <a:gd name="connsiteX11" fmla="*/ 24247 w 448565"/>
              <a:gd name="connsiteY11" fmla="*/ 339542 h 339542"/>
              <a:gd name="connsiteX12" fmla="*/ 12123 w 448565"/>
              <a:gd name="connsiteY12" fmla="*/ 24249 h 339542"/>
              <a:gd name="connsiteX13" fmla="*/ 24247 w 448565"/>
              <a:gd name="connsiteY13" fmla="*/ 12126 h 339542"/>
              <a:gd name="connsiteX14" fmla="*/ 138207 w 448565"/>
              <a:gd name="connsiteY14" fmla="*/ 12126 h 339542"/>
              <a:gd name="connsiteX15" fmla="*/ 143777 w 448565"/>
              <a:gd name="connsiteY15" fmla="*/ 13556 h 339542"/>
              <a:gd name="connsiteX16" fmla="*/ 144287 w 448565"/>
              <a:gd name="connsiteY16" fmla="*/ 13981 h 339542"/>
              <a:gd name="connsiteX17" fmla="*/ 144838 w 448565"/>
              <a:gd name="connsiteY17" fmla="*/ 14344 h 339542"/>
              <a:gd name="connsiteX18" fmla="*/ 211517 w 448565"/>
              <a:gd name="connsiteY18" fmla="*/ 58595 h 339542"/>
              <a:gd name="connsiteX19" fmla="*/ 214548 w 448565"/>
              <a:gd name="connsiteY19" fmla="*/ 60619 h 339542"/>
              <a:gd name="connsiteX20" fmla="*/ 424319 w 448565"/>
              <a:gd name="connsiteY20" fmla="*/ 60619 h 339542"/>
              <a:gd name="connsiteX21" fmla="*/ 436442 w 448565"/>
              <a:gd name="connsiteY21" fmla="*/ 72743 h 339542"/>
              <a:gd name="connsiteX22" fmla="*/ 436442 w 448565"/>
              <a:gd name="connsiteY22" fmla="*/ 315289 h 339542"/>
              <a:gd name="connsiteX23" fmla="*/ 424319 w 448565"/>
              <a:gd name="connsiteY23" fmla="*/ 327413 h 339542"/>
              <a:gd name="connsiteX24" fmla="*/ 24247 w 448565"/>
              <a:gd name="connsiteY24" fmla="*/ 327413 h 339542"/>
              <a:gd name="connsiteX25" fmla="*/ 12123 w 448565"/>
              <a:gd name="connsiteY25" fmla="*/ 315289 h 339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448565" h="339542">
                <a:moveTo>
                  <a:pt x="24247" y="339542"/>
                </a:moveTo>
                <a:lnTo>
                  <a:pt x="424319" y="339542"/>
                </a:lnTo>
                <a:cubicBezTo>
                  <a:pt x="437692" y="339499"/>
                  <a:pt x="448523" y="328669"/>
                  <a:pt x="448566" y="315296"/>
                </a:cubicBezTo>
                <a:lnTo>
                  <a:pt x="448566" y="72755"/>
                </a:lnTo>
                <a:cubicBezTo>
                  <a:pt x="448523" y="59382"/>
                  <a:pt x="437692" y="48551"/>
                  <a:pt x="424319" y="48508"/>
                </a:cubicBezTo>
                <a:lnTo>
                  <a:pt x="218221" y="48508"/>
                </a:lnTo>
                <a:lnTo>
                  <a:pt x="151542" y="4258"/>
                </a:lnTo>
                <a:cubicBezTo>
                  <a:pt x="147726" y="1335"/>
                  <a:pt x="143010" y="-166"/>
                  <a:pt x="138207" y="15"/>
                </a:cubicBezTo>
                <a:lnTo>
                  <a:pt x="24247" y="15"/>
                </a:lnTo>
                <a:cubicBezTo>
                  <a:pt x="10872" y="55"/>
                  <a:pt x="40" y="10887"/>
                  <a:pt x="0" y="24261"/>
                </a:cubicBezTo>
                <a:lnTo>
                  <a:pt x="0" y="315289"/>
                </a:lnTo>
                <a:cubicBezTo>
                  <a:pt x="36" y="328666"/>
                  <a:pt x="10870" y="339502"/>
                  <a:pt x="24247" y="339542"/>
                </a:cubicBezTo>
                <a:close/>
                <a:moveTo>
                  <a:pt x="12123" y="24249"/>
                </a:moveTo>
                <a:cubicBezTo>
                  <a:pt x="12123" y="17553"/>
                  <a:pt x="17551" y="12126"/>
                  <a:pt x="24247" y="12126"/>
                </a:cubicBezTo>
                <a:lnTo>
                  <a:pt x="138207" y="12126"/>
                </a:lnTo>
                <a:cubicBezTo>
                  <a:pt x="140169" y="11988"/>
                  <a:pt x="142124" y="12489"/>
                  <a:pt x="143777" y="13556"/>
                </a:cubicBezTo>
                <a:lnTo>
                  <a:pt x="144287" y="13981"/>
                </a:lnTo>
                <a:lnTo>
                  <a:pt x="144838" y="14344"/>
                </a:lnTo>
                <a:lnTo>
                  <a:pt x="211517" y="58595"/>
                </a:lnTo>
                <a:lnTo>
                  <a:pt x="214548" y="60619"/>
                </a:lnTo>
                <a:lnTo>
                  <a:pt x="424319" y="60619"/>
                </a:lnTo>
                <a:cubicBezTo>
                  <a:pt x="431015" y="60619"/>
                  <a:pt x="436442" y="66047"/>
                  <a:pt x="436442" y="72743"/>
                </a:cubicBezTo>
                <a:lnTo>
                  <a:pt x="436442" y="315289"/>
                </a:lnTo>
                <a:cubicBezTo>
                  <a:pt x="436442" y="321985"/>
                  <a:pt x="431015" y="327413"/>
                  <a:pt x="424319" y="327413"/>
                </a:cubicBezTo>
                <a:lnTo>
                  <a:pt x="24247" y="327413"/>
                </a:lnTo>
                <a:cubicBezTo>
                  <a:pt x="17551" y="327413"/>
                  <a:pt x="12123" y="321985"/>
                  <a:pt x="12123" y="315289"/>
                </a:cubicBezTo>
                <a:close/>
              </a:path>
            </a:pathLst>
          </a:custGeom>
          <a:solidFill>
            <a:schemeClr val="tx1"/>
          </a:solidFill>
          <a:ln w="6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7" name="Grafik 40" descr="Papier Silhouette">
            <a:extLst>
              <a:ext uri="{FF2B5EF4-FFF2-40B4-BE49-F238E27FC236}">
                <a16:creationId xmlns:a16="http://schemas.microsoft.com/office/drawing/2014/main" id="{F0CF2655-CD5C-48A0-860E-DD24FF5089EB}"/>
              </a:ext>
            </a:extLst>
          </p:cNvPr>
          <p:cNvSpPr/>
          <p:nvPr/>
        </p:nvSpPr>
        <p:spPr>
          <a:xfrm>
            <a:off x="1326591" y="4133908"/>
            <a:ext cx="363701" cy="484935"/>
          </a:xfrm>
          <a:custGeom>
            <a:avLst/>
            <a:gdLst>
              <a:gd name="connsiteX0" fmla="*/ 0 w 363701"/>
              <a:gd name="connsiteY0" fmla="*/ 0 h 484935"/>
              <a:gd name="connsiteX1" fmla="*/ 0 w 363701"/>
              <a:gd name="connsiteY1" fmla="*/ 484936 h 484935"/>
              <a:gd name="connsiteX2" fmla="*/ 363702 w 363701"/>
              <a:gd name="connsiteY2" fmla="*/ 484936 h 484935"/>
              <a:gd name="connsiteX3" fmla="*/ 363702 w 363701"/>
              <a:gd name="connsiteY3" fmla="*/ 130848 h 484935"/>
              <a:gd name="connsiteX4" fmla="*/ 232854 w 363701"/>
              <a:gd name="connsiteY4" fmla="*/ 0 h 484935"/>
              <a:gd name="connsiteX5" fmla="*/ 236509 w 363701"/>
              <a:gd name="connsiteY5" fmla="*/ 20798 h 484935"/>
              <a:gd name="connsiteX6" fmla="*/ 342904 w 363701"/>
              <a:gd name="connsiteY6" fmla="*/ 127193 h 484935"/>
              <a:gd name="connsiteX7" fmla="*/ 342904 w 363701"/>
              <a:gd name="connsiteY7" fmla="*/ 127278 h 484935"/>
              <a:gd name="connsiteX8" fmla="*/ 342862 w 363701"/>
              <a:gd name="connsiteY8" fmla="*/ 127296 h 484935"/>
              <a:gd name="connsiteX9" fmla="*/ 236406 w 363701"/>
              <a:gd name="connsiteY9" fmla="*/ 127296 h 484935"/>
              <a:gd name="connsiteX10" fmla="*/ 236406 w 363701"/>
              <a:gd name="connsiteY10" fmla="*/ 20840 h 484935"/>
              <a:gd name="connsiteX11" fmla="*/ 236467 w 363701"/>
              <a:gd name="connsiteY11" fmla="*/ 20780 h 484935"/>
              <a:gd name="connsiteX12" fmla="*/ 236509 w 363701"/>
              <a:gd name="connsiteY12" fmla="*/ 20798 h 484935"/>
              <a:gd name="connsiteX13" fmla="*/ 12123 w 363701"/>
              <a:gd name="connsiteY13" fmla="*/ 472812 h 484935"/>
              <a:gd name="connsiteX14" fmla="*/ 12123 w 363701"/>
              <a:gd name="connsiteY14" fmla="*/ 12123 h 484935"/>
              <a:gd name="connsiteX15" fmla="*/ 224283 w 363701"/>
              <a:gd name="connsiteY15" fmla="*/ 12123 h 484935"/>
              <a:gd name="connsiteX16" fmla="*/ 224283 w 363701"/>
              <a:gd name="connsiteY16" fmla="*/ 139419 h 484935"/>
              <a:gd name="connsiteX17" fmla="*/ 351578 w 363701"/>
              <a:gd name="connsiteY17" fmla="*/ 139419 h 484935"/>
              <a:gd name="connsiteX18" fmla="*/ 351578 w 363701"/>
              <a:gd name="connsiteY18" fmla="*/ 472812 h 4849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363701" h="484935">
                <a:moveTo>
                  <a:pt x="0" y="0"/>
                </a:moveTo>
                <a:lnTo>
                  <a:pt x="0" y="484936"/>
                </a:lnTo>
                <a:lnTo>
                  <a:pt x="363702" y="484936"/>
                </a:lnTo>
                <a:lnTo>
                  <a:pt x="363702" y="130848"/>
                </a:lnTo>
                <a:lnTo>
                  <a:pt x="232854" y="0"/>
                </a:lnTo>
                <a:close/>
                <a:moveTo>
                  <a:pt x="236509" y="20798"/>
                </a:moveTo>
                <a:lnTo>
                  <a:pt x="342904" y="127193"/>
                </a:lnTo>
                <a:cubicBezTo>
                  <a:pt x="342928" y="127216"/>
                  <a:pt x="342927" y="127255"/>
                  <a:pt x="342904" y="127278"/>
                </a:cubicBezTo>
                <a:cubicBezTo>
                  <a:pt x="342892" y="127289"/>
                  <a:pt x="342878" y="127296"/>
                  <a:pt x="342862" y="127296"/>
                </a:cubicBezTo>
                <a:lnTo>
                  <a:pt x="236406" y="127296"/>
                </a:lnTo>
                <a:lnTo>
                  <a:pt x="236406" y="20840"/>
                </a:lnTo>
                <a:cubicBezTo>
                  <a:pt x="236407" y="20807"/>
                  <a:pt x="236434" y="20780"/>
                  <a:pt x="236467" y="20780"/>
                </a:cubicBezTo>
                <a:cubicBezTo>
                  <a:pt x="236483" y="20781"/>
                  <a:pt x="236498" y="20787"/>
                  <a:pt x="236509" y="20798"/>
                </a:cubicBezTo>
                <a:close/>
                <a:moveTo>
                  <a:pt x="12123" y="472812"/>
                </a:moveTo>
                <a:lnTo>
                  <a:pt x="12123" y="12123"/>
                </a:lnTo>
                <a:lnTo>
                  <a:pt x="224283" y="12123"/>
                </a:lnTo>
                <a:lnTo>
                  <a:pt x="224283" y="139419"/>
                </a:lnTo>
                <a:lnTo>
                  <a:pt x="351578" y="139419"/>
                </a:lnTo>
                <a:lnTo>
                  <a:pt x="351578" y="472812"/>
                </a:lnTo>
                <a:close/>
              </a:path>
            </a:pathLst>
          </a:custGeom>
          <a:solidFill>
            <a:schemeClr val="tx1"/>
          </a:solidFill>
          <a:ln w="6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8" name="Grafik 41" descr="Büroklammer Silhouette">
            <a:extLst>
              <a:ext uri="{FF2B5EF4-FFF2-40B4-BE49-F238E27FC236}">
                <a16:creationId xmlns:a16="http://schemas.microsoft.com/office/drawing/2014/main" id="{B8B5F7E1-E671-4D88-8B0C-054078FEE5B1}"/>
              </a:ext>
            </a:extLst>
          </p:cNvPr>
          <p:cNvSpPr/>
          <p:nvPr/>
        </p:nvSpPr>
        <p:spPr>
          <a:xfrm>
            <a:off x="8532287" y="4980086"/>
            <a:ext cx="206097" cy="484935"/>
          </a:xfrm>
          <a:custGeom>
            <a:avLst/>
            <a:gdLst>
              <a:gd name="connsiteX0" fmla="*/ 102443 w 206097"/>
              <a:gd name="connsiteY0" fmla="*/ 484936 h 484935"/>
              <a:gd name="connsiteX1" fmla="*/ 103655 w 206097"/>
              <a:gd name="connsiteY1" fmla="*/ 484936 h 484935"/>
              <a:gd name="connsiteX2" fmla="*/ 206098 w 206097"/>
              <a:gd name="connsiteY2" fmla="*/ 382493 h 484935"/>
              <a:gd name="connsiteX3" fmla="*/ 206098 w 206097"/>
              <a:gd name="connsiteY3" fmla="*/ 254591 h 484935"/>
              <a:gd name="connsiteX4" fmla="*/ 193974 w 206097"/>
              <a:gd name="connsiteY4" fmla="*/ 254591 h 484935"/>
              <a:gd name="connsiteX5" fmla="*/ 193974 w 206097"/>
              <a:gd name="connsiteY5" fmla="*/ 382493 h 484935"/>
              <a:gd name="connsiteX6" fmla="*/ 103655 w 206097"/>
              <a:gd name="connsiteY6" fmla="*/ 472812 h 484935"/>
              <a:gd name="connsiteX7" fmla="*/ 102443 w 206097"/>
              <a:gd name="connsiteY7" fmla="*/ 472812 h 484935"/>
              <a:gd name="connsiteX8" fmla="*/ 12123 w 206097"/>
              <a:gd name="connsiteY8" fmla="*/ 382493 h 484935"/>
              <a:gd name="connsiteX9" fmla="*/ 12123 w 206097"/>
              <a:gd name="connsiteY9" fmla="*/ 72134 h 484935"/>
              <a:gd name="connsiteX10" fmla="*/ 72134 w 206097"/>
              <a:gd name="connsiteY10" fmla="*/ 12123 h 484935"/>
              <a:gd name="connsiteX11" fmla="*/ 73347 w 206097"/>
              <a:gd name="connsiteY11" fmla="*/ 12123 h 484935"/>
              <a:gd name="connsiteX12" fmla="*/ 133357 w 206097"/>
              <a:gd name="connsiteY12" fmla="*/ 72134 h 484935"/>
              <a:gd name="connsiteX13" fmla="*/ 133357 w 206097"/>
              <a:gd name="connsiteY13" fmla="*/ 358246 h 484935"/>
              <a:gd name="connsiteX14" fmla="*/ 103655 w 206097"/>
              <a:gd name="connsiteY14" fmla="*/ 387949 h 484935"/>
              <a:gd name="connsiteX15" fmla="*/ 102443 w 206097"/>
              <a:gd name="connsiteY15" fmla="*/ 387949 h 484935"/>
              <a:gd name="connsiteX16" fmla="*/ 72740 w 206097"/>
              <a:gd name="connsiteY16" fmla="*/ 358246 h 484935"/>
              <a:gd name="connsiteX17" fmla="*/ 72740 w 206097"/>
              <a:gd name="connsiteY17" fmla="*/ 212159 h 484935"/>
              <a:gd name="connsiteX18" fmla="*/ 60617 w 206097"/>
              <a:gd name="connsiteY18" fmla="*/ 212159 h 484935"/>
              <a:gd name="connsiteX19" fmla="*/ 60617 w 206097"/>
              <a:gd name="connsiteY19" fmla="*/ 358246 h 484935"/>
              <a:gd name="connsiteX20" fmla="*/ 102443 w 206097"/>
              <a:gd name="connsiteY20" fmla="*/ 400072 h 484935"/>
              <a:gd name="connsiteX21" fmla="*/ 103655 w 206097"/>
              <a:gd name="connsiteY21" fmla="*/ 400072 h 484935"/>
              <a:gd name="connsiteX22" fmla="*/ 145481 w 206097"/>
              <a:gd name="connsiteY22" fmla="*/ 358246 h 484935"/>
              <a:gd name="connsiteX23" fmla="*/ 145481 w 206097"/>
              <a:gd name="connsiteY23" fmla="*/ 72134 h 484935"/>
              <a:gd name="connsiteX24" fmla="*/ 73347 w 206097"/>
              <a:gd name="connsiteY24" fmla="*/ 0 h 484935"/>
              <a:gd name="connsiteX25" fmla="*/ 72134 w 206097"/>
              <a:gd name="connsiteY25" fmla="*/ 0 h 484935"/>
              <a:gd name="connsiteX26" fmla="*/ 0 w 206097"/>
              <a:gd name="connsiteY26" fmla="*/ 72134 h 484935"/>
              <a:gd name="connsiteX27" fmla="*/ 0 w 206097"/>
              <a:gd name="connsiteY27" fmla="*/ 382493 h 484935"/>
              <a:gd name="connsiteX28" fmla="*/ 102443 w 206097"/>
              <a:gd name="connsiteY28" fmla="*/ 484936 h 4849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206097" h="484935">
                <a:moveTo>
                  <a:pt x="102443" y="484936"/>
                </a:moveTo>
                <a:lnTo>
                  <a:pt x="103655" y="484936"/>
                </a:lnTo>
                <a:cubicBezTo>
                  <a:pt x="160206" y="484872"/>
                  <a:pt x="206034" y="439045"/>
                  <a:pt x="206098" y="382493"/>
                </a:cubicBezTo>
                <a:lnTo>
                  <a:pt x="206098" y="254591"/>
                </a:lnTo>
                <a:lnTo>
                  <a:pt x="193974" y="254591"/>
                </a:lnTo>
                <a:lnTo>
                  <a:pt x="193974" y="382493"/>
                </a:lnTo>
                <a:cubicBezTo>
                  <a:pt x="193917" y="432352"/>
                  <a:pt x="153514" y="472755"/>
                  <a:pt x="103655" y="472812"/>
                </a:cubicBezTo>
                <a:lnTo>
                  <a:pt x="102443" y="472812"/>
                </a:lnTo>
                <a:cubicBezTo>
                  <a:pt x="52584" y="472755"/>
                  <a:pt x="12180" y="432352"/>
                  <a:pt x="12123" y="382493"/>
                </a:cubicBezTo>
                <a:lnTo>
                  <a:pt x="12123" y="72134"/>
                </a:lnTo>
                <a:cubicBezTo>
                  <a:pt x="12160" y="39006"/>
                  <a:pt x="39006" y="12160"/>
                  <a:pt x="72134" y="12123"/>
                </a:cubicBezTo>
                <a:lnTo>
                  <a:pt x="73347" y="12123"/>
                </a:lnTo>
                <a:cubicBezTo>
                  <a:pt x="106474" y="12160"/>
                  <a:pt x="133320" y="39006"/>
                  <a:pt x="133357" y="72134"/>
                </a:cubicBezTo>
                <a:lnTo>
                  <a:pt x="133357" y="358246"/>
                </a:lnTo>
                <a:cubicBezTo>
                  <a:pt x="133340" y="374644"/>
                  <a:pt x="120053" y="387932"/>
                  <a:pt x="103655" y="387949"/>
                </a:cubicBezTo>
                <a:lnTo>
                  <a:pt x="102443" y="387949"/>
                </a:lnTo>
                <a:cubicBezTo>
                  <a:pt x="86046" y="387932"/>
                  <a:pt x="72757" y="374644"/>
                  <a:pt x="72740" y="358246"/>
                </a:cubicBezTo>
                <a:lnTo>
                  <a:pt x="72740" y="212159"/>
                </a:lnTo>
                <a:lnTo>
                  <a:pt x="60617" y="212159"/>
                </a:lnTo>
                <a:lnTo>
                  <a:pt x="60617" y="358246"/>
                </a:lnTo>
                <a:cubicBezTo>
                  <a:pt x="60641" y="381337"/>
                  <a:pt x="79352" y="400048"/>
                  <a:pt x="102443" y="400072"/>
                </a:cubicBezTo>
                <a:lnTo>
                  <a:pt x="103655" y="400072"/>
                </a:lnTo>
                <a:cubicBezTo>
                  <a:pt x="126745" y="400048"/>
                  <a:pt x="145457" y="381337"/>
                  <a:pt x="145481" y="358246"/>
                </a:cubicBezTo>
                <a:lnTo>
                  <a:pt x="145481" y="72134"/>
                </a:lnTo>
                <a:cubicBezTo>
                  <a:pt x="145437" y="32314"/>
                  <a:pt x="113167" y="43"/>
                  <a:pt x="73347" y="0"/>
                </a:cubicBezTo>
                <a:lnTo>
                  <a:pt x="72134" y="0"/>
                </a:lnTo>
                <a:cubicBezTo>
                  <a:pt x="32314" y="43"/>
                  <a:pt x="44" y="32314"/>
                  <a:pt x="0" y="72134"/>
                </a:cubicBezTo>
                <a:lnTo>
                  <a:pt x="0" y="382493"/>
                </a:lnTo>
                <a:cubicBezTo>
                  <a:pt x="64" y="439045"/>
                  <a:pt x="45891" y="484872"/>
                  <a:pt x="102443" y="484936"/>
                </a:cubicBezTo>
                <a:close/>
              </a:path>
            </a:pathLst>
          </a:custGeom>
          <a:solidFill>
            <a:schemeClr val="tx1"/>
          </a:solidFill>
          <a:ln w="6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53" name="Grafik 43" descr="Teleskop Silhouette">
            <a:extLst>
              <a:ext uri="{FF2B5EF4-FFF2-40B4-BE49-F238E27FC236}">
                <a16:creationId xmlns:a16="http://schemas.microsoft.com/office/drawing/2014/main" id="{4EE86091-7254-4DC0-AB8E-153DB866079B}"/>
              </a:ext>
            </a:extLst>
          </p:cNvPr>
          <p:cNvSpPr/>
          <p:nvPr/>
        </p:nvSpPr>
        <p:spPr>
          <a:xfrm>
            <a:off x="10432653" y="4984208"/>
            <a:ext cx="464392" cy="462628"/>
          </a:xfrm>
          <a:custGeom>
            <a:avLst/>
            <a:gdLst>
              <a:gd name="connsiteX0" fmla="*/ 237516 w 464392"/>
              <a:gd name="connsiteY0" fmla="*/ 171001 h 462628"/>
              <a:gd name="connsiteX1" fmla="*/ 330732 w 464392"/>
              <a:gd name="connsiteY1" fmla="*/ 135000 h 462628"/>
              <a:gd name="connsiteX2" fmla="*/ 334309 w 464392"/>
              <a:gd name="connsiteY2" fmla="*/ 143759 h 462628"/>
              <a:gd name="connsiteX3" fmla="*/ 464393 w 464392"/>
              <a:gd name="connsiteY3" fmla="*/ 93526 h 462628"/>
              <a:gd name="connsiteX4" fmla="*/ 426265 w 464392"/>
              <a:gd name="connsiteY4" fmla="*/ 0 h 462628"/>
              <a:gd name="connsiteX5" fmla="*/ 298133 w 464392"/>
              <a:gd name="connsiteY5" fmla="*/ 55010 h 462628"/>
              <a:gd name="connsiteX6" fmla="*/ 301703 w 464392"/>
              <a:gd name="connsiteY6" fmla="*/ 63769 h 462628"/>
              <a:gd name="connsiteX7" fmla="*/ 62151 w 464392"/>
              <a:gd name="connsiteY7" fmla="*/ 166624 h 462628"/>
              <a:gd name="connsiteX8" fmla="*/ 66879 w 464392"/>
              <a:gd name="connsiteY8" fmla="*/ 178226 h 462628"/>
              <a:gd name="connsiteX9" fmla="*/ 0 w 464392"/>
              <a:gd name="connsiteY9" fmla="*/ 206928 h 462628"/>
              <a:gd name="connsiteX10" fmla="*/ 14918 w 464392"/>
              <a:gd name="connsiteY10" fmla="*/ 243523 h 462628"/>
              <a:gd name="connsiteX11" fmla="*/ 82809 w 464392"/>
              <a:gd name="connsiteY11" fmla="*/ 217306 h 462628"/>
              <a:gd name="connsiteX12" fmla="*/ 87543 w 464392"/>
              <a:gd name="connsiteY12" fmla="*/ 228914 h 462628"/>
              <a:gd name="connsiteX13" fmla="*/ 210238 w 464392"/>
              <a:gd name="connsiteY13" fmla="*/ 181536 h 462628"/>
              <a:gd name="connsiteX14" fmla="*/ 105371 w 464392"/>
              <a:gd name="connsiteY14" fmla="*/ 429962 h 462628"/>
              <a:gd name="connsiteX15" fmla="*/ 108429 w 464392"/>
              <a:gd name="connsiteY15" fmla="*/ 437970 h 462628"/>
              <a:gd name="connsiteX16" fmla="*/ 116437 w 464392"/>
              <a:gd name="connsiteY16" fmla="*/ 434912 h 462628"/>
              <a:gd name="connsiteX17" fmla="*/ 116536 w 464392"/>
              <a:gd name="connsiteY17" fmla="*/ 434678 h 462628"/>
              <a:gd name="connsiteX18" fmla="*/ 171298 w 464392"/>
              <a:gd name="connsiteY18" fmla="*/ 304958 h 462628"/>
              <a:gd name="connsiteX19" fmla="*/ 171570 w 464392"/>
              <a:gd name="connsiteY19" fmla="*/ 305013 h 462628"/>
              <a:gd name="connsiteX20" fmla="*/ 220064 w 464392"/>
              <a:gd name="connsiteY20" fmla="*/ 305013 h 462628"/>
              <a:gd name="connsiteX21" fmla="*/ 220064 w 464392"/>
              <a:gd name="connsiteY21" fmla="*/ 456567 h 462628"/>
              <a:gd name="connsiteX22" fmla="*/ 226126 w 464392"/>
              <a:gd name="connsiteY22" fmla="*/ 462629 h 462628"/>
              <a:gd name="connsiteX23" fmla="*/ 232187 w 464392"/>
              <a:gd name="connsiteY23" fmla="*/ 456567 h 462628"/>
              <a:gd name="connsiteX24" fmla="*/ 232187 w 464392"/>
              <a:gd name="connsiteY24" fmla="*/ 305025 h 462628"/>
              <a:gd name="connsiteX25" fmla="*/ 280681 w 464392"/>
              <a:gd name="connsiteY25" fmla="*/ 305025 h 462628"/>
              <a:gd name="connsiteX26" fmla="*/ 280954 w 464392"/>
              <a:gd name="connsiteY26" fmla="*/ 304970 h 462628"/>
              <a:gd name="connsiteX27" fmla="*/ 335715 w 464392"/>
              <a:gd name="connsiteY27" fmla="*/ 434690 h 462628"/>
              <a:gd name="connsiteX28" fmla="*/ 343589 w 464392"/>
              <a:gd name="connsiteY28" fmla="*/ 438081 h 462628"/>
              <a:gd name="connsiteX29" fmla="*/ 346979 w 464392"/>
              <a:gd name="connsiteY29" fmla="*/ 430208 h 462628"/>
              <a:gd name="connsiteX30" fmla="*/ 346881 w 464392"/>
              <a:gd name="connsiteY30" fmla="*/ 429974 h 462628"/>
              <a:gd name="connsiteX31" fmla="*/ 419700 w 464392"/>
              <a:gd name="connsiteY31" fmla="*/ 16003 h 462628"/>
              <a:gd name="connsiteX32" fmla="*/ 448499 w 464392"/>
              <a:gd name="connsiteY32" fmla="*/ 86676 h 462628"/>
              <a:gd name="connsiteX33" fmla="*/ 341043 w 464392"/>
              <a:gd name="connsiteY33" fmla="*/ 128169 h 462628"/>
              <a:gd name="connsiteX34" fmla="*/ 327447 w 464392"/>
              <a:gd name="connsiteY34" fmla="*/ 94829 h 462628"/>
              <a:gd name="connsiteX35" fmla="*/ 313857 w 464392"/>
              <a:gd name="connsiteY35" fmla="*/ 61490 h 462628"/>
              <a:gd name="connsiteX36" fmla="*/ 21677 w 464392"/>
              <a:gd name="connsiteY36" fmla="*/ 227926 h 462628"/>
              <a:gd name="connsiteX37" fmla="*/ 15748 w 464392"/>
              <a:gd name="connsiteY37" fmla="*/ 213378 h 462628"/>
              <a:gd name="connsiteX38" fmla="*/ 71455 w 464392"/>
              <a:gd name="connsiteY38" fmla="*/ 189464 h 462628"/>
              <a:gd name="connsiteX39" fmla="*/ 74844 w 464392"/>
              <a:gd name="connsiteY39" fmla="*/ 197775 h 462628"/>
              <a:gd name="connsiteX40" fmla="*/ 78232 w 464392"/>
              <a:gd name="connsiteY40" fmla="*/ 206092 h 462628"/>
              <a:gd name="connsiteX41" fmla="*/ 94120 w 464392"/>
              <a:gd name="connsiteY41" fmla="*/ 212941 h 462628"/>
              <a:gd name="connsiteX42" fmla="*/ 94120 w 464392"/>
              <a:gd name="connsiteY42" fmla="*/ 212941 h 462628"/>
              <a:gd name="connsiteX43" fmla="*/ 78020 w 464392"/>
              <a:gd name="connsiteY43" fmla="*/ 173437 h 462628"/>
              <a:gd name="connsiteX44" fmla="*/ 78020 w 464392"/>
              <a:gd name="connsiteY44" fmla="*/ 173437 h 462628"/>
              <a:gd name="connsiteX45" fmla="*/ 77869 w 464392"/>
              <a:gd name="connsiteY45" fmla="*/ 173061 h 462628"/>
              <a:gd name="connsiteX46" fmla="*/ 306273 w 464392"/>
              <a:gd name="connsiteY46" fmla="*/ 74995 h 462628"/>
              <a:gd name="connsiteX47" fmla="*/ 316215 w 464392"/>
              <a:gd name="connsiteY47" fmla="*/ 99388 h 462628"/>
              <a:gd name="connsiteX48" fmla="*/ 326156 w 464392"/>
              <a:gd name="connsiteY48" fmla="*/ 123780 h 462628"/>
              <a:gd name="connsiteX49" fmla="*/ 94278 w 464392"/>
              <a:gd name="connsiteY49" fmla="*/ 213323 h 462628"/>
              <a:gd name="connsiteX50" fmla="*/ 220040 w 464392"/>
              <a:gd name="connsiteY50" fmla="*/ 292901 h 462628"/>
              <a:gd name="connsiteX51" fmla="*/ 176395 w 464392"/>
              <a:gd name="connsiteY51" fmla="*/ 292901 h 462628"/>
              <a:gd name="connsiteX52" fmla="*/ 219949 w 464392"/>
              <a:gd name="connsiteY52" fmla="*/ 189755 h 462628"/>
              <a:gd name="connsiteX53" fmla="*/ 220064 w 464392"/>
              <a:gd name="connsiteY53" fmla="*/ 189755 h 462628"/>
              <a:gd name="connsiteX54" fmla="*/ 232163 w 464392"/>
              <a:gd name="connsiteY54" fmla="*/ 292901 h 462628"/>
              <a:gd name="connsiteX55" fmla="*/ 232163 w 464392"/>
              <a:gd name="connsiteY55" fmla="*/ 189780 h 462628"/>
              <a:gd name="connsiteX56" fmla="*/ 232278 w 464392"/>
              <a:gd name="connsiteY56" fmla="*/ 189780 h 462628"/>
              <a:gd name="connsiteX57" fmla="*/ 275807 w 464392"/>
              <a:gd name="connsiteY57" fmla="*/ 292901 h 462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464392" h="462628">
                <a:moveTo>
                  <a:pt x="237516" y="171001"/>
                </a:moveTo>
                <a:lnTo>
                  <a:pt x="330732" y="135000"/>
                </a:lnTo>
                <a:lnTo>
                  <a:pt x="334309" y="143759"/>
                </a:lnTo>
                <a:lnTo>
                  <a:pt x="464393" y="93526"/>
                </a:lnTo>
                <a:lnTo>
                  <a:pt x="426265" y="0"/>
                </a:lnTo>
                <a:lnTo>
                  <a:pt x="298133" y="55010"/>
                </a:lnTo>
                <a:lnTo>
                  <a:pt x="301703" y="63769"/>
                </a:lnTo>
                <a:lnTo>
                  <a:pt x="62151" y="166624"/>
                </a:lnTo>
                <a:lnTo>
                  <a:pt x="66879" y="178226"/>
                </a:lnTo>
                <a:lnTo>
                  <a:pt x="0" y="206928"/>
                </a:lnTo>
                <a:lnTo>
                  <a:pt x="14918" y="243523"/>
                </a:lnTo>
                <a:lnTo>
                  <a:pt x="82809" y="217306"/>
                </a:lnTo>
                <a:lnTo>
                  <a:pt x="87543" y="228914"/>
                </a:lnTo>
                <a:lnTo>
                  <a:pt x="210238" y="181536"/>
                </a:lnTo>
                <a:lnTo>
                  <a:pt x="105371" y="429962"/>
                </a:lnTo>
                <a:cubicBezTo>
                  <a:pt x="104004" y="433019"/>
                  <a:pt x="105373" y="436603"/>
                  <a:pt x="108429" y="437970"/>
                </a:cubicBezTo>
                <a:cubicBezTo>
                  <a:pt x="111485" y="439337"/>
                  <a:pt x="115070" y="437968"/>
                  <a:pt x="116437" y="434912"/>
                </a:cubicBezTo>
                <a:cubicBezTo>
                  <a:pt x="116472" y="434835"/>
                  <a:pt x="116505" y="434757"/>
                  <a:pt x="116536" y="434678"/>
                </a:cubicBezTo>
                <a:lnTo>
                  <a:pt x="171298" y="304958"/>
                </a:lnTo>
                <a:cubicBezTo>
                  <a:pt x="171395" y="304958"/>
                  <a:pt x="171473" y="305013"/>
                  <a:pt x="171570" y="305013"/>
                </a:cubicBezTo>
                <a:lnTo>
                  <a:pt x="220064" y="305013"/>
                </a:lnTo>
                <a:lnTo>
                  <a:pt x="220064" y="456567"/>
                </a:lnTo>
                <a:cubicBezTo>
                  <a:pt x="220064" y="459915"/>
                  <a:pt x="222778" y="462629"/>
                  <a:pt x="226126" y="462629"/>
                </a:cubicBezTo>
                <a:cubicBezTo>
                  <a:pt x="229473" y="462629"/>
                  <a:pt x="232187" y="459915"/>
                  <a:pt x="232187" y="456567"/>
                </a:cubicBezTo>
                <a:lnTo>
                  <a:pt x="232187" y="305025"/>
                </a:lnTo>
                <a:lnTo>
                  <a:pt x="280681" y="305025"/>
                </a:lnTo>
                <a:cubicBezTo>
                  <a:pt x="280778" y="305025"/>
                  <a:pt x="280857" y="304976"/>
                  <a:pt x="280954" y="304970"/>
                </a:cubicBezTo>
                <a:lnTo>
                  <a:pt x="335715" y="434690"/>
                </a:lnTo>
                <a:cubicBezTo>
                  <a:pt x="336953" y="437801"/>
                  <a:pt x="340478" y="439319"/>
                  <a:pt x="343589" y="438081"/>
                </a:cubicBezTo>
                <a:cubicBezTo>
                  <a:pt x="346699" y="436844"/>
                  <a:pt x="348217" y="433319"/>
                  <a:pt x="346979" y="430208"/>
                </a:cubicBezTo>
                <a:cubicBezTo>
                  <a:pt x="346948" y="430130"/>
                  <a:pt x="346915" y="430051"/>
                  <a:pt x="346881" y="429974"/>
                </a:cubicBezTo>
                <a:close/>
                <a:moveTo>
                  <a:pt x="419700" y="16003"/>
                </a:moveTo>
                <a:lnTo>
                  <a:pt x="448499" y="86676"/>
                </a:lnTo>
                <a:lnTo>
                  <a:pt x="341043" y="128169"/>
                </a:lnTo>
                <a:lnTo>
                  <a:pt x="327447" y="94829"/>
                </a:lnTo>
                <a:lnTo>
                  <a:pt x="313857" y="61490"/>
                </a:lnTo>
                <a:close/>
                <a:moveTo>
                  <a:pt x="21677" y="227926"/>
                </a:moveTo>
                <a:lnTo>
                  <a:pt x="15748" y="213378"/>
                </a:lnTo>
                <a:lnTo>
                  <a:pt x="71455" y="189464"/>
                </a:lnTo>
                <a:lnTo>
                  <a:pt x="74844" y="197775"/>
                </a:lnTo>
                <a:lnTo>
                  <a:pt x="78232" y="206092"/>
                </a:lnTo>
                <a:close/>
                <a:moveTo>
                  <a:pt x="94120" y="212941"/>
                </a:moveTo>
                <a:lnTo>
                  <a:pt x="94120" y="212941"/>
                </a:lnTo>
                <a:lnTo>
                  <a:pt x="78020" y="173437"/>
                </a:lnTo>
                <a:lnTo>
                  <a:pt x="78020" y="173437"/>
                </a:lnTo>
                <a:lnTo>
                  <a:pt x="77869" y="173061"/>
                </a:lnTo>
                <a:lnTo>
                  <a:pt x="306273" y="74995"/>
                </a:lnTo>
                <a:lnTo>
                  <a:pt x="316215" y="99388"/>
                </a:lnTo>
                <a:lnTo>
                  <a:pt x="326156" y="123780"/>
                </a:lnTo>
                <a:lnTo>
                  <a:pt x="94278" y="213323"/>
                </a:lnTo>
                <a:close/>
                <a:moveTo>
                  <a:pt x="220040" y="292901"/>
                </a:moveTo>
                <a:lnTo>
                  <a:pt x="176395" y="292901"/>
                </a:lnTo>
                <a:lnTo>
                  <a:pt x="219949" y="189755"/>
                </a:lnTo>
                <a:cubicBezTo>
                  <a:pt x="220009" y="189604"/>
                  <a:pt x="220064" y="189610"/>
                  <a:pt x="220064" y="189755"/>
                </a:cubicBezTo>
                <a:close/>
                <a:moveTo>
                  <a:pt x="232163" y="292901"/>
                </a:moveTo>
                <a:lnTo>
                  <a:pt x="232163" y="189780"/>
                </a:lnTo>
                <a:cubicBezTo>
                  <a:pt x="232163" y="189610"/>
                  <a:pt x="232218" y="189604"/>
                  <a:pt x="232278" y="189780"/>
                </a:cubicBezTo>
                <a:lnTo>
                  <a:pt x="275807" y="292901"/>
                </a:lnTo>
                <a:close/>
              </a:path>
            </a:pathLst>
          </a:custGeom>
          <a:solidFill>
            <a:schemeClr val="tx1"/>
          </a:solidFill>
          <a:ln w="6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54" name="Grafik 44" descr="Harvey Balls 100% Silhouette">
            <a:extLst>
              <a:ext uri="{FF2B5EF4-FFF2-40B4-BE49-F238E27FC236}">
                <a16:creationId xmlns:a16="http://schemas.microsoft.com/office/drawing/2014/main" id="{CA1D0589-4840-4B0C-AB9E-1B9AD2DBF1F8}"/>
              </a:ext>
            </a:extLst>
          </p:cNvPr>
          <p:cNvSpPr/>
          <p:nvPr/>
        </p:nvSpPr>
        <p:spPr>
          <a:xfrm>
            <a:off x="7623979" y="3180998"/>
            <a:ext cx="460689" cy="460689"/>
          </a:xfrm>
          <a:custGeom>
            <a:avLst/>
            <a:gdLst>
              <a:gd name="connsiteX0" fmla="*/ 230345 w 460689"/>
              <a:gd name="connsiteY0" fmla="*/ 0 h 460689"/>
              <a:gd name="connsiteX1" fmla="*/ 0 w 460689"/>
              <a:gd name="connsiteY1" fmla="*/ 230345 h 460689"/>
              <a:gd name="connsiteX2" fmla="*/ 230345 w 460689"/>
              <a:gd name="connsiteY2" fmla="*/ 460689 h 460689"/>
              <a:gd name="connsiteX3" fmla="*/ 460689 w 460689"/>
              <a:gd name="connsiteY3" fmla="*/ 230345 h 460689"/>
              <a:gd name="connsiteX4" fmla="*/ 230345 w 460689"/>
              <a:gd name="connsiteY4" fmla="*/ 0 h 460689"/>
              <a:gd name="connsiteX5" fmla="*/ 230345 w 460689"/>
              <a:gd name="connsiteY5" fmla="*/ 448566 h 460689"/>
              <a:gd name="connsiteX6" fmla="*/ 12123 w 460689"/>
              <a:gd name="connsiteY6" fmla="*/ 230345 h 460689"/>
              <a:gd name="connsiteX7" fmla="*/ 230345 w 460689"/>
              <a:gd name="connsiteY7" fmla="*/ 12123 h 460689"/>
              <a:gd name="connsiteX8" fmla="*/ 448566 w 460689"/>
              <a:gd name="connsiteY8" fmla="*/ 230345 h 460689"/>
              <a:gd name="connsiteX9" fmla="*/ 230345 w 460689"/>
              <a:gd name="connsiteY9" fmla="*/ 448566 h 4606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60689" h="460689">
                <a:moveTo>
                  <a:pt x="230345" y="0"/>
                </a:moveTo>
                <a:cubicBezTo>
                  <a:pt x="103129" y="0"/>
                  <a:pt x="0" y="103129"/>
                  <a:pt x="0" y="230345"/>
                </a:cubicBezTo>
                <a:cubicBezTo>
                  <a:pt x="0" y="357560"/>
                  <a:pt x="103129" y="460689"/>
                  <a:pt x="230345" y="460689"/>
                </a:cubicBezTo>
                <a:cubicBezTo>
                  <a:pt x="357560" y="460689"/>
                  <a:pt x="460689" y="357560"/>
                  <a:pt x="460689" y="230345"/>
                </a:cubicBezTo>
                <a:cubicBezTo>
                  <a:pt x="460545" y="103188"/>
                  <a:pt x="357501" y="144"/>
                  <a:pt x="230345" y="0"/>
                </a:cubicBezTo>
                <a:close/>
                <a:moveTo>
                  <a:pt x="230345" y="448566"/>
                </a:moveTo>
                <a:cubicBezTo>
                  <a:pt x="109824" y="448566"/>
                  <a:pt x="12123" y="350864"/>
                  <a:pt x="12123" y="230345"/>
                </a:cubicBezTo>
                <a:cubicBezTo>
                  <a:pt x="12123" y="109824"/>
                  <a:pt x="109824" y="12123"/>
                  <a:pt x="230345" y="12123"/>
                </a:cubicBezTo>
                <a:cubicBezTo>
                  <a:pt x="350864" y="12123"/>
                  <a:pt x="448566" y="109824"/>
                  <a:pt x="448566" y="230345"/>
                </a:cubicBezTo>
                <a:cubicBezTo>
                  <a:pt x="448432" y="350809"/>
                  <a:pt x="350809" y="448432"/>
                  <a:pt x="230345" y="448566"/>
                </a:cubicBezTo>
                <a:close/>
              </a:path>
            </a:pathLst>
          </a:custGeom>
          <a:solidFill>
            <a:schemeClr val="tx1"/>
          </a:solidFill>
          <a:ln w="6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C05B83C6-3CD4-4629-A5EC-F3ED091D8F4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5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19713940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1F7A04A-71D1-45B6-B350-5FA7CAE858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00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E1F7A04A-71D1-45B6-B350-5FA7CAE858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B520085-9194-4F0F-ABC7-184C219C556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</p:spPr>
        <p:txBody>
          <a:bodyPr vert="horz"/>
          <a:lstStyle/>
          <a:p>
            <a:pPr lvl="0"/>
            <a:r>
              <a:rPr lang="de-DE"/>
              <a:t>Headline, Frutiger LT Com Bd, 24 pt, Icons der Leitmärkte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82E00763-6D63-411F-BACD-9505D13A6D7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2000" dirty="0" err="1">
                <a:latin typeface="+mn-lt"/>
              </a:rPr>
              <a:t>Subline</a:t>
            </a:r>
            <a:r>
              <a:rPr lang="de-DE" sz="2000" dirty="0">
                <a:latin typeface="+mn-lt"/>
              </a:rPr>
              <a:t>, Frutiger LT </a:t>
            </a:r>
            <a:r>
              <a:rPr lang="de-DE" sz="2000" err="1">
                <a:latin typeface="+mn-lt"/>
              </a:rPr>
              <a:t>Com</a:t>
            </a:r>
            <a:r>
              <a:rPr lang="de-DE" sz="2000">
                <a:latin typeface="+mn-lt"/>
              </a:rPr>
              <a:t> Lt</a:t>
            </a:r>
            <a:r>
              <a:rPr lang="de-DE" sz="2000" dirty="0">
                <a:latin typeface="+mn-lt"/>
              </a:rPr>
              <a:t>, 20 </a:t>
            </a:r>
            <a:r>
              <a:rPr lang="de-DE" sz="2000" dirty="0" err="1">
                <a:latin typeface="+mn-lt"/>
              </a:rPr>
              <a:t>pt</a:t>
            </a:r>
            <a:endParaRPr lang="en-US" dirty="0"/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21C96E7E-85F5-4A56-B764-7093E06B90C2}"/>
              </a:ext>
            </a:extLst>
          </p:cNvPr>
          <p:cNvSpPr>
            <a:spLocks/>
          </p:cNvSpPr>
          <p:nvPr/>
        </p:nvSpPr>
        <p:spPr bwMode="gray">
          <a:xfrm>
            <a:off x="485775" y="2204864"/>
            <a:ext cx="1071348" cy="3781129"/>
          </a:xfrm>
          <a:prstGeom prst="rect">
            <a:avLst/>
          </a:prstGeom>
          <a:solidFill>
            <a:srgbClr val="E5EEF2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/>
          <a:lstStyle/>
          <a:p>
            <a:endParaRPr lang="de-DE" dirty="0"/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30B23CD2-6668-4E7C-AC96-74D89CE8871D}"/>
              </a:ext>
            </a:extLst>
          </p:cNvPr>
          <p:cNvSpPr/>
          <p:nvPr/>
        </p:nvSpPr>
        <p:spPr bwMode="gray">
          <a:xfrm>
            <a:off x="1754881" y="2204864"/>
            <a:ext cx="1071348" cy="3781129"/>
          </a:xfrm>
          <a:prstGeom prst="rect">
            <a:avLst/>
          </a:prstGeom>
          <a:solidFill>
            <a:srgbClr val="E5EEF2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/>
          <a:lstStyle/>
          <a:p>
            <a:endParaRPr lang="de-DE" dirty="0"/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03072C6B-FDD9-4FB6-9CBB-2224AE8B8ABE}"/>
              </a:ext>
            </a:extLst>
          </p:cNvPr>
          <p:cNvSpPr/>
          <p:nvPr/>
        </p:nvSpPr>
        <p:spPr bwMode="gray">
          <a:xfrm>
            <a:off x="3023987" y="2204864"/>
            <a:ext cx="1071348" cy="3781129"/>
          </a:xfrm>
          <a:prstGeom prst="rect">
            <a:avLst/>
          </a:prstGeom>
          <a:solidFill>
            <a:srgbClr val="E5EEF2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/>
          <a:lstStyle/>
          <a:p>
            <a:endParaRPr lang="de-DE" dirty="0"/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3659958D-A2D0-43D5-AB04-D16AB452470A}"/>
              </a:ext>
            </a:extLst>
          </p:cNvPr>
          <p:cNvSpPr/>
          <p:nvPr/>
        </p:nvSpPr>
        <p:spPr bwMode="gray">
          <a:xfrm>
            <a:off x="4293093" y="2204864"/>
            <a:ext cx="1071348" cy="3781129"/>
          </a:xfrm>
          <a:prstGeom prst="rect">
            <a:avLst/>
          </a:prstGeom>
          <a:solidFill>
            <a:srgbClr val="E5EEF2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/>
          <a:lstStyle/>
          <a:p>
            <a:endParaRPr lang="de-DE" dirty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558E781E-01FC-4EA5-AA17-C291DF6B79F9}"/>
              </a:ext>
            </a:extLst>
          </p:cNvPr>
          <p:cNvSpPr/>
          <p:nvPr/>
        </p:nvSpPr>
        <p:spPr bwMode="gray">
          <a:xfrm>
            <a:off x="5562199" y="2204864"/>
            <a:ext cx="1071348" cy="3781129"/>
          </a:xfrm>
          <a:prstGeom prst="rect">
            <a:avLst/>
          </a:prstGeom>
          <a:solidFill>
            <a:srgbClr val="E5EEF2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/>
          <a:lstStyle/>
          <a:p>
            <a:endParaRPr lang="de-DE" dirty="0"/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5B58C8F2-DCE0-432E-8C88-08D2FCBAFBDF}"/>
              </a:ext>
            </a:extLst>
          </p:cNvPr>
          <p:cNvSpPr/>
          <p:nvPr/>
        </p:nvSpPr>
        <p:spPr bwMode="gray">
          <a:xfrm>
            <a:off x="6831305" y="2204864"/>
            <a:ext cx="1071348" cy="3781129"/>
          </a:xfrm>
          <a:prstGeom prst="rect">
            <a:avLst/>
          </a:prstGeom>
          <a:solidFill>
            <a:srgbClr val="E5EEF2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/>
          <a:lstStyle/>
          <a:p>
            <a:endParaRPr lang="de-DE" dirty="0"/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98046C00-225F-4553-8E65-4BFF6592D7CF}"/>
              </a:ext>
            </a:extLst>
          </p:cNvPr>
          <p:cNvSpPr/>
          <p:nvPr/>
        </p:nvSpPr>
        <p:spPr bwMode="gray">
          <a:xfrm>
            <a:off x="8100411" y="2204864"/>
            <a:ext cx="1071348" cy="3781129"/>
          </a:xfrm>
          <a:prstGeom prst="rect">
            <a:avLst/>
          </a:prstGeom>
          <a:solidFill>
            <a:srgbClr val="E5EEF2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/>
          <a:lstStyle/>
          <a:p>
            <a:endParaRPr lang="de-DE" dirty="0"/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23FB7891-8252-41A8-B57C-38946718C5D7}"/>
              </a:ext>
            </a:extLst>
          </p:cNvPr>
          <p:cNvSpPr/>
          <p:nvPr/>
        </p:nvSpPr>
        <p:spPr bwMode="gray">
          <a:xfrm>
            <a:off x="9369517" y="2204864"/>
            <a:ext cx="1071348" cy="3781129"/>
          </a:xfrm>
          <a:prstGeom prst="rect">
            <a:avLst/>
          </a:prstGeom>
          <a:solidFill>
            <a:srgbClr val="E5EEF2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/>
          <a:lstStyle/>
          <a:p>
            <a:endParaRPr lang="de-DE" dirty="0"/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BB785EAC-27DC-4F88-AA84-7A7B6E118AA0}"/>
              </a:ext>
            </a:extLst>
          </p:cNvPr>
          <p:cNvSpPr>
            <a:spLocks/>
          </p:cNvSpPr>
          <p:nvPr/>
        </p:nvSpPr>
        <p:spPr bwMode="gray">
          <a:xfrm>
            <a:off x="10638621" y="2204864"/>
            <a:ext cx="1071348" cy="3781129"/>
          </a:xfrm>
          <a:prstGeom prst="rect">
            <a:avLst/>
          </a:prstGeom>
          <a:solidFill>
            <a:srgbClr val="E5EEF2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/>
          <a:lstStyle/>
          <a:p>
            <a:endParaRPr lang="de-DE" dirty="0"/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B6FB7970-9490-48BD-80A2-589432CDA9D3}"/>
              </a:ext>
            </a:extLst>
          </p:cNvPr>
          <p:cNvSpPr txBox="1"/>
          <p:nvPr/>
        </p:nvSpPr>
        <p:spPr bwMode="gray">
          <a:xfrm>
            <a:off x="1746943" y="1698147"/>
            <a:ext cx="107928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100"/>
              <a:t>Mobilitäts-wirtschaft</a:t>
            </a:r>
            <a:endParaRPr lang="de-DE" sz="1100" dirty="0"/>
          </a:p>
        </p:txBody>
      </p:sp>
      <p:sp>
        <p:nvSpPr>
          <p:cNvPr id="64" name="Textfeld 63">
            <a:extLst>
              <a:ext uri="{FF2B5EF4-FFF2-40B4-BE49-F238E27FC236}">
                <a16:creationId xmlns:a16="http://schemas.microsoft.com/office/drawing/2014/main" id="{15EAA9C8-8564-4379-A5DC-5A79B43D972F}"/>
              </a:ext>
            </a:extLst>
          </p:cNvPr>
          <p:cNvSpPr txBox="1"/>
          <p:nvPr/>
        </p:nvSpPr>
        <p:spPr bwMode="gray">
          <a:xfrm>
            <a:off x="2918282" y="1698147"/>
            <a:ext cx="1351759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100"/>
              <a:t>Anlagen-, Maschinen- </a:t>
            </a:r>
            <a:br>
              <a:rPr lang="de-DE" sz="1100"/>
            </a:br>
            <a:r>
              <a:rPr lang="de-DE" sz="1100"/>
              <a:t>und Fahrzeugbau</a:t>
            </a:r>
          </a:p>
        </p:txBody>
      </p:sp>
      <p:sp>
        <p:nvSpPr>
          <p:cNvPr id="65" name="Textfeld 64">
            <a:extLst>
              <a:ext uri="{FF2B5EF4-FFF2-40B4-BE49-F238E27FC236}">
                <a16:creationId xmlns:a16="http://schemas.microsoft.com/office/drawing/2014/main" id="{6CFA083A-D10B-4D70-BED3-79861C8C86FF}"/>
              </a:ext>
            </a:extLst>
          </p:cNvPr>
          <p:cNvSpPr txBox="1"/>
          <p:nvPr/>
        </p:nvSpPr>
        <p:spPr bwMode="gray">
          <a:xfrm>
            <a:off x="4285155" y="1698147"/>
            <a:ext cx="107928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100"/>
              <a:t>Gesundheits-wirtschaft</a:t>
            </a:r>
            <a:endParaRPr lang="de-DE" sz="1100" dirty="0"/>
          </a:p>
        </p:txBody>
      </p:sp>
      <p:sp>
        <p:nvSpPr>
          <p:cNvPr id="66" name="Textfeld 65">
            <a:extLst>
              <a:ext uri="{FF2B5EF4-FFF2-40B4-BE49-F238E27FC236}">
                <a16:creationId xmlns:a16="http://schemas.microsoft.com/office/drawing/2014/main" id="{8423B4BA-AEA8-46B0-8BA2-3DCD86D5F955}"/>
              </a:ext>
            </a:extLst>
          </p:cNvPr>
          <p:cNvSpPr txBox="1"/>
          <p:nvPr/>
        </p:nvSpPr>
        <p:spPr bwMode="gray">
          <a:xfrm>
            <a:off x="5554261" y="1698147"/>
            <a:ext cx="107928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100"/>
              <a:t>Chemische Industrie</a:t>
            </a:r>
            <a:endParaRPr lang="de-DE" sz="1100" dirty="0"/>
          </a:p>
        </p:txBody>
      </p:sp>
      <p:sp>
        <p:nvSpPr>
          <p:cNvPr id="67" name="Textfeld 66">
            <a:extLst>
              <a:ext uri="{FF2B5EF4-FFF2-40B4-BE49-F238E27FC236}">
                <a16:creationId xmlns:a16="http://schemas.microsoft.com/office/drawing/2014/main" id="{2660DDE1-2424-4119-87C3-AB72D51D5BC7}"/>
              </a:ext>
            </a:extLst>
          </p:cNvPr>
          <p:cNvSpPr txBox="1"/>
          <p:nvPr/>
        </p:nvSpPr>
        <p:spPr bwMode="gray">
          <a:xfrm>
            <a:off x="6823367" y="1698147"/>
            <a:ext cx="107928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100"/>
              <a:t>Ernährungs-wirtschaft</a:t>
            </a:r>
            <a:endParaRPr lang="de-DE" sz="1100" dirty="0"/>
          </a:p>
        </p:txBody>
      </p:sp>
      <p:sp>
        <p:nvSpPr>
          <p:cNvPr id="68" name="Textfeld 67">
            <a:extLst>
              <a:ext uri="{FF2B5EF4-FFF2-40B4-BE49-F238E27FC236}">
                <a16:creationId xmlns:a16="http://schemas.microsoft.com/office/drawing/2014/main" id="{ADA3F9DB-A3FE-493B-AEAA-82A50CA95F3E}"/>
              </a:ext>
            </a:extLst>
          </p:cNvPr>
          <p:cNvSpPr txBox="1"/>
          <p:nvPr/>
        </p:nvSpPr>
        <p:spPr bwMode="gray">
          <a:xfrm>
            <a:off x="8092473" y="1698147"/>
            <a:ext cx="107928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100"/>
              <a:t>Energie-</a:t>
            </a:r>
            <a:br>
              <a:rPr lang="de-DE" sz="1100"/>
            </a:br>
            <a:r>
              <a:rPr lang="de-DE" sz="1100"/>
              <a:t>wirtschaft</a:t>
            </a:r>
            <a:endParaRPr lang="de-DE" sz="1100" dirty="0"/>
          </a:p>
        </p:txBody>
      </p:sp>
      <p:sp>
        <p:nvSpPr>
          <p:cNvPr id="69" name="Textfeld 68">
            <a:extLst>
              <a:ext uri="{FF2B5EF4-FFF2-40B4-BE49-F238E27FC236}">
                <a16:creationId xmlns:a16="http://schemas.microsoft.com/office/drawing/2014/main" id="{0E324DAB-9F6C-4BF7-8775-82FABF1D046A}"/>
              </a:ext>
            </a:extLst>
          </p:cNvPr>
          <p:cNvSpPr txBox="1"/>
          <p:nvPr/>
        </p:nvSpPr>
        <p:spPr bwMode="gray">
          <a:xfrm>
            <a:off x="9361579" y="1698147"/>
            <a:ext cx="107928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100"/>
              <a:t>Bauwirtschaft</a:t>
            </a:r>
            <a:endParaRPr lang="de-DE" sz="1100" dirty="0"/>
          </a:p>
        </p:txBody>
      </p:sp>
      <p:sp>
        <p:nvSpPr>
          <p:cNvPr id="70" name="Textfeld 69">
            <a:extLst>
              <a:ext uri="{FF2B5EF4-FFF2-40B4-BE49-F238E27FC236}">
                <a16:creationId xmlns:a16="http://schemas.microsoft.com/office/drawing/2014/main" id="{F227E038-C579-47E0-89C1-96946298682E}"/>
              </a:ext>
            </a:extLst>
          </p:cNvPr>
          <p:cNvSpPr txBox="1">
            <a:spLocks/>
          </p:cNvSpPr>
          <p:nvPr/>
        </p:nvSpPr>
        <p:spPr bwMode="gray">
          <a:xfrm>
            <a:off x="477837" y="1698147"/>
            <a:ext cx="107928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100"/>
              <a:t>Digital-</a:t>
            </a:r>
            <a:br>
              <a:rPr lang="de-DE" sz="1100"/>
            </a:br>
            <a:r>
              <a:rPr lang="de-DE" sz="1100"/>
              <a:t>wirtschaft</a:t>
            </a:r>
            <a:endParaRPr lang="de-DE" sz="1100" dirty="0"/>
          </a:p>
        </p:txBody>
      </p:sp>
      <p:sp>
        <p:nvSpPr>
          <p:cNvPr id="95" name="Textfeld 94">
            <a:extLst>
              <a:ext uri="{FF2B5EF4-FFF2-40B4-BE49-F238E27FC236}">
                <a16:creationId xmlns:a16="http://schemas.microsoft.com/office/drawing/2014/main" id="{BBAF8028-DA7C-4493-A6BA-00122D29F45F}"/>
              </a:ext>
            </a:extLst>
          </p:cNvPr>
          <p:cNvSpPr txBox="1">
            <a:spLocks/>
          </p:cNvSpPr>
          <p:nvPr/>
        </p:nvSpPr>
        <p:spPr bwMode="gray">
          <a:xfrm>
            <a:off x="10567423" y="1698147"/>
            <a:ext cx="122595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100"/>
              <a:t>Luft- und </a:t>
            </a:r>
            <a:br>
              <a:rPr lang="de-DE" sz="1100"/>
            </a:br>
            <a:r>
              <a:rPr lang="de-DE" sz="1100"/>
              <a:t>Raumfahrtindustri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577BFE1-B526-4EBA-B469-4D11DE8D3B9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CACBE2E7-F635-4EC6-BB66-ED01BFE8FF70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0FC368E-F001-4B3D-A033-605901A147E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5A96460D-1B55-42FA-97C1-7D7B2B7BA93C}"/>
              </a:ext>
            </a:extLst>
          </p:cNvPr>
          <p:cNvGrpSpPr/>
          <p:nvPr/>
        </p:nvGrpSpPr>
        <p:grpSpPr>
          <a:xfrm>
            <a:off x="643601" y="2500034"/>
            <a:ext cx="755851" cy="756064"/>
            <a:chOff x="643601" y="2500034"/>
            <a:chExt cx="755851" cy="756064"/>
          </a:xfrm>
        </p:grpSpPr>
        <p:grpSp>
          <p:nvGrpSpPr>
            <p:cNvPr id="72" name="Grafik 77">
              <a:extLst>
                <a:ext uri="{FF2B5EF4-FFF2-40B4-BE49-F238E27FC236}">
                  <a16:creationId xmlns:a16="http://schemas.microsoft.com/office/drawing/2014/main" id="{83C20948-EDC7-4E9D-9641-95AB13E3B90E}"/>
                </a:ext>
              </a:extLst>
            </p:cNvPr>
            <p:cNvGrpSpPr/>
            <p:nvPr/>
          </p:nvGrpSpPr>
          <p:grpSpPr>
            <a:xfrm>
              <a:off x="643601" y="2500034"/>
              <a:ext cx="755851" cy="756064"/>
              <a:chOff x="643601" y="2500034"/>
              <a:chExt cx="755851" cy="756064"/>
            </a:xfrm>
          </p:grpSpPr>
          <p:sp>
            <p:nvSpPr>
              <p:cNvPr id="77" name="Freihandform: Form 76">
                <a:extLst>
                  <a:ext uri="{FF2B5EF4-FFF2-40B4-BE49-F238E27FC236}">
                    <a16:creationId xmlns:a16="http://schemas.microsoft.com/office/drawing/2014/main" id="{A19ED0F2-FAD0-41FF-B420-06F9D519D410}"/>
                  </a:ext>
                </a:extLst>
              </p:cNvPr>
              <p:cNvSpPr/>
              <p:nvPr/>
            </p:nvSpPr>
            <p:spPr>
              <a:xfrm>
                <a:off x="643601" y="2500034"/>
                <a:ext cx="683499" cy="466270"/>
              </a:xfrm>
              <a:custGeom>
                <a:avLst/>
                <a:gdLst>
                  <a:gd name="connsiteX0" fmla="*/ 10573 w 683499"/>
                  <a:gd name="connsiteY0" fmla="*/ 466221 h 466270"/>
                  <a:gd name="connsiteX1" fmla="*/ 289109 w 683499"/>
                  <a:gd name="connsiteY1" fmla="*/ 10507 h 466270"/>
                  <a:gd name="connsiteX2" fmla="*/ 683449 w 683499"/>
                  <a:gd name="connsiteY2" fmla="*/ 155944 h 466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99" h="466270">
                    <a:moveTo>
                      <a:pt x="10573" y="466221"/>
                    </a:moveTo>
                    <a:cubicBezTo>
                      <a:pt x="-38354" y="263463"/>
                      <a:pt x="86351" y="59433"/>
                      <a:pt x="289109" y="10507"/>
                    </a:cubicBezTo>
                    <a:cubicBezTo>
                      <a:pt x="437882" y="-25393"/>
                      <a:pt x="593612" y="32042"/>
                      <a:pt x="683449" y="155944"/>
                    </a:cubicBezTo>
                  </a:path>
                </a:pathLst>
              </a:custGeom>
              <a:noFill/>
              <a:ln w="33594" cap="flat">
                <a:solidFill>
                  <a:srgbClr val="1D1D1B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8" name="Freihandform: Form 77">
                <a:extLst>
                  <a:ext uri="{FF2B5EF4-FFF2-40B4-BE49-F238E27FC236}">
                    <a16:creationId xmlns:a16="http://schemas.microsoft.com/office/drawing/2014/main" id="{70DAF42E-3E7A-4E45-90ED-C08C89B50ABA}"/>
                  </a:ext>
                </a:extLst>
              </p:cNvPr>
              <p:cNvSpPr/>
              <p:nvPr/>
            </p:nvSpPr>
            <p:spPr>
              <a:xfrm>
                <a:off x="1274992" y="2617539"/>
                <a:ext cx="89068" cy="101502"/>
              </a:xfrm>
              <a:custGeom>
                <a:avLst/>
                <a:gdLst>
                  <a:gd name="connsiteX0" fmla="*/ 0 w 89068"/>
                  <a:gd name="connsiteY0" fmla="*/ 52788 h 101502"/>
                  <a:gd name="connsiteX1" fmla="*/ 89069 w 89068"/>
                  <a:gd name="connsiteY1" fmla="*/ 101502 h 101502"/>
                  <a:gd name="connsiteX2" fmla="*/ 86735 w 89068"/>
                  <a:gd name="connsiteY2" fmla="*/ 0 h 101502"/>
                  <a:gd name="connsiteX3" fmla="*/ 0 w 89068"/>
                  <a:gd name="connsiteY3" fmla="*/ 52788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0" y="52788"/>
                    </a:moveTo>
                    <a:lnTo>
                      <a:pt x="89069" y="101502"/>
                    </a:lnTo>
                    <a:lnTo>
                      <a:pt x="86735" y="0"/>
                    </a:lnTo>
                    <a:lnTo>
                      <a:pt x="0" y="52788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9" name="Freihandform: Form 78">
                <a:extLst>
                  <a:ext uri="{FF2B5EF4-FFF2-40B4-BE49-F238E27FC236}">
                    <a16:creationId xmlns:a16="http://schemas.microsoft.com/office/drawing/2014/main" id="{FF689983-B652-4C40-A3DC-568CEB9AB738}"/>
                  </a:ext>
                </a:extLst>
              </p:cNvPr>
              <p:cNvSpPr/>
              <p:nvPr/>
            </p:nvSpPr>
            <p:spPr>
              <a:xfrm>
                <a:off x="716009" y="2790415"/>
                <a:ext cx="683443" cy="465683"/>
              </a:xfrm>
              <a:custGeom>
                <a:avLst/>
                <a:gdLst>
                  <a:gd name="connsiteX0" fmla="*/ 672909 w 683443"/>
                  <a:gd name="connsiteY0" fmla="*/ -49 h 465683"/>
                  <a:gd name="connsiteX1" fmla="*/ 393646 w 683443"/>
                  <a:gd name="connsiteY1" fmla="*/ 455220 h 465683"/>
                  <a:gd name="connsiteX2" fmla="*/ -51 w 683443"/>
                  <a:gd name="connsiteY2" fmla="*/ 309719 h 465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43" h="465683">
                    <a:moveTo>
                      <a:pt x="672909" y="-49"/>
                    </a:moveTo>
                    <a:cubicBezTo>
                      <a:pt x="721512" y="202786"/>
                      <a:pt x="596481" y="406617"/>
                      <a:pt x="393646" y="455220"/>
                    </a:cubicBezTo>
                    <a:cubicBezTo>
                      <a:pt x="245063" y="490822"/>
                      <a:pt x="89667" y="433392"/>
                      <a:pt x="-51" y="309719"/>
                    </a:cubicBezTo>
                  </a:path>
                </a:pathLst>
              </a:custGeom>
              <a:noFill/>
              <a:ln w="33594" cap="flat">
                <a:solidFill>
                  <a:srgbClr val="1D1D1B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0" name="Freihandform: Form 79">
                <a:extLst>
                  <a:ext uri="{FF2B5EF4-FFF2-40B4-BE49-F238E27FC236}">
                    <a16:creationId xmlns:a16="http://schemas.microsoft.com/office/drawing/2014/main" id="{0A9BBA50-AF5B-46DD-BA27-B5E4E0AD6BF8}"/>
                  </a:ext>
                </a:extLst>
              </p:cNvPr>
              <p:cNvSpPr/>
              <p:nvPr/>
            </p:nvSpPr>
            <p:spPr>
              <a:xfrm>
                <a:off x="679049" y="3037254"/>
                <a:ext cx="89068" cy="101502"/>
              </a:xfrm>
              <a:custGeom>
                <a:avLst/>
                <a:gdLst>
                  <a:gd name="connsiteX0" fmla="*/ 89069 w 89068"/>
                  <a:gd name="connsiteY0" fmla="*/ 48714 h 101502"/>
                  <a:gd name="connsiteX1" fmla="*/ 0 w 89068"/>
                  <a:gd name="connsiteY1" fmla="*/ 0 h 101502"/>
                  <a:gd name="connsiteX2" fmla="*/ 2334 w 89068"/>
                  <a:gd name="connsiteY2" fmla="*/ 101502 h 101502"/>
                  <a:gd name="connsiteX3" fmla="*/ 89069 w 89068"/>
                  <a:gd name="connsiteY3" fmla="*/ 48714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89069" y="48714"/>
                    </a:moveTo>
                    <a:lnTo>
                      <a:pt x="0" y="0"/>
                    </a:lnTo>
                    <a:lnTo>
                      <a:pt x="2334" y="101502"/>
                    </a:lnTo>
                    <a:lnTo>
                      <a:pt x="89069" y="48714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73" name="Grafik 77">
              <a:extLst>
                <a:ext uri="{FF2B5EF4-FFF2-40B4-BE49-F238E27FC236}">
                  <a16:creationId xmlns:a16="http://schemas.microsoft.com/office/drawing/2014/main" id="{4EE32242-7DC3-4290-BC6C-EA0750A3C711}"/>
                </a:ext>
              </a:extLst>
            </p:cNvPr>
            <p:cNvGrpSpPr/>
            <p:nvPr/>
          </p:nvGrpSpPr>
          <p:grpSpPr>
            <a:xfrm>
              <a:off x="725166" y="2579807"/>
              <a:ext cx="594423" cy="595447"/>
              <a:chOff x="725166" y="2579807"/>
              <a:chExt cx="594423" cy="595447"/>
            </a:xfrm>
            <a:solidFill>
              <a:srgbClr val="1D1D1B"/>
            </a:solidFill>
          </p:grpSpPr>
          <p:sp>
            <p:nvSpPr>
              <p:cNvPr id="75" name="Freihandform: Form 74">
                <a:extLst>
                  <a:ext uri="{FF2B5EF4-FFF2-40B4-BE49-F238E27FC236}">
                    <a16:creationId xmlns:a16="http://schemas.microsoft.com/office/drawing/2014/main" id="{3805E790-EEB5-45C8-8CCC-8DDD6438ABF1}"/>
                  </a:ext>
                </a:extLst>
              </p:cNvPr>
              <p:cNvSpPr/>
              <p:nvPr/>
            </p:nvSpPr>
            <p:spPr>
              <a:xfrm>
                <a:off x="982367" y="2843331"/>
                <a:ext cx="68530" cy="68530"/>
              </a:xfrm>
              <a:custGeom>
                <a:avLst/>
                <a:gdLst>
                  <a:gd name="connsiteX0" fmla="*/ 0 w 68530"/>
                  <a:gd name="connsiteY0" fmla="*/ 0 h 68530"/>
                  <a:gd name="connsiteX1" fmla="*/ 68531 w 68530"/>
                  <a:gd name="connsiteY1" fmla="*/ 0 h 68530"/>
                  <a:gd name="connsiteX2" fmla="*/ 68531 w 68530"/>
                  <a:gd name="connsiteY2" fmla="*/ 68531 h 68530"/>
                  <a:gd name="connsiteX3" fmla="*/ 0 w 68530"/>
                  <a:gd name="connsiteY3" fmla="*/ 68531 h 68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530" h="68530">
                    <a:moveTo>
                      <a:pt x="0" y="0"/>
                    </a:moveTo>
                    <a:lnTo>
                      <a:pt x="68531" y="0"/>
                    </a:lnTo>
                    <a:lnTo>
                      <a:pt x="68531" y="68531"/>
                    </a:lnTo>
                    <a:lnTo>
                      <a:pt x="0" y="68531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6" name="Freihandform: Form 75">
                <a:extLst>
                  <a:ext uri="{FF2B5EF4-FFF2-40B4-BE49-F238E27FC236}">
                    <a16:creationId xmlns:a16="http://schemas.microsoft.com/office/drawing/2014/main" id="{543EE52C-BB4D-45F2-9672-94195B57CEAF}"/>
                  </a:ext>
                </a:extLst>
              </p:cNvPr>
              <p:cNvSpPr/>
              <p:nvPr/>
            </p:nvSpPr>
            <p:spPr>
              <a:xfrm>
                <a:off x="725166" y="2579807"/>
                <a:ext cx="594423" cy="595447"/>
              </a:xfrm>
              <a:custGeom>
                <a:avLst/>
                <a:gdLst>
                  <a:gd name="connsiteX0" fmla="*/ 594373 w 594423"/>
                  <a:gd name="connsiteY0" fmla="*/ 301241 h 595447"/>
                  <a:gd name="connsiteX1" fmla="*/ 559639 w 594423"/>
                  <a:gd name="connsiteY1" fmla="*/ 267321 h 595447"/>
                  <a:gd name="connsiteX2" fmla="*/ 528473 w 594423"/>
                  <a:gd name="connsiteY2" fmla="*/ 288171 h 595447"/>
                  <a:gd name="connsiteX3" fmla="*/ 528261 w 594423"/>
                  <a:gd name="connsiteY3" fmla="*/ 288723 h 595447"/>
                  <a:gd name="connsiteX4" fmla="*/ 381227 w 594423"/>
                  <a:gd name="connsiteY4" fmla="*/ 288723 h 595447"/>
                  <a:gd name="connsiteX5" fmla="*/ 381227 w 594423"/>
                  <a:gd name="connsiteY5" fmla="*/ 267888 h 595447"/>
                  <a:gd name="connsiteX6" fmla="*/ 441483 w 594423"/>
                  <a:gd name="connsiteY6" fmla="*/ 267888 h 595447"/>
                  <a:gd name="connsiteX7" fmla="*/ 450352 w 594423"/>
                  <a:gd name="connsiteY7" fmla="*/ 264238 h 595447"/>
                  <a:gd name="connsiteX8" fmla="*/ 467877 w 594423"/>
                  <a:gd name="connsiteY8" fmla="*/ 246713 h 595447"/>
                  <a:gd name="connsiteX9" fmla="*/ 468429 w 594423"/>
                  <a:gd name="connsiteY9" fmla="*/ 246968 h 595447"/>
                  <a:gd name="connsiteX10" fmla="*/ 483196 w 594423"/>
                  <a:gd name="connsiteY10" fmla="*/ 250363 h 595447"/>
                  <a:gd name="connsiteX11" fmla="*/ 517738 w 594423"/>
                  <a:gd name="connsiteY11" fmla="*/ 216077 h 595447"/>
                  <a:gd name="connsiteX12" fmla="*/ 483453 w 594423"/>
                  <a:gd name="connsiteY12" fmla="*/ 181535 h 595447"/>
                  <a:gd name="connsiteX13" fmla="*/ 448910 w 594423"/>
                  <a:gd name="connsiteY13" fmla="*/ 215820 h 595447"/>
                  <a:gd name="connsiteX14" fmla="*/ 450903 w 594423"/>
                  <a:gd name="connsiteY14" fmla="*/ 227491 h 595447"/>
                  <a:gd name="connsiteX15" fmla="*/ 450903 w 594423"/>
                  <a:gd name="connsiteY15" fmla="*/ 228000 h 595447"/>
                  <a:gd name="connsiteX16" fmla="*/ 436136 w 594423"/>
                  <a:gd name="connsiteY16" fmla="*/ 242809 h 595447"/>
                  <a:gd name="connsiteX17" fmla="*/ 380972 w 594423"/>
                  <a:gd name="connsiteY17" fmla="*/ 242809 h 595447"/>
                  <a:gd name="connsiteX18" fmla="*/ 380972 w 594423"/>
                  <a:gd name="connsiteY18" fmla="*/ 208098 h 595447"/>
                  <a:gd name="connsiteX19" fmla="*/ 350250 w 594423"/>
                  <a:gd name="connsiteY19" fmla="*/ 208098 h 595447"/>
                  <a:gd name="connsiteX20" fmla="*/ 350250 w 594423"/>
                  <a:gd name="connsiteY20" fmla="*/ 200418 h 595447"/>
                  <a:gd name="connsiteX21" fmla="*/ 365781 w 594423"/>
                  <a:gd name="connsiteY21" fmla="*/ 184887 h 595447"/>
                  <a:gd name="connsiteX22" fmla="*/ 366290 w 594423"/>
                  <a:gd name="connsiteY22" fmla="*/ 184887 h 595447"/>
                  <a:gd name="connsiteX23" fmla="*/ 379529 w 594423"/>
                  <a:gd name="connsiteY23" fmla="*/ 187560 h 595447"/>
                  <a:gd name="connsiteX24" fmla="*/ 413816 w 594423"/>
                  <a:gd name="connsiteY24" fmla="*/ 153274 h 595447"/>
                  <a:gd name="connsiteX25" fmla="*/ 379529 w 594423"/>
                  <a:gd name="connsiteY25" fmla="*/ 118987 h 595447"/>
                  <a:gd name="connsiteX26" fmla="*/ 345243 w 594423"/>
                  <a:gd name="connsiteY26" fmla="*/ 153274 h 595447"/>
                  <a:gd name="connsiteX27" fmla="*/ 347831 w 594423"/>
                  <a:gd name="connsiteY27" fmla="*/ 166386 h 595447"/>
                  <a:gd name="connsiteX28" fmla="*/ 348086 w 594423"/>
                  <a:gd name="connsiteY28" fmla="*/ 166895 h 595447"/>
                  <a:gd name="connsiteX29" fmla="*/ 328863 w 594423"/>
                  <a:gd name="connsiteY29" fmla="*/ 186117 h 595447"/>
                  <a:gd name="connsiteX30" fmla="*/ 325172 w 594423"/>
                  <a:gd name="connsiteY30" fmla="*/ 194986 h 595447"/>
                  <a:gd name="connsiteX31" fmla="*/ 325171 w 594423"/>
                  <a:gd name="connsiteY31" fmla="*/ 207716 h 595447"/>
                  <a:gd name="connsiteX32" fmla="*/ 304167 w 594423"/>
                  <a:gd name="connsiteY32" fmla="*/ 207716 h 595447"/>
                  <a:gd name="connsiteX33" fmla="*/ 304167 w 594423"/>
                  <a:gd name="connsiteY33" fmla="*/ 65944 h 595447"/>
                  <a:gd name="connsiteX34" fmla="*/ 304718 w 594423"/>
                  <a:gd name="connsiteY34" fmla="*/ 65944 h 595447"/>
                  <a:gd name="connsiteX35" fmla="*/ 323347 w 594423"/>
                  <a:gd name="connsiteY35" fmla="*/ 21177 h 595447"/>
                  <a:gd name="connsiteX36" fmla="*/ 278579 w 594423"/>
                  <a:gd name="connsiteY36" fmla="*/ 2549 h 595447"/>
                  <a:gd name="connsiteX37" fmla="*/ 259951 w 594423"/>
                  <a:gd name="connsiteY37" fmla="*/ 47316 h 595447"/>
                  <a:gd name="connsiteX38" fmla="*/ 278579 w 594423"/>
                  <a:gd name="connsiteY38" fmla="*/ 65944 h 595447"/>
                  <a:gd name="connsiteX39" fmla="*/ 279088 w 594423"/>
                  <a:gd name="connsiteY39" fmla="*/ 65944 h 595447"/>
                  <a:gd name="connsiteX40" fmla="*/ 279088 w 594423"/>
                  <a:gd name="connsiteY40" fmla="*/ 207929 h 595447"/>
                  <a:gd name="connsiteX41" fmla="*/ 258126 w 594423"/>
                  <a:gd name="connsiteY41" fmla="*/ 207929 h 595447"/>
                  <a:gd name="connsiteX42" fmla="*/ 258126 w 594423"/>
                  <a:gd name="connsiteY42" fmla="*/ 153740 h 595447"/>
                  <a:gd name="connsiteX43" fmla="*/ 254434 w 594423"/>
                  <a:gd name="connsiteY43" fmla="*/ 144872 h 595447"/>
                  <a:gd name="connsiteX44" fmla="*/ 236909 w 594423"/>
                  <a:gd name="connsiteY44" fmla="*/ 127346 h 595447"/>
                  <a:gd name="connsiteX45" fmla="*/ 237206 w 594423"/>
                  <a:gd name="connsiteY45" fmla="*/ 126795 h 595447"/>
                  <a:gd name="connsiteX46" fmla="*/ 240601 w 594423"/>
                  <a:gd name="connsiteY46" fmla="*/ 112028 h 595447"/>
                  <a:gd name="connsiteX47" fmla="*/ 206315 w 594423"/>
                  <a:gd name="connsiteY47" fmla="*/ 77485 h 595447"/>
                  <a:gd name="connsiteX48" fmla="*/ 171773 w 594423"/>
                  <a:gd name="connsiteY48" fmla="*/ 111771 h 595447"/>
                  <a:gd name="connsiteX49" fmla="*/ 206058 w 594423"/>
                  <a:gd name="connsiteY49" fmla="*/ 146313 h 595447"/>
                  <a:gd name="connsiteX50" fmla="*/ 217729 w 594423"/>
                  <a:gd name="connsiteY50" fmla="*/ 144320 h 595447"/>
                  <a:gd name="connsiteX51" fmla="*/ 218238 w 594423"/>
                  <a:gd name="connsiteY51" fmla="*/ 144320 h 595447"/>
                  <a:gd name="connsiteX52" fmla="*/ 233047 w 594423"/>
                  <a:gd name="connsiteY52" fmla="*/ 159087 h 595447"/>
                  <a:gd name="connsiteX53" fmla="*/ 233047 w 594423"/>
                  <a:gd name="connsiteY53" fmla="*/ 208098 h 595447"/>
                  <a:gd name="connsiteX54" fmla="*/ 201731 w 594423"/>
                  <a:gd name="connsiteY54" fmla="*/ 208098 h 595447"/>
                  <a:gd name="connsiteX55" fmla="*/ 201731 w 594423"/>
                  <a:gd name="connsiteY55" fmla="*/ 242809 h 595447"/>
                  <a:gd name="connsiteX56" fmla="*/ 149113 w 594423"/>
                  <a:gd name="connsiteY56" fmla="*/ 242809 h 595447"/>
                  <a:gd name="connsiteX57" fmla="*/ 134303 w 594423"/>
                  <a:gd name="connsiteY57" fmla="*/ 228000 h 595447"/>
                  <a:gd name="connsiteX58" fmla="*/ 134303 w 594423"/>
                  <a:gd name="connsiteY58" fmla="*/ 227491 h 595447"/>
                  <a:gd name="connsiteX59" fmla="*/ 136298 w 594423"/>
                  <a:gd name="connsiteY59" fmla="*/ 216076 h 595447"/>
                  <a:gd name="connsiteX60" fmla="*/ 102291 w 594423"/>
                  <a:gd name="connsiteY60" fmla="*/ 181344 h 595447"/>
                  <a:gd name="connsiteX61" fmla="*/ 67559 w 594423"/>
                  <a:gd name="connsiteY61" fmla="*/ 215351 h 595447"/>
                  <a:gd name="connsiteX62" fmla="*/ 101566 w 594423"/>
                  <a:gd name="connsiteY62" fmla="*/ 250083 h 595447"/>
                  <a:gd name="connsiteX63" fmla="*/ 116863 w 594423"/>
                  <a:gd name="connsiteY63" fmla="*/ 246671 h 595447"/>
                  <a:gd name="connsiteX64" fmla="*/ 117415 w 594423"/>
                  <a:gd name="connsiteY64" fmla="*/ 246416 h 595447"/>
                  <a:gd name="connsiteX65" fmla="*/ 134898 w 594423"/>
                  <a:gd name="connsiteY65" fmla="*/ 263941 h 595447"/>
                  <a:gd name="connsiteX66" fmla="*/ 143766 w 594423"/>
                  <a:gd name="connsiteY66" fmla="*/ 267591 h 595447"/>
                  <a:gd name="connsiteX67" fmla="*/ 201731 w 594423"/>
                  <a:gd name="connsiteY67" fmla="*/ 267591 h 595447"/>
                  <a:gd name="connsiteX68" fmla="*/ 201731 w 594423"/>
                  <a:gd name="connsiteY68" fmla="*/ 288596 h 595447"/>
                  <a:gd name="connsiteX69" fmla="*/ 65942 w 594423"/>
                  <a:gd name="connsiteY69" fmla="*/ 288596 h 595447"/>
                  <a:gd name="connsiteX70" fmla="*/ 65942 w 594423"/>
                  <a:gd name="connsiteY70" fmla="*/ 288044 h 595447"/>
                  <a:gd name="connsiteX71" fmla="*/ 21175 w 594423"/>
                  <a:gd name="connsiteY71" fmla="*/ 269416 h 595447"/>
                  <a:gd name="connsiteX72" fmla="*/ 2546 w 594423"/>
                  <a:gd name="connsiteY72" fmla="*/ 314183 h 595447"/>
                  <a:gd name="connsiteX73" fmla="*/ 47314 w 594423"/>
                  <a:gd name="connsiteY73" fmla="*/ 332811 h 595447"/>
                  <a:gd name="connsiteX74" fmla="*/ 65942 w 594423"/>
                  <a:gd name="connsiteY74" fmla="*/ 314183 h 595447"/>
                  <a:gd name="connsiteX75" fmla="*/ 65942 w 594423"/>
                  <a:gd name="connsiteY75" fmla="*/ 313674 h 595447"/>
                  <a:gd name="connsiteX76" fmla="*/ 201731 w 594423"/>
                  <a:gd name="connsiteY76" fmla="*/ 313674 h 595447"/>
                  <a:gd name="connsiteX77" fmla="*/ 201731 w 594423"/>
                  <a:gd name="connsiteY77" fmla="*/ 334636 h 595447"/>
                  <a:gd name="connsiteX78" fmla="*/ 173555 w 594423"/>
                  <a:gd name="connsiteY78" fmla="*/ 334636 h 595447"/>
                  <a:gd name="connsiteX79" fmla="*/ 164686 w 594423"/>
                  <a:gd name="connsiteY79" fmla="*/ 338328 h 595447"/>
                  <a:gd name="connsiteX80" fmla="*/ 145633 w 594423"/>
                  <a:gd name="connsiteY80" fmla="*/ 357381 h 595447"/>
                  <a:gd name="connsiteX81" fmla="*/ 145124 w 594423"/>
                  <a:gd name="connsiteY81" fmla="*/ 357169 h 595447"/>
                  <a:gd name="connsiteX82" fmla="*/ 100608 w 594423"/>
                  <a:gd name="connsiteY82" fmla="*/ 376390 h 595447"/>
                  <a:gd name="connsiteX83" fmla="*/ 119828 w 594423"/>
                  <a:gd name="connsiteY83" fmla="*/ 420906 h 595447"/>
                  <a:gd name="connsiteX84" fmla="*/ 164345 w 594423"/>
                  <a:gd name="connsiteY84" fmla="*/ 401685 h 595447"/>
                  <a:gd name="connsiteX85" fmla="*/ 163922 w 594423"/>
                  <a:gd name="connsiteY85" fmla="*/ 375373 h 595447"/>
                  <a:gd name="connsiteX86" fmla="*/ 163668 w 594423"/>
                  <a:gd name="connsiteY86" fmla="*/ 374821 h 595447"/>
                  <a:gd name="connsiteX87" fmla="*/ 178774 w 594423"/>
                  <a:gd name="connsiteY87" fmla="*/ 359757 h 595447"/>
                  <a:gd name="connsiteX88" fmla="*/ 201731 w 594423"/>
                  <a:gd name="connsiteY88" fmla="*/ 359757 h 595447"/>
                  <a:gd name="connsiteX89" fmla="*/ 201731 w 594423"/>
                  <a:gd name="connsiteY89" fmla="*/ 387382 h 595447"/>
                  <a:gd name="connsiteX90" fmla="*/ 232496 w 594423"/>
                  <a:gd name="connsiteY90" fmla="*/ 387382 h 595447"/>
                  <a:gd name="connsiteX91" fmla="*/ 232496 w 594423"/>
                  <a:gd name="connsiteY91" fmla="*/ 446110 h 595447"/>
                  <a:gd name="connsiteX92" fmla="*/ 217686 w 594423"/>
                  <a:gd name="connsiteY92" fmla="*/ 460920 h 595447"/>
                  <a:gd name="connsiteX93" fmla="*/ 217177 w 594423"/>
                  <a:gd name="connsiteY93" fmla="*/ 460920 h 595447"/>
                  <a:gd name="connsiteX94" fmla="*/ 205720 w 594423"/>
                  <a:gd name="connsiteY94" fmla="*/ 458883 h 595447"/>
                  <a:gd name="connsiteX95" fmla="*/ 171355 w 594423"/>
                  <a:gd name="connsiteY95" fmla="*/ 493176 h 595447"/>
                  <a:gd name="connsiteX96" fmla="*/ 205648 w 594423"/>
                  <a:gd name="connsiteY96" fmla="*/ 527541 h 595447"/>
                  <a:gd name="connsiteX97" fmla="*/ 240013 w 594423"/>
                  <a:gd name="connsiteY97" fmla="*/ 493248 h 595447"/>
                  <a:gd name="connsiteX98" fmla="*/ 236654 w 594423"/>
                  <a:gd name="connsiteY98" fmla="*/ 478403 h 595447"/>
                  <a:gd name="connsiteX99" fmla="*/ 236357 w 594423"/>
                  <a:gd name="connsiteY99" fmla="*/ 477851 h 595447"/>
                  <a:gd name="connsiteX100" fmla="*/ 253882 w 594423"/>
                  <a:gd name="connsiteY100" fmla="*/ 460368 h 595447"/>
                  <a:gd name="connsiteX101" fmla="*/ 257574 w 594423"/>
                  <a:gd name="connsiteY101" fmla="*/ 451500 h 595447"/>
                  <a:gd name="connsiteX102" fmla="*/ 257574 w 594423"/>
                  <a:gd name="connsiteY102" fmla="*/ 387849 h 595447"/>
                  <a:gd name="connsiteX103" fmla="*/ 279215 w 594423"/>
                  <a:gd name="connsiteY103" fmla="*/ 387849 h 595447"/>
                  <a:gd name="connsiteX104" fmla="*/ 279215 w 594423"/>
                  <a:gd name="connsiteY104" fmla="*/ 529239 h 595447"/>
                  <a:gd name="connsiteX105" fmla="*/ 278664 w 594423"/>
                  <a:gd name="connsiteY105" fmla="*/ 529493 h 595447"/>
                  <a:gd name="connsiteX106" fmla="*/ 260082 w 594423"/>
                  <a:gd name="connsiteY106" fmla="*/ 574215 h 595447"/>
                  <a:gd name="connsiteX107" fmla="*/ 304803 w 594423"/>
                  <a:gd name="connsiteY107" fmla="*/ 592797 h 595447"/>
                  <a:gd name="connsiteX108" fmla="*/ 323386 w 594423"/>
                  <a:gd name="connsiteY108" fmla="*/ 548076 h 595447"/>
                  <a:gd name="connsiteX109" fmla="*/ 304803 w 594423"/>
                  <a:gd name="connsiteY109" fmla="*/ 529493 h 595447"/>
                  <a:gd name="connsiteX110" fmla="*/ 304294 w 594423"/>
                  <a:gd name="connsiteY110" fmla="*/ 529493 h 595447"/>
                  <a:gd name="connsiteX111" fmla="*/ 304294 w 594423"/>
                  <a:gd name="connsiteY111" fmla="*/ 387509 h 595447"/>
                  <a:gd name="connsiteX112" fmla="*/ 324535 w 594423"/>
                  <a:gd name="connsiteY112" fmla="*/ 387509 h 595447"/>
                  <a:gd name="connsiteX113" fmla="*/ 324535 w 594423"/>
                  <a:gd name="connsiteY113" fmla="*/ 416152 h 595447"/>
                  <a:gd name="connsiteX114" fmla="*/ 328227 w 594423"/>
                  <a:gd name="connsiteY114" fmla="*/ 425021 h 595447"/>
                  <a:gd name="connsiteX115" fmla="*/ 345752 w 594423"/>
                  <a:gd name="connsiteY115" fmla="*/ 442546 h 595447"/>
                  <a:gd name="connsiteX116" fmla="*/ 345455 w 594423"/>
                  <a:gd name="connsiteY116" fmla="*/ 443098 h 595447"/>
                  <a:gd name="connsiteX117" fmla="*/ 342060 w 594423"/>
                  <a:gd name="connsiteY117" fmla="*/ 457865 h 595447"/>
                  <a:gd name="connsiteX118" fmla="*/ 376347 w 594423"/>
                  <a:gd name="connsiteY118" fmla="*/ 492236 h 595447"/>
                  <a:gd name="connsiteX119" fmla="*/ 410718 w 594423"/>
                  <a:gd name="connsiteY119" fmla="*/ 457950 h 595447"/>
                  <a:gd name="connsiteX120" fmla="*/ 376432 w 594423"/>
                  <a:gd name="connsiteY120" fmla="*/ 423578 h 595447"/>
                  <a:gd name="connsiteX121" fmla="*/ 376389 w 594423"/>
                  <a:gd name="connsiteY121" fmla="*/ 423578 h 595447"/>
                  <a:gd name="connsiteX122" fmla="*/ 364932 w 594423"/>
                  <a:gd name="connsiteY122" fmla="*/ 425615 h 595447"/>
                  <a:gd name="connsiteX123" fmla="*/ 364423 w 594423"/>
                  <a:gd name="connsiteY123" fmla="*/ 425615 h 595447"/>
                  <a:gd name="connsiteX124" fmla="*/ 364041 w 594423"/>
                  <a:gd name="connsiteY124" fmla="*/ 425233 h 595447"/>
                  <a:gd name="connsiteX125" fmla="*/ 349614 w 594423"/>
                  <a:gd name="connsiteY125" fmla="*/ 410805 h 595447"/>
                  <a:gd name="connsiteX126" fmla="*/ 349614 w 594423"/>
                  <a:gd name="connsiteY126" fmla="*/ 387339 h 595447"/>
                  <a:gd name="connsiteX127" fmla="*/ 381312 w 594423"/>
                  <a:gd name="connsiteY127" fmla="*/ 387339 h 595447"/>
                  <a:gd name="connsiteX128" fmla="*/ 381312 w 594423"/>
                  <a:gd name="connsiteY128" fmla="*/ 359715 h 595447"/>
                  <a:gd name="connsiteX129" fmla="*/ 415259 w 594423"/>
                  <a:gd name="connsiteY129" fmla="*/ 359715 h 595447"/>
                  <a:gd name="connsiteX130" fmla="*/ 430365 w 594423"/>
                  <a:gd name="connsiteY130" fmla="*/ 374779 h 595447"/>
                  <a:gd name="connsiteX131" fmla="*/ 430111 w 594423"/>
                  <a:gd name="connsiteY131" fmla="*/ 375331 h 595447"/>
                  <a:gd name="connsiteX132" fmla="*/ 447892 w 594423"/>
                  <a:gd name="connsiteY132" fmla="*/ 420441 h 595447"/>
                  <a:gd name="connsiteX133" fmla="*/ 493003 w 594423"/>
                  <a:gd name="connsiteY133" fmla="*/ 402659 h 595447"/>
                  <a:gd name="connsiteX134" fmla="*/ 475221 w 594423"/>
                  <a:gd name="connsiteY134" fmla="*/ 357549 h 595447"/>
                  <a:gd name="connsiteX135" fmla="*/ 448909 w 594423"/>
                  <a:gd name="connsiteY135" fmla="*/ 357126 h 595447"/>
                  <a:gd name="connsiteX136" fmla="*/ 448400 w 594423"/>
                  <a:gd name="connsiteY136" fmla="*/ 357339 h 595447"/>
                  <a:gd name="connsiteX137" fmla="*/ 429347 w 594423"/>
                  <a:gd name="connsiteY137" fmla="*/ 338286 h 595447"/>
                  <a:gd name="connsiteX138" fmla="*/ 420478 w 594423"/>
                  <a:gd name="connsiteY138" fmla="*/ 334594 h 595447"/>
                  <a:gd name="connsiteX139" fmla="*/ 381227 w 594423"/>
                  <a:gd name="connsiteY139" fmla="*/ 334594 h 595447"/>
                  <a:gd name="connsiteX140" fmla="*/ 381227 w 594423"/>
                  <a:gd name="connsiteY140" fmla="*/ 313632 h 595447"/>
                  <a:gd name="connsiteX141" fmla="*/ 528133 w 594423"/>
                  <a:gd name="connsiteY141" fmla="*/ 313632 h 595447"/>
                  <a:gd name="connsiteX142" fmla="*/ 528345 w 594423"/>
                  <a:gd name="connsiteY142" fmla="*/ 314141 h 595447"/>
                  <a:gd name="connsiteX143" fmla="*/ 573223 w 594423"/>
                  <a:gd name="connsiteY143" fmla="*/ 332660 h 595447"/>
                  <a:gd name="connsiteX144" fmla="*/ 594373 w 594423"/>
                  <a:gd name="connsiteY144" fmla="*/ 301071 h 595447"/>
                  <a:gd name="connsiteX145" fmla="*/ 483196 w 594423"/>
                  <a:gd name="connsiteY145" fmla="*/ 201351 h 595447"/>
                  <a:gd name="connsiteX146" fmla="*/ 497793 w 594423"/>
                  <a:gd name="connsiteY146" fmla="*/ 215864 h 595447"/>
                  <a:gd name="connsiteX147" fmla="*/ 483281 w 594423"/>
                  <a:gd name="connsiteY147" fmla="*/ 230461 h 595447"/>
                  <a:gd name="connsiteX148" fmla="*/ 468683 w 594423"/>
                  <a:gd name="connsiteY148" fmla="*/ 215948 h 595447"/>
                  <a:gd name="connsiteX149" fmla="*/ 468683 w 594423"/>
                  <a:gd name="connsiteY149" fmla="*/ 215906 h 595447"/>
                  <a:gd name="connsiteX150" fmla="*/ 483196 w 594423"/>
                  <a:gd name="connsiteY150" fmla="*/ 201351 h 595447"/>
                  <a:gd name="connsiteX151" fmla="*/ 379317 w 594423"/>
                  <a:gd name="connsiteY151" fmla="*/ 139567 h 595447"/>
                  <a:gd name="connsiteX152" fmla="*/ 393872 w 594423"/>
                  <a:gd name="connsiteY152" fmla="*/ 154122 h 595447"/>
                  <a:gd name="connsiteX153" fmla="*/ 379317 w 594423"/>
                  <a:gd name="connsiteY153" fmla="*/ 168677 h 595447"/>
                  <a:gd name="connsiteX154" fmla="*/ 364762 w 594423"/>
                  <a:gd name="connsiteY154" fmla="*/ 154122 h 595447"/>
                  <a:gd name="connsiteX155" fmla="*/ 379317 w 594423"/>
                  <a:gd name="connsiteY155" fmla="*/ 139567 h 595447"/>
                  <a:gd name="connsiteX156" fmla="*/ 205974 w 594423"/>
                  <a:gd name="connsiteY156" fmla="*/ 126540 h 595447"/>
                  <a:gd name="connsiteX157" fmla="*/ 191420 w 594423"/>
                  <a:gd name="connsiteY157" fmla="*/ 111985 h 595447"/>
                  <a:gd name="connsiteX158" fmla="*/ 205975 w 594423"/>
                  <a:gd name="connsiteY158" fmla="*/ 97430 h 595447"/>
                  <a:gd name="connsiteX159" fmla="*/ 220529 w 594423"/>
                  <a:gd name="connsiteY159" fmla="*/ 111985 h 595447"/>
                  <a:gd name="connsiteX160" fmla="*/ 220529 w 594423"/>
                  <a:gd name="connsiteY160" fmla="*/ 112028 h 595447"/>
                  <a:gd name="connsiteX161" fmla="*/ 206017 w 594423"/>
                  <a:gd name="connsiteY161" fmla="*/ 126540 h 595447"/>
                  <a:gd name="connsiteX162" fmla="*/ 205974 w 594423"/>
                  <a:gd name="connsiteY162" fmla="*/ 126540 h 595447"/>
                  <a:gd name="connsiteX163" fmla="*/ 102181 w 594423"/>
                  <a:gd name="connsiteY163" fmla="*/ 230419 h 595447"/>
                  <a:gd name="connsiteX164" fmla="*/ 87626 w 594423"/>
                  <a:gd name="connsiteY164" fmla="*/ 215864 h 595447"/>
                  <a:gd name="connsiteX165" fmla="*/ 102181 w 594423"/>
                  <a:gd name="connsiteY165" fmla="*/ 201309 h 595447"/>
                  <a:gd name="connsiteX166" fmla="*/ 116736 w 594423"/>
                  <a:gd name="connsiteY166" fmla="*/ 215864 h 595447"/>
                  <a:gd name="connsiteX167" fmla="*/ 116736 w 594423"/>
                  <a:gd name="connsiteY167" fmla="*/ 215906 h 595447"/>
                  <a:gd name="connsiteX168" fmla="*/ 102223 w 594423"/>
                  <a:gd name="connsiteY168" fmla="*/ 230419 h 595447"/>
                  <a:gd name="connsiteX169" fmla="*/ 102181 w 594423"/>
                  <a:gd name="connsiteY169" fmla="*/ 230419 h 595447"/>
                  <a:gd name="connsiteX170" fmla="*/ 33905 w 594423"/>
                  <a:gd name="connsiteY170" fmla="*/ 315796 h 595447"/>
                  <a:gd name="connsiteX171" fmla="*/ 19350 w 594423"/>
                  <a:gd name="connsiteY171" fmla="*/ 301241 h 595447"/>
                  <a:gd name="connsiteX172" fmla="*/ 33905 w 594423"/>
                  <a:gd name="connsiteY172" fmla="*/ 286686 h 595447"/>
                  <a:gd name="connsiteX173" fmla="*/ 48460 w 594423"/>
                  <a:gd name="connsiteY173" fmla="*/ 301241 h 595447"/>
                  <a:gd name="connsiteX174" fmla="*/ 33905 w 594423"/>
                  <a:gd name="connsiteY174" fmla="*/ 315796 h 595447"/>
                  <a:gd name="connsiteX175" fmla="*/ 132394 w 594423"/>
                  <a:gd name="connsiteY175" fmla="*/ 403676 h 595447"/>
                  <a:gd name="connsiteX176" fmla="*/ 117797 w 594423"/>
                  <a:gd name="connsiteY176" fmla="*/ 389164 h 595447"/>
                  <a:gd name="connsiteX177" fmla="*/ 132309 w 594423"/>
                  <a:gd name="connsiteY177" fmla="*/ 374567 h 595447"/>
                  <a:gd name="connsiteX178" fmla="*/ 146906 w 594423"/>
                  <a:gd name="connsiteY178" fmla="*/ 389079 h 595447"/>
                  <a:gd name="connsiteX179" fmla="*/ 146906 w 594423"/>
                  <a:gd name="connsiteY179" fmla="*/ 389164 h 595447"/>
                  <a:gd name="connsiteX180" fmla="*/ 132394 w 594423"/>
                  <a:gd name="connsiteY180" fmla="*/ 403676 h 595447"/>
                  <a:gd name="connsiteX181" fmla="*/ 205635 w 594423"/>
                  <a:gd name="connsiteY181" fmla="*/ 507555 h 595447"/>
                  <a:gd name="connsiteX182" fmla="*/ 191080 w 594423"/>
                  <a:gd name="connsiteY182" fmla="*/ 493000 h 595447"/>
                  <a:gd name="connsiteX183" fmla="*/ 205635 w 594423"/>
                  <a:gd name="connsiteY183" fmla="*/ 478445 h 595447"/>
                  <a:gd name="connsiteX184" fmla="*/ 220190 w 594423"/>
                  <a:gd name="connsiteY184" fmla="*/ 493000 h 595447"/>
                  <a:gd name="connsiteX185" fmla="*/ 220190 w 594423"/>
                  <a:gd name="connsiteY185" fmla="*/ 493042 h 595447"/>
                  <a:gd name="connsiteX186" fmla="*/ 205635 w 594423"/>
                  <a:gd name="connsiteY186" fmla="*/ 507555 h 595447"/>
                  <a:gd name="connsiteX187" fmla="*/ 376304 w 594423"/>
                  <a:gd name="connsiteY187" fmla="*/ 443352 h 595447"/>
                  <a:gd name="connsiteX188" fmla="*/ 390859 w 594423"/>
                  <a:gd name="connsiteY188" fmla="*/ 457907 h 595447"/>
                  <a:gd name="connsiteX189" fmla="*/ 376304 w 594423"/>
                  <a:gd name="connsiteY189" fmla="*/ 472462 h 595447"/>
                  <a:gd name="connsiteX190" fmla="*/ 361750 w 594423"/>
                  <a:gd name="connsiteY190" fmla="*/ 457907 h 595447"/>
                  <a:gd name="connsiteX191" fmla="*/ 361750 w 594423"/>
                  <a:gd name="connsiteY191" fmla="*/ 457865 h 595447"/>
                  <a:gd name="connsiteX192" fmla="*/ 376304 w 594423"/>
                  <a:gd name="connsiteY192" fmla="*/ 443352 h 595447"/>
                  <a:gd name="connsiteX193" fmla="*/ 276882 w 594423"/>
                  <a:gd name="connsiteY193" fmla="*/ 34034 h 595447"/>
                  <a:gd name="connsiteX194" fmla="*/ 291394 w 594423"/>
                  <a:gd name="connsiteY194" fmla="*/ 19437 h 595447"/>
                  <a:gd name="connsiteX195" fmla="*/ 305991 w 594423"/>
                  <a:gd name="connsiteY195" fmla="*/ 33949 h 595447"/>
                  <a:gd name="connsiteX196" fmla="*/ 291479 w 594423"/>
                  <a:gd name="connsiteY196" fmla="*/ 48546 h 595447"/>
                  <a:gd name="connsiteX197" fmla="*/ 291437 w 594423"/>
                  <a:gd name="connsiteY197" fmla="*/ 48546 h 595447"/>
                  <a:gd name="connsiteX198" fmla="*/ 276882 w 594423"/>
                  <a:gd name="connsiteY198" fmla="*/ 34034 h 595447"/>
                  <a:gd name="connsiteX199" fmla="*/ 305949 w 594423"/>
                  <a:gd name="connsiteY199" fmla="*/ 560894 h 595447"/>
                  <a:gd name="connsiteX200" fmla="*/ 291436 w 594423"/>
                  <a:gd name="connsiteY200" fmla="*/ 575492 h 595447"/>
                  <a:gd name="connsiteX201" fmla="*/ 276839 w 594423"/>
                  <a:gd name="connsiteY201" fmla="*/ 560979 h 595447"/>
                  <a:gd name="connsiteX202" fmla="*/ 291352 w 594423"/>
                  <a:gd name="connsiteY202" fmla="*/ 546382 h 595447"/>
                  <a:gd name="connsiteX203" fmla="*/ 291436 w 594423"/>
                  <a:gd name="connsiteY203" fmla="*/ 546382 h 595447"/>
                  <a:gd name="connsiteX204" fmla="*/ 305949 w 594423"/>
                  <a:gd name="connsiteY204" fmla="*/ 560894 h 595447"/>
                  <a:gd name="connsiteX205" fmla="*/ 355979 w 594423"/>
                  <a:gd name="connsiteY205" fmla="*/ 362261 h 595447"/>
                  <a:gd name="connsiteX206" fmla="*/ 226894 w 594423"/>
                  <a:gd name="connsiteY206" fmla="*/ 362261 h 595447"/>
                  <a:gd name="connsiteX207" fmla="*/ 226894 w 594423"/>
                  <a:gd name="connsiteY207" fmla="*/ 233177 h 595447"/>
                  <a:gd name="connsiteX208" fmla="*/ 355979 w 594423"/>
                  <a:gd name="connsiteY208" fmla="*/ 233177 h 595447"/>
                  <a:gd name="connsiteX209" fmla="*/ 461597 w 594423"/>
                  <a:gd name="connsiteY209" fmla="*/ 374609 h 595447"/>
                  <a:gd name="connsiteX210" fmla="*/ 476194 w 594423"/>
                  <a:gd name="connsiteY210" fmla="*/ 389122 h 595447"/>
                  <a:gd name="connsiteX211" fmla="*/ 461682 w 594423"/>
                  <a:gd name="connsiteY211" fmla="*/ 403719 h 595447"/>
                  <a:gd name="connsiteX212" fmla="*/ 447084 w 594423"/>
                  <a:gd name="connsiteY212" fmla="*/ 389206 h 595447"/>
                  <a:gd name="connsiteX213" fmla="*/ 447084 w 594423"/>
                  <a:gd name="connsiteY213" fmla="*/ 389164 h 595447"/>
                  <a:gd name="connsiteX214" fmla="*/ 461597 w 594423"/>
                  <a:gd name="connsiteY214" fmla="*/ 374609 h 595447"/>
                  <a:gd name="connsiteX215" fmla="*/ 560044 w 594423"/>
                  <a:gd name="connsiteY215" fmla="*/ 315796 h 595447"/>
                  <a:gd name="connsiteX216" fmla="*/ 545489 w 594423"/>
                  <a:gd name="connsiteY216" fmla="*/ 301241 h 595447"/>
                  <a:gd name="connsiteX217" fmla="*/ 560044 w 594423"/>
                  <a:gd name="connsiteY217" fmla="*/ 286686 h 595447"/>
                  <a:gd name="connsiteX218" fmla="*/ 574598 w 594423"/>
                  <a:gd name="connsiteY218" fmla="*/ 301241 h 595447"/>
                  <a:gd name="connsiteX219" fmla="*/ 560044 w 594423"/>
                  <a:gd name="connsiteY219" fmla="*/ 315796 h 595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</a:cxnLst>
                <a:rect l="l" t="t" r="r" b="b"/>
                <a:pathLst>
                  <a:path w="594423" h="595447">
                    <a:moveTo>
                      <a:pt x="594373" y="301241"/>
                    </a:moveTo>
                    <a:cubicBezTo>
                      <a:pt x="594148" y="282283"/>
                      <a:pt x="578597" y="267096"/>
                      <a:pt x="559639" y="267321"/>
                    </a:cubicBezTo>
                    <a:cubicBezTo>
                      <a:pt x="546037" y="267482"/>
                      <a:pt x="533813" y="275660"/>
                      <a:pt x="528473" y="288171"/>
                    </a:cubicBezTo>
                    <a:lnTo>
                      <a:pt x="528261" y="288723"/>
                    </a:lnTo>
                    <a:lnTo>
                      <a:pt x="381227" y="288723"/>
                    </a:lnTo>
                    <a:lnTo>
                      <a:pt x="381227" y="267888"/>
                    </a:lnTo>
                    <a:lnTo>
                      <a:pt x="441483" y="267888"/>
                    </a:lnTo>
                    <a:cubicBezTo>
                      <a:pt x="444802" y="267874"/>
                      <a:pt x="447984" y="266564"/>
                      <a:pt x="450352" y="264238"/>
                    </a:cubicBezTo>
                    <a:lnTo>
                      <a:pt x="467877" y="246713"/>
                    </a:lnTo>
                    <a:lnTo>
                      <a:pt x="468429" y="246968"/>
                    </a:lnTo>
                    <a:cubicBezTo>
                      <a:pt x="473032" y="249198"/>
                      <a:pt x="478080" y="250358"/>
                      <a:pt x="483196" y="250363"/>
                    </a:cubicBezTo>
                    <a:cubicBezTo>
                      <a:pt x="502202" y="250434"/>
                      <a:pt x="517667" y="235084"/>
                      <a:pt x="517738" y="216077"/>
                    </a:cubicBezTo>
                    <a:cubicBezTo>
                      <a:pt x="517809" y="197071"/>
                      <a:pt x="502459" y="181606"/>
                      <a:pt x="483453" y="181535"/>
                    </a:cubicBezTo>
                    <a:cubicBezTo>
                      <a:pt x="464447" y="181464"/>
                      <a:pt x="448981" y="196814"/>
                      <a:pt x="448910" y="215820"/>
                    </a:cubicBezTo>
                    <a:cubicBezTo>
                      <a:pt x="448896" y="219796"/>
                      <a:pt x="449570" y="223745"/>
                      <a:pt x="450903" y="227491"/>
                    </a:cubicBezTo>
                    <a:lnTo>
                      <a:pt x="450903" y="228000"/>
                    </a:lnTo>
                    <a:lnTo>
                      <a:pt x="436136" y="242809"/>
                    </a:lnTo>
                    <a:lnTo>
                      <a:pt x="380972" y="242809"/>
                    </a:lnTo>
                    <a:lnTo>
                      <a:pt x="380972" y="208098"/>
                    </a:lnTo>
                    <a:lnTo>
                      <a:pt x="350250" y="208098"/>
                    </a:lnTo>
                    <a:lnTo>
                      <a:pt x="350250" y="200418"/>
                    </a:lnTo>
                    <a:lnTo>
                      <a:pt x="365781" y="184887"/>
                    </a:lnTo>
                    <a:lnTo>
                      <a:pt x="366290" y="184887"/>
                    </a:lnTo>
                    <a:cubicBezTo>
                      <a:pt x="370477" y="186663"/>
                      <a:pt x="374981" y="187572"/>
                      <a:pt x="379529" y="187560"/>
                    </a:cubicBezTo>
                    <a:cubicBezTo>
                      <a:pt x="398465" y="187560"/>
                      <a:pt x="413816" y="172210"/>
                      <a:pt x="413816" y="153274"/>
                    </a:cubicBezTo>
                    <a:cubicBezTo>
                      <a:pt x="413816" y="134338"/>
                      <a:pt x="398465" y="118987"/>
                      <a:pt x="379529" y="118987"/>
                    </a:cubicBezTo>
                    <a:cubicBezTo>
                      <a:pt x="360593" y="118987"/>
                      <a:pt x="345243" y="134338"/>
                      <a:pt x="345243" y="153274"/>
                    </a:cubicBezTo>
                    <a:cubicBezTo>
                      <a:pt x="345252" y="157770"/>
                      <a:pt x="346131" y="162223"/>
                      <a:pt x="347831" y="166386"/>
                    </a:cubicBezTo>
                    <a:lnTo>
                      <a:pt x="348086" y="166895"/>
                    </a:lnTo>
                    <a:lnTo>
                      <a:pt x="328863" y="186117"/>
                    </a:lnTo>
                    <a:cubicBezTo>
                      <a:pt x="326498" y="188462"/>
                      <a:pt x="325169" y="191656"/>
                      <a:pt x="325172" y="194986"/>
                    </a:cubicBezTo>
                    <a:lnTo>
                      <a:pt x="325171" y="207716"/>
                    </a:lnTo>
                    <a:lnTo>
                      <a:pt x="304167" y="207716"/>
                    </a:lnTo>
                    <a:lnTo>
                      <a:pt x="304167" y="65944"/>
                    </a:lnTo>
                    <a:lnTo>
                      <a:pt x="304718" y="65944"/>
                    </a:lnTo>
                    <a:cubicBezTo>
                      <a:pt x="322225" y="58726"/>
                      <a:pt x="330565" y="38683"/>
                      <a:pt x="323347" y="21177"/>
                    </a:cubicBezTo>
                    <a:cubicBezTo>
                      <a:pt x="316128" y="3671"/>
                      <a:pt x="296085" y="-4670"/>
                      <a:pt x="278579" y="2549"/>
                    </a:cubicBezTo>
                    <a:cubicBezTo>
                      <a:pt x="261073" y="9767"/>
                      <a:pt x="252733" y="29810"/>
                      <a:pt x="259951" y="47316"/>
                    </a:cubicBezTo>
                    <a:cubicBezTo>
                      <a:pt x="263432" y="55759"/>
                      <a:pt x="270137" y="62464"/>
                      <a:pt x="278579" y="65944"/>
                    </a:cubicBezTo>
                    <a:lnTo>
                      <a:pt x="279088" y="65944"/>
                    </a:lnTo>
                    <a:lnTo>
                      <a:pt x="279088" y="207929"/>
                    </a:lnTo>
                    <a:lnTo>
                      <a:pt x="258126" y="207929"/>
                    </a:lnTo>
                    <a:lnTo>
                      <a:pt x="258126" y="153740"/>
                    </a:lnTo>
                    <a:cubicBezTo>
                      <a:pt x="258101" y="150415"/>
                      <a:pt x="256776" y="147232"/>
                      <a:pt x="254434" y="144872"/>
                    </a:cubicBezTo>
                    <a:lnTo>
                      <a:pt x="236909" y="127346"/>
                    </a:lnTo>
                    <a:lnTo>
                      <a:pt x="237206" y="126795"/>
                    </a:lnTo>
                    <a:cubicBezTo>
                      <a:pt x="239436" y="122191"/>
                      <a:pt x="240596" y="117143"/>
                      <a:pt x="240601" y="112028"/>
                    </a:cubicBezTo>
                    <a:cubicBezTo>
                      <a:pt x="240672" y="93022"/>
                      <a:pt x="225322" y="77556"/>
                      <a:pt x="206315" y="77485"/>
                    </a:cubicBezTo>
                    <a:cubicBezTo>
                      <a:pt x="187309" y="77414"/>
                      <a:pt x="171844" y="92765"/>
                      <a:pt x="171773" y="111771"/>
                    </a:cubicBezTo>
                    <a:cubicBezTo>
                      <a:pt x="171702" y="130777"/>
                      <a:pt x="187052" y="146242"/>
                      <a:pt x="206058" y="146313"/>
                    </a:cubicBezTo>
                    <a:cubicBezTo>
                      <a:pt x="210034" y="146328"/>
                      <a:pt x="213983" y="145653"/>
                      <a:pt x="217729" y="144320"/>
                    </a:cubicBezTo>
                    <a:lnTo>
                      <a:pt x="218238" y="144320"/>
                    </a:lnTo>
                    <a:lnTo>
                      <a:pt x="233047" y="159087"/>
                    </a:lnTo>
                    <a:lnTo>
                      <a:pt x="233047" y="208098"/>
                    </a:lnTo>
                    <a:lnTo>
                      <a:pt x="201731" y="208098"/>
                    </a:lnTo>
                    <a:lnTo>
                      <a:pt x="201731" y="242809"/>
                    </a:lnTo>
                    <a:lnTo>
                      <a:pt x="149113" y="242809"/>
                    </a:lnTo>
                    <a:lnTo>
                      <a:pt x="134303" y="228000"/>
                    </a:lnTo>
                    <a:lnTo>
                      <a:pt x="134303" y="227491"/>
                    </a:lnTo>
                    <a:cubicBezTo>
                      <a:pt x="135633" y="223832"/>
                      <a:pt x="136308" y="219968"/>
                      <a:pt x="136298" y="216076"/>
                    </a:cubicBezTo>
                    <a:cubicBezTo>
                      <a:pt x="136498" y="197094"/>
                      <a:pt x="121272" y="181544"/>
                      <a:pt x="102291" y="181344"/>
                    </a:cubicBezTo>
                    <a:cubicBezTo>
                      <a:pt x="83309" y="181144"/>
                      <a:pt x="67759" y="196369"/>
                      <a:pt x="67559" y="215351"/>
                    </a:cubicBezTo>
                    <a:cubicBezTo>
                      <a:pt x="67359" y="234333"/>
                      <a:pt x="82584" y="249883"/>
                      <a:pt x="101566" y="250083"/>
                    </a:cubicBezTo>
                    <a:cubicBezTo>
                      <a:pt x="106860" y="250139"/>
                      <a:pt x="112095" y="248971"/>
                      <a:pt x="116863" y="246671"/>
                    </a:cubicBezTo>
                    <a:lnTo>
                      <a:pt x="117415" y="246416"/>
                    </a:lnTo>
                    <a:lnTo>
                      <a:pt x="134898" y="263941"/>
                    </a:lnTo>
                    <a:cubicBezTo>
                      <a:pt x="137265" y="266267"/>
                      <a:pt x="140447" y="267577"/>
                      <a:pt x="143766" y="267591"/>
                    </a:cubicBezTo>
                    <a:lnTo>
                      <a:pt x="201731" y="267591"/>
                    </a:lnTo>
                    <a:lnTo>
                      <a:pt x="201731" y="288596"/>
                    </a:lnTo>
                    <a:lnTo>
                      <a:pt x="65942" y="288596"/>
                    </a:lnTo>
                    <a:lnTo>
                      <a:pt x="65942" y="288044"/>
                    </a:lnTo>
                    <a:cubicBezTo>
                      <a:pt x="58724" y="270538"/>
                      <a:pt x="38681" y="262197"/>
                      <a:pt x="21175" y="269416"/>
                    </a:cubicBezTo>
                    <a:cubicBezTo>
                      <a:pt x="3668" y="276634"/>
                      <a:pt x="-4672" y="296677"/>
                      <a:pt x="2546" y="314183"/>
                    </a:cubicBezTo>
                    <a:cubicBezTo>
                      <a:pt x="9765" y="331690"/>
                      <a:pt x="29808" y="340030"/>
                      <a:pt x="47314" y="332811"/>
                    </a:cubicBezTo>
                    <a:cubicBezTo>
                      <a:pt x="55756" y="329331"/>
                      <a:pt x="62461" y="322626"/>
                      <a:pt x="65942" y="314183"/>
                    </a:cubicBezTo>
                    <a:lnTo>
                      <a:pt x="65942" y="313674"/>
                    </a:lnTo>
                    <a:lnTo>
                      <a:pt x="201731" y="313674"/>
                    </a:lnTo>
                    <a:lnTo>
                      <a:pt x="201731" y="334636"/>
                    </a:lnTo>
                    <a:lnTo>
                      <a:pt x="173555" y="334636"/>
                    </a:lnTo>
                    <a:cubicBezTo>
                      <a:pt x="170230" y="334662"/>
                      <a:pt x="167047" y="335987"/>
                      <a:pt x="164686" y="338328"/>
                    </a:cubicBezTo>
                    <a:lnTo>
                      <a:pt x="145633" y="357381"/>
                    </a:lnTo>
                    <a:lnTo>
                      <a:pt x="145124" y="357169"/>
                    </a:lnTo>
                    <a:cubicBezTo>
                      <a:pt x="127524" y="350184"/>
                      <a:pt x="107593" y="358789"/>
                      <a:pt x="100608" y="376390"/>
                    </a:cubicBezTo>
                    <a:cubicBezTo>
                      <a:pt x="93622" y="393990"/>
                      <a:pt x="102228" y="413921"/>
                      <a:pt x="119828" y="420906"/>
                    </a:cubicBezTo>
                    <a:cubicBezTo>
                      <a:pt x="137429" y="427891"/>
                      <a:pt x="157360" y="419286"/>
                      <a:pt x="164345" y="401685"/>
                    </a:cubicBezTo>
                    <a:cubicBezTo>
                      <a:pt x="167709" y="393207"/>
                      <a:pt x="167557" y="383738"/>
                      <a:pt x="163922" y="375373"/>
                    </a:cubicBezTo>
                    <a:lnTo>
                      <a:pt x="163668" y="374821"/>
                    </a:lnTo>
                    <a:lnTo>
                      <a:pt x="178774" y="359757"/>
                    </a:lnTo>
                    <a:lnTo>
                      <a:pt x="201731" y="359757"/>
                    </a:lnTo>
                    <a:lnTo>
                      <a:pt x="201731" y="387382"/>
                    </a:lnTo>
                    <a:lnTo>
                      <a:pt x="232496" y="387382"/>
                    </a:lnTo>
                    <a:lnTo>
                      <a:pt x="232496" y="446110"/>
                    </a:lnTo>
                    <a:lnTo>
                      <a:pt x="217686" y="460920"/>
                    </a:lnTo>
                    <a:lnTo>
                      <a:pt x="217177" y="460920"/>
                    </a:lnTo>
                    <a:cubicBezTo>
                      <a:pt x="213506" y="459577"/>
                      <a:pt x="209629" y="458888"/>
                      <a:pt x="205720" y="458883"/>
                    </a:cubicBezTo>
                    <a:cubicBezTo>
                      <a:pt x="186760" y="458863"/>
                      <a:pt x="171375" y="474217"/>
                      <a:pt x="171355" y="493176"/>
                    </a:cubicBezTo>
                    <a:cubicBezTo>
                      <a:pt x="171335" y="512136"/>
                      <a:pt x="186688" y="527521"/>
                      <a:pt x="205648" y="527541"/>
                    </a:cubicBezTo>
                    <a:cubicBezTo>
                      <a:pt x="224607" y="527561"/>
                      <a:pt x="239993" y="512208"/>
                      <a:pt x="240013" y="493248"/>
                    </a:cubicBezTo>
                    <a:cubicBezTo>
                      <a:pt x="240018" y="488111"/>
                      <a:pt x="238871" y="483038"/>
                      <a:pt x="236654" y="478403"/>
                    </a:cubicBezTo>
                    <a:lnTo>
                      <a:pt x="236357" y="477851"/>
                    </a:lnTo>
                    <a:lnTo>
                      <a:pt x="253882" y="460368"/>
                    </a:lnTo>
                    <a:cubicBezTo>
                      <a:pt x="256224" y="458008"/>
                      <a:pt x="257549" y="454825"/>
                      <a:pt x="257574" y="451500"/>
                    </a:cubicBezTo>
                    <a:lnTo>
                      <a:pt x="257574" y="387849"/>
                    </a:lnTo>
                    <a:lnTo>
                      <a:pt x="279215" y="387849"/>
                    </a:lnTo>
                    <a:lnTo>
                      <a:pt x="279215" y="529239"/>
                    </a:lnTo>
                    <a:lnTo>
                      <a:pt x="278664" y="529493"/>
                    </a:lnTo>
                    <a:cubicBezTo>
                      <a:pt x="261183" y="536711"/>
                      <a:pt x="252863" y="556734"/>
                      <a:pt x="260082" y="574215"/>
                    </a:cubicBezTo>
                    <a:cubicBezTo>
                      <a:pt x="267300" y="591696"/>
                      <a:pt x="287322" y="600015"/>
                      <a:pt x="304803" y="592797"/>
                    </a:cubicBezTo>
                    <a:cubicBezTo>
                      <a:pt x="322284" y="585579"/>
                      <a:pt x="330604" y="565557"/>
                      <a:pt x="323386" y="548076"/>
                    </a:cubicBezTo>
                    <a:cubicBezTo>
                      <a:pt x="319909" y="539657"/>
                      <a:pt x="313222" y="532970"/>
                      <a:pt x="304803" y="529493"/>
                    </a:cubicBezTo>
                    <a:lnTo>
                      <a:pt x="304294" y="529493"/>
                    </a:lnTo>
                    <a:lnTo>
                      <a:pt x="304294" y="387509"/>
                    </a:lnTo>
                    <a:lnTo>
                      <a:pt x="324535" y="387509"/>
                    </a:lnTo>
                    <a:lnTo>
                      <a:pt x="324535" y="416152"/>
                    </a:lnTo>
                    <a:cubicBezTo>
                      <a:pt x="324523" y="419484"/>
                      <a:pt x="325854" y="422681"/>
                      <a:pt x="328227" y="425021"/>
                    </a:cubicBezTo>
                    <a:lnTo>
                      <a:pt x="345752" y="442546"/>
                    </a:lnTo>
                    <a:lnTo>
                      <a:pt x="345455" y="443098"/>
                    </a:lnTo>
                    <a:cubicBezTo>
                      <a:pt x="343225" y="447701"/>
                      <a:pt x="342065" y="452749"/>
                      <a:pt x="342060" y="457865"/>
                    </a:cubicBezTo>
                    <a:cubicBezTo>
                      <a:pt x="342037" y="476824"/>
                      <a:pt x="357387" y="492213"/>
                      <a:pt x="376347" y="492236"/>
                    </a:cubicBezTo>
                    <a:cubicBezTo>
                      <a:pt x="395306" y="492260"/>
                      <a:pt x="410695" y="476909"/>
                      <a:pt x="410718" y="457950"/>
                    </a:cubicBezTo>
                    <a:cubicBezTo>
                      <a:pt x="410742" y="438990"/>
                      <a:pt x="395391" y="423601"/>
                      <a:pt x="376432" y="423578"/>
                    </a:cubicBezTo>
                    <a:cubicBezTo>
                      <a:pt x="376418" y="423578"/>
                      <a:pt x="376403" y="423578"/>
                      <a:pt x="376389" y="423578"/>
                    </a:cubicBezTo>
                    <a:cubicBezTo>
                      <a:pt x="372481" y="423583"/>
                      <a:pt x="368603" y="424272"/>
                      <a:pt x="364932" y="425615"/>
                    </a:cubicBezTo>
                    <a:lnTo>
                      <a:pt x="364423" y="425615"/>
                    </a:lnTo>
                    <a:lnTo>
                      <a:pt x="364041" y="425233"/>
                    </a:lnTo>
                    <a:lnTo>
                      <a:pt x="349614" y="410805"/>
                    </a:lnTo>
                    <a:lnTo>
                      <a:pt x="349614" y="387339"/>
                    </a:lnTo>
                    <a:lnTo>
                      <a:pt x="381312" y="387339"/>
                    </a:lnTo>
                    <a:lnTo>
                      <a:pt x="381312" y="359715"/>
                    </a:lnTo>
                    <a:lnTo>
                      <a:pt x="415259" y="359715"/>
                    </a:lnTo>
                    <a:lnTo>
                      <a:pt x="430365" y="374779"/>
                    </a:lnTo>
                    <a:lnTo>
                      <a:pt x="430111" y="375331"/>
                    </a:lnTo>
                    <a:cubicBezTo>
                      <a:pt x="422564" y="392698"/>
                      <a:pt x="430525" y="412894"/>
                      <a:pt x="447892" y="420441"/>
                    </a:cubicBezTo>
                    <a:cubicBezTo>
                      <a:pt x="465260" y="427988"/>
                      <a:pt x="485456" y="420027"/>
                      <a:pt x="493003" y="402659"/>
                    </a:cubicBezTo>
                    <a:cubicBezTo>
                      <a:pt x="500550" y="385292"/>
                      <a:pt x="492588" y="365096"/>
                      <a:pt x="475221" y="357549"/>
                    </a:cubicBezTo>
                    <a:cubicBezTo>
                      <a:pt x="466856" y="353914"/>
                      <a:pt x="457387" y="353762"/>
                      <a:pt x="448909" y="357126"/>
                    </a:cubicBezTo>
                    <a:lnTo>
                      <a:pt x="448400" y="357339"/>
                    </a:lnTo>
                    <a:lnTo>
                      <a:pt x="429347" y="338286"/>
                    </a:lnTo>
                    <a:cubicBezTo>
                      <a:pt x="427002" y="335921"/>
                      <a:pt x="423809" y="334591"/>
                      <a:pt x="420478" y="334594"/>
                    </a:cubicBezTo>
                    <a:lnTo>
                      <a:pt x="381227" y="334594"/>
                    </a:lnTo>
                    <a:lnTo>
                      <a:pt x="381227" y="313632"/>
                    </a:lnTo>
                    <a:lnTo>
                      <a:pt x="528133" y="313632"/>
                    </a:lnTo>
                    <a:lnTo>
                      <a:pt x="528345" y="314141"/>
                    </a:lnTo>
                    <a:cubicBezTo>
                      <a:pt x="535624" y="331647"/>
                      <a:pt x="555717" y="339938"/>
                      <a:pt x="573223" y="332660"/>
                    </a:cubicBezTo>
                    <a:cubicBezTo>
                      <a:pt x="585992" y="327351"/>
                      <a:pt x="594328" y="314899"/>
                      <a:pt x="594373" y="301071"/>
                    </a:cubicBezTo>
                    <a:close/>
                    <a:moveTo>
                      <a:pt x="483196" y="201351"/>
                    </a:moveTo>
                    <a:cubicBezTo>
                      <a:pt x="491234" y="201328"/>
                      <a:pt x="497769" y="207825"/>
                      <a:pt x="497793" y="215864"/>
                    </a:cubicBezTo>
                    <a:cubicBezTo>
                      <a:pt x="497816" y="223902"/>
                      <a:pt x="491319" y="230437"/>
                      <a:pt x="483281" y="230461"/>
                    </a:cubicBezTo>
                    <a:cubicBezTo>
                      <a:pt x="475242" y="230484"/>
                      <a:pt x="468707" y="223987"/>
                      <a:pt x="468683" y="215948"/>
                    </a:cubicBezTo>
                    <a:cubicBezTo>
                      <a:pt x="468683" y="215934"/>
                      <a:pt x="468683" y="215920"/>
                      <a:pt x="468683" y="215906"/>
                    </a:cubicBezTo>
                    <a:cubicBezTo>
                      <a:pt x="468706" y="207894"/>
                      <a:pt x="475183" y="201398"/>
                      <a:pt x="483196" y="201351"/>
                    </a:cubicBezTo>
                    <a:close/>
                    <a:moveTo>
                      <a:pt x="379317" y="139567"/>
                    </a:moveTo>
                    <a:cubicBezTo>
                      <a:pt x="387356" y="139567"/>
                      <a:pt x="393872" y="146084"/>
                      <a:pt x="393872" y="154122"/>
                    </a:cubicBezTo>
                    <a:cubicBezTo>
                      <a:pt x="393872" y="162161"/>
                      <a:pt x="387356" y="168677"/>
                      <a:pt x="379317" y="168677"/>
                    </a:cubicBezTo>
                    <a:cubicBezTo>
                      <a:pt x="371279" y="168677"/>
                      <a:pt x="364762" y="162161"/>
                      <a:pt x="364762" y="154122"/>
                    </a:cubicBezTo>
                    <a:cubicBezTo>
                      <a:pt x="364786" y="146093"/>
                      <a:pt x="371289" y="139591"/>
                      <a:pt x="379317" y="139567"/>
                    </a:cubicBezTo>
                    <a:close/>
                    <a:moveTo>
                      <a:pt x="205974" y="126540"/>
                    </a:moveTo>
                    <a:cubicBezTo>
                      <a:pt x="197936" y="126540"/>
                      <a:pt x="191420" y="120024"/>
                      <a:pt x="191420" y="111985"/>
                    </a:cubicBezTo>
                    <a:cubicBezTo>
                      <a:pt x="191420" y="103947"/>
                      <a:pt x="197936" y="97430"/>
                      <a:pt x="205975" y="97430"/>
                    </a:cubicBezTo>
                    <a:cubicBezTo>
                      <a:pt x="214013" y="97430"/>
                      <a:pt x="220529" y="103947"/>
                      <a:pt x="220529" y="111985"/>
                    </a:cubicBezTo>
                    <a:cubicBezTo>
                      <a:pt x="220529" y="111999"/>
                      <a:pt x="220529" y="112014"/>
                      <a:pt x="220529" y="112028"/>
                    </a:cubicBezTo>
                    <a:cubicBezTo>
                      <a:pt x="220529" y="120043"/>
                      <a:pt x="214032" y="126540"/>
                      <a:pt x="206017" y="126540"/>
                    </a:cubicBezTo>
                    <a:cubicBezTo>
                      <a:pt x="206003" y="126540"/>
                      <a:pt x="205989" y="126540"/>
                      <a:pt x="205974" y="126540"/>
                    </a:cubicBezTo>
                    <a:close/>
                    <a:moveTo>
                      <a:pt x="102181" y="230419"/>
                    </a:moveTo>
                    <a:cubicBezTo>
                      <a:pt x="94143" y="230419"/>
                      <a:pt x="87626" y="223902"/>
                      <a:pt x="87626" y="215864"/>
                    </a:cubicBezTo>
                    <a:cubicBezTo>
                      <a:pt x="87626" y="207825"/>
                      <a:pt x="94143" y="201309"/>
                      <a:pt x="102181" y="201309"/>
                    </a:cubicBezTo>
                    <a:cubicBezTo>
                      <a:pt x="110219" y="201309"/>
                      <a:pt x="116736" y="207825"/>
                      <a:pt x="116736" y="215864"/>
                    </a:cubicBezTo>
                    <a:cubicBezTo>
                      <a:pt x="116736" y="215878"/>
                      <a:pt x="116736" y="215892"/>
                      <a:pt x="116736" y="215906"/>
                    </a:cubicBezTo>
                    <a:cubicBezTo>
                      <a:pt x="116736" y="223921"/>
                      <a:pt x="110238" y="230419"/>
                      <a:pt x="102223" y="230419"/>
                    </a:cubicBezTo>
                    <a:cubicBezTo>
                      <a:pt x="102209" y="230419"/>
                      <a:pt x="102195" y="230419"/>
                      <a:pt x="102181" y="230419"/>
                    </a:cubicBezTo>
                    <a:close/>
                    <a:moveTo>
                      <a:pt x="33905" y="315796"/>
                    </a:moveTo>
                    <a:cubicBezTo>
                      <a:pt x="25866" y="315796"/>
                      <a:pt x="19350" y="309279"/>
                      <a:pt x="19350" y="301241"/>
                    </a:cubicBezTo>
                    <a:cubicBezTo>
                      <a:pt x="19350" y="293202"/>
                      <a:pt x="25866" y="286686"/>
                      <a:pt x="33905" y="286686"/>
                    </a:cubicBezTo>
                    <a:cubicBezTo>
                      <a:pt x="41943" y="286686"/>
                      <a:pt x="48460" y="293202"/>
                      <a:pt x="48460" y="301241"/>
                    </a:cubicBezTo>
                    <a:cubicBezTo>
                      <a:pt x="48436" y="309270"/>
                      <a:pt x="41933" y="315772"/>
                      <a:pt x="33905" y="315796"/>
                    </a:cubicBezTo>
                    <a:close/>
                    <a:moveTo>
                      <a:pt x="132394" y="403676"/>
                    </a:moveTo>
                    <a:cubicBezTo>
                      <a:pt x="124356" y="403700"/>
                      <a:pt x="117820" y="397202"/>
                      <a:pt x="117797" y="389164"/>
                    </a:cubicBezTo>
                    <a:cubicBezTo>
                      <a:pt x="117773" y="381126"/>
                      <a:pt x="124271" y="374590"/>
                      <a:pt x="132309" y="374567"/>
                    </a:cubicBezTo>
                    <a:cubicBezTo>
                      <a:pt x="140348" y="374544"/>
                      <a:pt x="146883" y="381041"/>
                      <a:pt x="146906" y="389079"/>
                    </a:cubicBezTo>
                    <a:cubicBezTo>
                      <a:pt x="146906" y="389108"/>
                      <a:pt x="146906" y="389136"/>
                      <a:pt x="146906" y="389164"/>
                    </a:cubicBezTo>
                    <a:cubicBezTo>
                      <a:pt x="146883" y="397169"/>
                      <a:pt x="140399" y="403653"/>
                      <a:pt x="132394" y="403676"/>
                    </a:cubicBezTo>
                    <a:close/>
                    <a:moveTo>
                      <a:pt x="205635" y="507555"/>
                    </a:moveTo>
                    <a:cubicBezTo>
                      <a:pt x="197597" y="507555"/>
                      <a:pt x="191080" y="501038"/>
                      <a:pt x="191080" y="493000"/>
                    </a:cubicBezTo>
                    <a:cubicBezTo>
                      <a:pt x="191080" y="484962"/>
                      <a:pt x="197597" y="478445"/>
                      <a:pt x="205635" y="478445"/>
                    </a:cubicBezTo>
                    <a:cubicBezTo>
                      <a:pt x="213674" y="478445"/>
                      <a:pt x="220190" y="484962"/>
                      <a:pt x="220190" y="493000"/>
                    </a:cubicBezTo>
                    <a:cubicBezTo>
                      <a:pt x="220190" y="493014"/>
                      <a:pt x="220190" y="493028"/>
                      <a:pt x="220190" y="493042"/>
                    </a:cubicBezTo>
                    <a:cubicBezTo>
                      <a:pt x="220166" y="501064"/>
                      <a:pt x="213657" y="507555"/>
                      <a:pt x="205635" y="507555"/>
                    </a:cubicBezTo>
                    <a:close/>
                    <a:moveTo>
                      <a:pt x="376304" y="443352"/>
                    </a:moveTo>
                    <a:cubicBezTo>
                      <a:pt x="384343" y="443352"/>
                      <a:pt x="390859" y="449869"/>
                      <a:pt x="390859" y="457907"/>
                    </a:cubicBezTo>
                    <a:cubicBezTo>
                      <a:pt x="390859" y="465946"/>
                      <a:pt x="384343" y="472462"/>
                      <a:pt x="376304" y="472462"/>
                    </a:cubicBezTo>
                    <a:cubicBezTo>
                      <a:pt x="368266" y="472462"/>
                      <a:pt x="361750" y="465946"/>
                      <a:pt x="361750" y="457907"/>
                    </a:cubicBezTo>
                    <a:cubicBezTo>
                      <a:pt x="361750" y="457893"/>
                      <a:pt x="361750" y="457879"/>
                      <a:pt x="361750" y="457865"/>
                    </a:cubicBezTo>
                    <a:cubicBezTo>
                      <a:pt x="361773" y="449843"/>
                      <a:pt x="368283" y="443352"/>
                      <a:pt x="376304" y="443352"/>
                    </a:cubicBezTo>
                    <a:close/>
                    <a:moveTo>
                      <a:pt x="276882" y="34034"/>
                    </a:moveTo>
                    <a:cubicBezTo>
                      <a:pt x="276858" y="25996"/>
                      <a:pt x="283356" y="19460"/>
                      <a:pt x="291394" y="19437"/>
                    </a:cubicBezTo>
                    <a:cubicBezTo>
                      <a:pt x="299432" y="19413"/>
                      <a:pt x="305968" y="25911"/>
                      <a:pt x="305991" y="33949"/>
                    </a:cubicBezTo>
                    <a:cubicBezTo>
                      <a:pt x="306015" y="41988"/>
                      <a:pt x="299517" y="48523"/>
                      <a:pt x="291479" y="48546"/>
                    </a:cubicBezTo>
                    <a:cubicBezTo>
                      <a:pt x="291465" y="48546"/>
                      <a:pt x="291451" y="48546"/>
                      <a:pt x="291437" y="48546"/>
                    </a:cubicBezTo>
                    <a:cubicBezTo>
                      <a:pt x="283424" y="48523"/>
                      <a:pt x="276928" y="42046"/>
                      <a:pt x="276882" y="34034"/>
                    </a:cubicBezTo>
                    <a:close/>
                    <a:moveTo>
                      <a:pt x="305949" y="560894"/>
                    </a:moveTo>
                    <a:cubicBezTo>
                      <a:pt x="305972" y="568933"/>
                      <a:pt x="299475" y="575468"/>
                      <a:pt x="291436" y="575492"/>
                    </a:cubicBezTo>
                    <a:cubicBezTo>
                      <a:pt x="283398" y="575515"/>
                      <a:pt x="276863" y="569018"/>
                      <a:pt x="276839" y="560979"/>
                    </a:cubicBezTo>
                    <a:cubicBezTo>
                      <a:pt x="276816" y="552941"/>
                      <a:pt x="283313" y="546405"/>
                      <a:pt x="291352" y="546382"/>
                    </a:cubicBezTo>
                    <a:cubicBezTo>
                      <a:pt x="291380" y="546382"/>
                      <a:pt x="291408" y="546382"/>
                      <a:pt x="291436" y="546382"/>
                    </a:cubicBezTo>
                    <a:cubicBezTo>
                      <a:pt x="299442" y="546405"/>
                      <a:pt x="305926" y="552889"/>
                      <a:pt x="305949" y="560894"/>
                    </a:cubicBezTo>
                    <a:close/>
                    <a:moveTo>
                      <a:pt x="355979" y="362261"/>
                    </a:moveTo>
                    <a:lnTo>
                      <a:pt x="226894" y="362261"/>
                    </a:lnTo>
                    <a:lnTo>
                      <a:pt x="226894" y="233177"/>
                    </a:lnTo>
                    <a:lnTo>
                      <a:pt x="355979" y="233177"/>
                    </a:lnTo>
                    <a:close/>
                    <a:moveTo>
                      <a:pt x="461597" y="374609"/>
                    </a:moveTo>
                    <a:cubicBezTo>
                      <a:pt x="469635" y="374586"/>
                      <a:pt x="476171" y="381083"/>
                      <a:pt x="476194" y="389122"/>
                    </a:cubicBezTo>
                    <a:cubicBezTo>
                      <a:pt x="476217" y="397160"/>
                      <a:pt x="469720" y="403695"/>
                      <a:pt x="461682" y="403719"/>
                    </a:cubicBezTo>
                    <a:cubicBezTo>
                      <a:pt x="453643" y="403742"/>
                      <a:pt x="447108" y="397245"/>
                      <a:pt x="447084" y="389206"/>
                    </a:cubicBezTo>
                    <a:cubicBezTo>
                      <a:pt x="447084" y="389192"/>
                      <a:pt x="447084" y="389178"/>
                      <a:pt x="447084" y="389164"/>
                    </a:cubicBezTo>
                    <a:cubicBezTo>
                      <a:pt x="447108" y="381152"/>
                      <a:pt x="453585" y="374656"/>
                      <a:pt x="461597" y="374609"/>
                    </a:cubicBezTo>
                    <a:close/>
                    <a:moveTo>
                      <a:pt x="560044" y="315796"/>
                    </a:moveTo>
                    <a:cubicBezTo>
                      <a:pt x="552005" y="315796"/>
                      <a:pt x="545489" y="309279"/>
                      <a:pt x="545489" y="301241"/>
                    </a:cubicBezTo>
                    <a:cubicBezTo>
                      <a:pt x="545489" y="293202"/>
                      <a:pt x="552005" y="286686"/>
                      <a:pt x="560044" y="286686"/>
                    </a:cubicBezTo>
                    <a:cubicBezTo>
                      <a:pt x="568082" y="286686"/>
                      <a:pt x="574598" y="293202"/>
                      <a:pt x="574598" y="301241"/>
                    </a:cubicBezTo>
                    <a:cubicBezTo>
                      <a:pt x="574598" y="309279"/>
                      <a:pt x="568082" y="315796"/>
                      <a:pt x="560044" y="315796"/>
                    </a:cubicBez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74" name="Freihandform: Form 73">
              <a:extLst>
                <a:ext uri="{FF2B5EF4-FFF2-40B4-BE49-F238E27FC236}">
                  <a16:creationId xmlns:a16="http://schemas.microsoft.com/office/drawing/2014/main" id="{F7838FFA-C967-41F7-95B6-5E3ACE67C43C}"/>
                </a:ext>
              </a:extLst>
            </p:cNvPr>
            <p:cNvSpPr/>
            <p:nvPr/>
          </p:nvSpPr>
          <p:spPr>
            <a:xfrm>
              <a:off x="982367" y="2843331"/>
              <a:ext cx="68530" cy="68530"/>
            </a:xfrm>
            <a:custGeom>
              <a:avLst/>
              <a:gdLst>
                <a:gd name="connsiteX0" fmla="*/ 0 w 68530"/>
                <a:gd name="connsiteY0" fmla="*/ 0 h 68530"/>
                <a:gd name="connsiteX1" fmla="*/ 68531 w 68530"/>
                <a:gd name="connsiteY1" fmla="*/ 0 h 68530"/>
                <a:gd name="connsiteX2" fmla="*/ 68531 w 68530"/>
                <a:gd name="connsiteY2" fmla="*/ 68531 h 68530"/>
                <a:gd name="connsiteX3" fmla="*/ 0 w 68530"/>
                <a:gd name="connsiteY3" fmla="*/ 68531 h 6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530" h="68530">
                  <a:moveTo>
                    <a:pt x="0" y="0"/>
                  </a:moveTo>
                  <a:lnTo>
                    <a:pt x="68531" y="0"/>
                  </a:lnTo>
                  <a:lnTo>
                    <a:pt x="68531" y="68531"/>
                  </a:lnTo>
                  <a:lnTo>
                    <a:pt x="0" y="68531"/>
                  </a:lnTo>
                  <a:close/>
                </a:path>
              </a:pathLst>
            </a:custGeom>
            <a:solidFill>
              <a:srgbClr val="1D1D1B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81" name="Gruppieren 80">
            <a:extLst>
              <a:ext uri="{FF2B5EF4-FFF2-40B4-BE49-F238E27FC236}">
                <a16:creationId xmlns:a16="http://schemas.microsoft.com/office/drawing/2014/main" id="{C99E7295-3756-4A08-BA4C-7622FDAD9602}"/>
              </a:ext>
            </a:extLst>
          </p:cNvPr>
          <p:cNvGrpSpPr/>
          <p:nvPr/>
        </p:nvGrpSpPr>
        <p:grpSpPr>
          <a:xfrm>
            <a:off x="1912707" y="2500034"/>
            <a:ext cx="755851" cy="756064"/>
            <a:chOff x="1912707" y="2500034"/>
            <a:chExt cx="755851" cy="756064"/>
          </a:xfrm>
        </p:grpSpPr>
        <p:grpSp>
          <p:nvGrpSpPr>
            <p:cNvPr id="82" name="Grafik 78">
              <a:extLst>
                <a:ext uri="{FF2B5EF4-FFF2-40B4-BE49-F238E27FC236}">
                  <a16:creationId xmlns:a16="http://schemas.microsoft.com/office/drawing/2014/main" id="{D4C4D8D9-E34C-4E30-9D58-EC1CCCEBCE53}"/>
                </a:ext>
              </a:extLst>
            </p:cNvPr>
            <p:cNvGrpSpPr/>
            <p:nvPr/>
          </p:nvGrpSpPr>
          <p:grpSpPr>
            <a:xfrm>
              <a:off x="1912707" y="2500034"/>
              <a:ext cx="755851" cy="756064"/>
              <a:chOff x="1912707" y="2500034"/>
              <a:chExt cx="755851" cy="756064"/>
            </a:xfrm>
          </p:grpSpPr>
          <p:sp>
            <p:nvSpPr>
              <p:cNvPr id="89" name="Freihandform: Form 88">
                <a:extLst>
                  <a:ext uri="{FF2B5EF4-FFF2-40B4-BE49-F238E27FC236}">
                    <a16:creationId xmlns:a16="http://schemas.microsoft.com/office/drawing/2014/main" id="{82A5899D-5E2E-4EFE-823F-F677A7C33E16}"/>
                  </a:ext>
                </a:extLst>
              </p:cNvPr>
              <p:cNvSpPr/>
              <p:nvPr/>
            </p:nvSpPr>
            <p:spPr>
              <a:xfrm>
                <a:off x="1912707" y="2500034"/>
                <a:ext cx="683499" cy="466270"/>
              </a:xfrm>
              <a:custGeom>
                <a:avLst/>
                <a:gdLst>
                  <a:gd name="connsiteX0" fmla="*/ 10573 w 683499"/>
                  <a:gd name="connsiteY0" fmla="*/ 466221 h 466270"/>
                  <a:gd name="connsiteX1" fmla="*/ 289109 w 683499"/>
                  <a:gd name="connsiteY1" fmla="*/ 10507 h 466270"/>
                  <a:gd name="connsiteX2" fmla="*/ 683449 w 683499"/>
                  <a:gd name="connsiteY2" fmla="*/ 155944 h 466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99" h="466270">
                    <a:moveTo>
                      <a:pt x="10573" y="466221"/>
                    </a:moveTo>
                    <a:cubicBezTo>
                      <a:pt x="-38354" y="263464"/>
                      <a:pt x="86351" y="59433"/>
                      <a:pt x="289109" y="10507"/>
                    </a:cubicBezTo>
                    <a:cubicBezTo>
                      <a:pt x="437882" y="-25393"/>
                      <a:pt x="593612" y="32042"/>
                      <a:pt x="683449" y="155944"/>
                    </a:cubicBezTo>
                  </a:path>
                </a:pathLst>
              </a:custGeom>
              <a:noFill/>
              <a:ln w="33594" cap="flat">
                <a:solidFill>
                  <a:srgbClr val="1D1D1B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0" name="Freihandform: Form 89">
                <a:extLst>
                  <a:ext uri="{FF2B5EF4-FFF2-40B4-BE49-F238E27FC236}">
                    <a16:creationId xmlns:a16="http://schemas.microsoft.com/office/drawing/2014/main" id="{D484021F-8043-4306-970B-A8CACF7D8A8B}"/>
                  </a:ext>
                </a:extLst>
              </p:cNvPr>
              <p:cNvSpPr/>
              <p:nvPr/>
            </p:nvSpPr>
            <p:spPr>
              <a:xfrm>
                <a:off x="2544098" y="2617539"/>
                <a:ext cx="89068" cy="101502"/>
              </a:xfrm>
              <a:custGeom>
                <a:avLst/>
                <a:gdLst>
                  <a:gd name="connsiteX0" fmla="*/ 0 w 89068"/>
                  <a:gd name="connsiteY0" fmla="*/ 52788 h 101502"/>
                  <a:gd name="connsiteX1" fmla="*/ 89069 w 89068"/>
                  <a:gd name="connsiteY1" fmla="*/ 101502 h 101502"/>
                  <a:gd name="connsiteX2" fmla="*/ 86735 w 89068"/>
                  <a:gd name="connsiteY2" fmla="*/ 0 h 101502"/>
                  <a:gd name="connsiteX3" fmla="*/ 0 w 89068"/>
                  <a:gd name="connsiteY3" fmla="*/ 52788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0" y="52788"/>
                    </a:moveTo>
                    <a:lnTo>
                      <a:pt x="89069" y="101502"/>
                    </a:lnTo>
                    <a:lnTo>
                      <a:pt x="86735" y="0"/>
                    </a:lnTo>
                    <a:lnTo>
                      <a:pt x="0" y="52788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1" name="Freihandform: Form 90">
                <a:extLst>
                  <a:ext uri="{FF2B5EF4-FFF2-40B4-BE49-F238E27FC236}">
                    <a16:creationId xmlns:a16="http://schemas.microsoft.com/office/drawing/2014/main" id="{FD525BF7-DA34-40B2-AF23-007CA0E53E40}"/>
                  </a:ext>
                </a:extLst>
              </p:cNvPr>
              <p:cNvSpPr/>
              <p:nvPr/>
            </p:nvSpPr>
            <p:spPr>
              <a:xfrm>
                <a:off x="1985115" y="2790415"/>
                <a:ext cx="683443" cy="465683"/>
              </a:xfrm>
              <a:custGeom>
                <a:avLst/>
                <a:gdLst>
                  <a:gd name="connsiteX0" fmla="*/ 672909 w 683443"/>
                  <a:gd name="connsiteY0" fmla="*/ -49 h 465683"/>
                  <a:gd name="connsiteX1" fmla="*/ 393646 w 683443"/>
                  <a:gd name="connsiteY1" fmla="*/ 455220 h 465683"/>
                  <a:gd name="connsiteX2" fmla="*/ -51 w 683443"/>
                  <a:gd name="connsiteY2" fmla="*/ 309719 h 465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43" h="465683">
                    <a:moveTo>
                      <a:pt x="672909" y="-49"/>
                    </a:moveTo>
                    <a:cubicBezTo>
                      <a:pt x="721512" y="202786"/>
                      <a:pt x="596481" y="406617"/>
                      <a:pt x="393646" y="455220"/>
                    </a:cubicBezTo>
                    <a:cubicBezTo>
                      <a:pt x="245063" y="490823"/>
                      <a:pt x="89667" y="433392"/>
                      <a:pt x="-51" y="309719"/>
                    </a:cubicBezTo>
                  </a:path>
                </a:pathLst>
              </a:custGeom>
              <a:noFill/>
              <a:ln w="33594" cap="flat">
                <a:solidFill>
                  <a:srgbClr val="1D1D1B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2" name="Freihandform: Form 91">
                <a:extLst>
                  <a:ext uri="{FF2B5EF4-FFF2-40B4-BE49-F238E27FC236}">
                    <a16:creationId xmlns:a16="http://schemas.microsoft.com/office/drawing/2014/main" id="{F5B393BF-5C3A-43FC-9E98-99B234DD898A}"/>
                  </a:ext>
                </a:extLst>
              </p:cNvPr>
              <p:cNvSpPr/>
              <p:nvPr/>
            </p:nvSpPr>
            <p:spPr>
              <a:xfrm>
                <a:off x="1948155" y="3037254"/>
                <a:ext cx="89068" cy="101502"/>
              </a:xfrm>
              <a:custGeom>
                <a:avLst/>
                <a:gdLst>
                  <a:gd name="connsiteX0" fmla="*/ 89069 w 89068"/>
                  <a:gd name="connsiteY0" fmla="*/ 48714 h 101502"/>
                  <a:gd name="connsiteX1" fmla="*/ 0 w 89068"/>
                  <a:gd name="connsiteY1" fmla="*/ 0 h 101502"/>
                  <a:gd name="connsiteX2" fmla="*/ 2334 w 89068"/>
                  <a:gd name="connsiteY2" fmla="*/ 101502 h 101502"/>
                  <a:gd name="connsiteX3" fmla="*/ 89069 w 89068"/>
                  <a:gd name="connsiteY3" fmla="*/ 48714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89069" y="48714"/>
                    </a:moveTo>
                    <a:lnTo>
                      <a:pt x="0" y="0"/>
                    </a:lnTo>
                    <a:lnTo>
                      <a:pt x="2334" y="101502"/>
                    </a:lnTo>
                    <a:lnTo>
                      <a:pt x="89069" y="48714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83" name="Freihandform: Form 82">
              <a:extLst>
                <a:ext uri="{FF2B5EF4-FFF2-40B4-BE49-F238E27FC236}">
                  <a16:creationId xmlns:a16="http://schemas.microsoft.com/office/drawing/2014/main" id="{ABEB5130-305D-4BC2-8D9E-A38E725AF0DC}"/>
                </a:ext>
              </a:extLst>
            </p:cNvPr>
            <p:cNvSpPr/>
            <p:nvPr/>
          </p:nvSpPr>
          <p:spPr>
            <a:xfrm>
              <a:off x="2544098" y="2617539"/>
              <a:ext cx="89068" cy="101502"/>
            </a:xfrm>
            <a:custGeom>
              <a:avLst/>
              <a:gdLst>
                <a:gd name="connsiteX0" fmla="*/ 0 w 89068"/>
                <a:gd name="connsiteY0" fmla="*/ 52788 h 101502"/>
                <a:gd name="connsiteX1" fmla="*/ 89069 w 89068"/>
                <a:gd name="connsiteY1" fmla="*/ 101502 h 101502"/>
                <a:gd name="connsiteX2" fmla="*/ 86735 w 89068"/>
                <a:gd name="connsiteY2" fmla="*/ 0 h 101502"/>
                <a:gd name="connsiteX3" fmla="*/ 0 w 89068"/>
                <a:gd name="connsiteY3" fmla="*/ 52788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0" y="52788"/>
                  </a:moveTo>
                  <a:lnTo>
                    <a:pt x="89069" y="101502"/>
                  </a:lnTo>
                  <a:lnTo>
                    <a:pt x="86735" y="0"/>
                  </a:lnTo>
                  <a:lnTo>
                    <a:pt x="0" y="52788"/>
                  </a:lnTo>
                  <a:close/>
                </a:path>
              </a:pathLst>
            </a:custGeom>
            <a:solidFill>
              <a:srgbClr val="1D1D1B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84" name="Grafik 78">
              <a:extLst>
                <a:ext uri="{FF2B5EF4-FFF2-40B4-BE49-F238E27FC236}">
                  <a16:creationId xmlns:a16="http://schemas.microsoft.com/office/drawing/2014/main" id="{68BB5DEA-B144-454F-94FB-F6ACB85A8DFE}"/>
                </a:ext>
              </a:extLst>
            </p:cNvPr>
            <p:cNvGrpSpPr/>
            <p:nvPr/>
          </p:nvGrpSpPr>
          <p:grpSpPr>
            <a:xfrm>
              <a:off x="2032202" y="2618704"/>
              <a:ext cx="516748" cy="514747"/>
              <a:chOff x="2032202" y="2618704"/>
              <a:chExt cx="516748" cy="514747"/>
            </a:xfrm>
            <a:solidFill>
              <a:srgbClr val="1D1D1B"/>
            </a:solidFill>
          </p:grpSpPr>
          <p:sp>
            <p:nvSpPr>
              <p:cNvPr id="85" name="Freihandform: Form 84">
                <a:extLst>
                  <a:ext uri="{FF2B5EF4-FFF2-40B4-BE49-F238E27FC236}">
                    <a16:creationId xmlns:a16="http://schemas.microsoft.com/office/drawing/2014/main" id="{79CABE1A-3EC1-4808-BCDA-7B207B7B8234}"/>
                  </a:ext>
                </a:extLst>
              </p:cNvPr>
              <p:cNvSpPr/>
              <p:nvPr/>
            </p:nvSpPr>
            <p:spPr>
              <a:xfrm>
                <a:off x="2236621" y="2729692"/>
                <a:ext cx="107145" cy="252991"/>
              </a:xfrm>
              <a:custGeom>
                <a:avLst/>
                <a:gdLst>
                  <a:gd name="connsiteX0" fmla="*/ 33811 w 107145"/>
                  <a:gd name="connsiteY0" fmla="*/ 233762 h 252991"/>
                  <a:gd name="connsiteX1" fmla="*/ 53458 w 107145"/>
                  <a:gd name="connsiteY1" fmla="*/ 252942 h 252991"/>
                  <a:gd name="connsiteX2" fmla="*/ 73147 w 107145"/>
                  <a:gd name="connsiteY2" fmla="*/ 228840 h 252991"/>
                  <a:gd name="connsiteX3" fmla="*/ 73147 w 107145"/>
                  <a:gd name="connsiteY3" fmla="*/ 96828 h 252991"/>
                  <a:gd name="connsiteX4" fmla="*/ 107095 w 107145"/>
                  <a:gd name="connsiteY4" fmla="*/ 96828 h 252991"/>
                  <a:gd name="connsiteX5" fmla="*/ 53585 w 107145"/>
                  <a:gd name="connsiteY5" fmla="*/ -49 h 252991"/>
                  <a:gd name="connsiteX6" fmla="*/ -51 w 107145"/>
                  <a:gd name="connsiteY6" fmla="*/ 97040 h 252991"/>
                  <a:gd name="connsiteX7" fmla="*/ 33896 w 107145"/>
                  <a:gd name="connsiteY7" fmla="*/ 97040 h 2529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7145" h="252991">
                    <a:moveTo>
                      <a:pt x="33811" y="233762"/>
                    </a:moveTo>
                    <a:cubicBezTo>
                      <a:pt x="45141" y="245262"/>
                      <a:pt x="46838" y="246195"/>
                      <a:pt x="53458" y="252942"/>
                    </a:cubicBezTo>
                    <a:cubicBezTo>
                      <a:pt x="60205" y="244456"/>
                      <a:pt x="66485" y="237030"/>
                      <a:pt x="73147" y="228840"/>
                    </a:cubicBezTo>
                    <a:lnTo>
                      <a:pt x="73147" y="96828"/>
                    </a:lnTo>
                    <a:lnTo>
                      <a:pt x="107095" y="96828"/>
                    </a:lnTo>
                    <a:cubicBezTo>
                      <a:pt x="89060" y="64196"/>
                      <a:pt x="71705" y="32710"/>
                      <a:pt x="53585" y="-49"/>
                    </a:cubicBezTo>
                    <a:cubicBezTo>
                      <a:pt x="35381" y="32837"/>
                      <a:pt x="17983" y="64323"/>
                      <a:pt x="-51" y="97040"/>
                    </a:cubicBezTo>
                    <a:lnTo>
                      <a:pt x="33896" y="97040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6" name="Freihandform: Form 85">
                <a:extLst>
                  <a:ext uri="{FF2B5EF4-FFF2-40B4-BE49-F238E27FC236}">
                    <a16:creationId xmlns:a16="http://schemas.microsoft.com/office/drawing/2014/main" id="{6C503DBB-8E5A-44D6-8459-D745927894E0}"/>
                  </a:ext>
                </a:extLst>
              </p:cNvPr>
              <p:cNvSpPr/>
              <p:nvPr/>
            </p:nvSpPr>
            <p:spPr>
              <a:xfrm>
                <a:off x="2101426" y="2910673"/>
                <a:ext cx="173597" cy="140795"/>
              </a:xfrm>
              <a:custGeom>
                <a:avLst/>
                <a:gdLst>
                  <a:gd name="connsiteX0" fmla="*/ 96401 w 173597"/>
                  <a:gd name="connsiteY0" fmla="*/ 29061 h 140795"/>
                  <a:gd name="connsiteX1" fmla="*/ 109131 w 173597"/>
                  <a:gd name="connsiteY1" fmla="*/ -49 h 140795"/>
                  <a:gd name="connsiteX2" fmla="*/ -51 w 173597"/>
                  <a:gd name="connsiteY2" fmla="*/ 12299 h 140795"/>
                  <a:gd name="connsiteX3" fmla="*/ 68904 w 173597"/>
                  <a:gd name="connsiteY3" fmla="*/ 97167 h 140795"/>
                  <a:gd name="connsiteX4" fmla="*/ 81846 w 173597"/>
                  <a:gd name="connsiteY4" fmla="*/ 64960 h 140795"/>
                  <a:gd name="connsiteX5" fmla="*/ 154578 w 173597"/>
                  <a:gd name="connsiteY5" fmla="*/ 140747 h 140795"/>
                  <a:gd name="connsiteX6" fmla="*/ 160816 w 173597"/>
                  <a:gd name="connsiteY6" fmla="*/ 121949 h 140795"/>
                  <a:gd name="connsiteX7" fmla="*/ 160816 w 173597"/>
                  <a:gd name="connsiteY7" fmla="*/ 121737 h 140795"/>
                  <a:gd name="connsiteX8" fmla="*/ 160816 w 173597"/>
                  <a:gd name="connsiteY8" fmla="*/ 121482 h 140795"/>
                  <a:gd name="connsiteX9" fmla="*/ 161537 w 173597"/>
                  <a:gd name="connsiteY9" fmla="*/ 119827 h 140795"/>
                  <a:gd name="connsiteX10" fmla="*/ 162641 w 173597"/>
                  <a:gd name="connsiteY10" fmla="*/ 117111 h 140795"/>
                  <a:gd name="connsiteX11" fmla="*/ 163150 w 173597"/>
                  <a:gd name="connsiteY11" fmla="*/ 115966 h 140795"/>
                  <a:gd name="connsiteX12" fmla="*/ 163659 w 173597"/>
                  <a:gd name="connsiteY12" fmla="*/ 114693 h 140795"/>
                  <a:gd name="connsiteX13" fmla="*/ 163659 w 173597"/>
                  <a:gd name="connsiteY13" fmla="*/ 114693 h 140795"/>
                  <a:gd name="connsiteX14" fmla="*/ 163659 w 173597"/>
                  <a:gd name="connsiteY14" fmla="*/ 114480 h 140795"/>
                  <a:gd name="connsiteX15" fmla="*/ 172867 w 173597"/>
                  <a:gd name="connsiteY15" fmla="*/ 96700 h 140795"/>
                  <a:gd name="connsiteX16" fmla="*/ 173546 w 173597"/>
                  <a:gd name="connsiteY16" fmla="*/ 95088 h 140795"/>
                  <a:gd name="connsiteX17" fmla="*/ 96401 w 173597"/>
                  <a:gd name="connsiteY17" fmla="*/ 29061 h 140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73597" h="140795">
                    <a:moveTo>
                      <a:pt x="96401" y="29061"/>
                    </a:moveTo>
                    <a:cubicBezTo>
                      <a:pt x="100390" y="18792"/>
                      <a:pt x="109131" y="-49"/>
                      <a:pt x="109131" y="-49"/>
                    </a:cubicBezTo>
                    <a:lnTo>
                      <a:pt x="-51" y="12299"/>
                    </a:lnTo>
                    <a:lnTo>
                      <a:pt x="68904" y="97167"/>
                    </a:lnTo>
                    <a:lnTo>
                      <a:pt x="81846" y="64960"/>
                    </a:lnTo>
                    <a:cubicBezTo>
                      <a:pt x="117915" y="85031"/>
                      <a:pt x="136119" y="105187"/>
                      <a:pt x="154578" y="140747"/>
                    </a:cubicBezTo>
                    <a:cubicBezTo>
                      <a:pt x="156306" y="134370"/>
                      <a:pt x="158388" y="128094"/>
                      <a:pt x="160816" y="121949"/>
                    </a:cubicBezTo>
                    <a:lnTo>
                      <a:pt x="160816" y="121737"/>
                    </a:lnTo>
                    <a:lnTo>
                      <a:pt x="160816" y="121482"/>
                    </a:lnTo>
                    <a:lnTo>
                      <a:pt x="161537" y="119827"/>
                    </a:lnTo>
                    <a:lnTo>
                      <a:pt x="162641" y="117111"/>
                    </a:lnTo>
                    <a:lnTo>
                      <a:pt x="163150" y="115966"/>
                    </a:lnTo>
                    <a:lnTo>
                      <a:pt x="163659" y="114693"/>
                    </a:lnTo>
                    <a:lnTo>
                      <a:pt x="163659" y="114693"/>
                    </a:lnTo>
                    <a:lnTo>
                      <a:pt x="163659" y="114480"/>
                    </a:lnTo>
                    <a:cubicBezTo>
                      <a:pt x="166406" y="108392"/>
                      <a:pt x="169480" y="102457"/>
                      <a:pt x="172867" y="96700"/>
                    </a:cubicBezTo>
                    <a:cubicBezTo>
                      <a:pt x="173122" y="96149"/>
                      <a:pt x="173334" y="95597"/>
                      <a:pt x="173546" y="95088"/>
                    </a:cubicBezTo>
                    <a:cubicBezTo>
                      <a:pt x="154239" y="63390"/>
                      <a:pt x="131112" y="45143"/>
                      <a:pt x="96401" y="29061"/>
                    </a:cubicBez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7" name="Freihandform: Form 86">
                <a:extLst>
                  <a:ext uri="{FF2B5EF4-FFF2-40B4-BE49-F238E27FC236}">
                    <a16:creationId xmlns:a16="http://schemas.microsoft.com/office/drawing/2014/main" id="{F69AEB5F-1D6B-4871-9E7F-3F700C9E146A}"/>
                  </a:ext>
                </a:extLst>
              </p:cNvPr>
              <p:cNvSpPr/>
              <p:nvPr/>
            </p:nvSpPr>
            <p:spPr>
              <a:xfrm>
                <a:off x="2032202" y="2618704"/>
                <a:ext cx="516748" cy="513729"/>
              </a:xfrm>
              <a:custGeom>
                <a:avLst/>
                <a:gdLst>
                  <a:gd name="connsiteX0" fmla="*/ 297468 w 516748"/>
                  <a:gd name="connsiteY0" fmla="*/ 513680 h 513729"/>
                  <a:gd name="connsiteX1" fmla="*/ 513678 w 516748"/>
                  <a:gd name="connsiteY1" fmla="*/ 219180 h 513729"/>
                  <a:gd name="connsiteX2" fmla="*/ 219178 w 516748"/>
                  <a:gd name="connsiteY2" fmla="*/ 2970 h 513729"/>
                  <a:gd name="connsiteX3" fmla="*/ 2968 w 516748"/>
                  <a:gd name="connsiteY3" fmla="*/ 297470 h 513729"/>
                  <a:gd name="connsiteX4" fmla="*/ 216504 w 516748"/>
                  <a:gd name="connsiteY4" fmla="*/ 513256 h 513729"/>
                  <a:gd name="connsiteX5" fmla="*/ 216504 w 516748"/>
                  <a:gd name="connsiteY5" fmla="*/ 488729 h 513729"/>
                  <a:gd name="connsiteX6" fmla="*/ 216886 w 516748"/>
                  <a:gd name="connsiteY6" fmla="*/ 476211 h 513729"/>
                  <a:gd name="connsiteX7" fmla="*/ 186545 w 516748"/>
                  <a:gd name="connsiteY7" fmla="*/ 433777 h 513729"/>
                  <a:gd name="connsiteX8" fmla="*/ 170802 w 516748"/>
                  <a:gd name="connsiteY8" fmla="*/ 395926 h 513729"/>
                  <a:gd name="connsiteX9" fmla="*/ 161212 w 516748"/>
                  <a:gd name="connsiteY9" fmla="*/ 388161 h 513729"/>
                  <a:gd name="connsiteX10" fmla="*/ 157521 w 516748"/>
                  <a:gd name="connsiteY10" fmla="*/ 397114 h 513729"/>
                  <a:gd name="connsiteX11" fmla="*/ 152810 w 516748"/>
                  <a:gd name="connsiteY11" fmla="*/ 408741 h 513729"/>
                  <a:gd name="connsiteX12" fmla="*/ 167620 w 516748"/>
                  <a:gd name="connsiteY12" fmla="*/ 443537 h 513729"/>
                  <a:gd name="connsiteX13" fmla="*/ 198342 w 516748"/>
                  <a:gd name="connsiteY13" fmla="*/ 487711 h 513729"/>
                  <a:gd name="connsiteX14" fmla="*/ 62171 w 516748"/>
                  <a:gd name="connsiteY14" fmla="*/ 391343 h 513729"/>
                  <a:gd name="connsiteX15" fmla="*/ 105157 w 516748"/>
                  <a:gd name="connsiteY15" fmla="*/ 382432 h 513729"/>
                  <a:gd name="connsiteX16" fmla="*/ 89753 w 516748"/>
                  <a:gd name="connsiteY16" fmla="*/ 363422 h 513729"/>
                  <a:gd name="connsiteX17" fmla="*/ 50587 w 516748"/>
                  <a:gd name="connsiteY17" fmla="*/ 372375 h 513729"/>
                  <a:gd name="connsiteX18" fmla="*/ 22071 w 516748"/>
                  <a:gd name="connsiteY18" fmla="*/ 269812 h 513729"/>
                  <a:gd name="connsiteX19" fmla="*/ 216886 w 516748"/>
                  <a:gd name="connsiteY19" fmla="*/ 269812 h 513729"/>
                  <a:gd name="connsiteX20" fmla="*/ 216886 w 516748"/>
                  <a:gd name="connsiteY20" fmla="*/ 248595 h 513729"/>
                  <a:gd name="connsiteX21" fmla="*/ 150137 w 516748"/>
                  <a:gd name="connsiteY21" fmla="*/ 248595 h 513729"/>
                  <a:gd name="connsiteX22" fmla="*/ 159557 w 516748"/>
                  <a:gd name="connsiteY22" fmla="*/ 164237 h 513729"/>
                  <a:gd name="connsiteX23" fmla="*/ 202628 w 516748"/>
                  <a:gd name="connsiteY23" fmla="*/ 166952 h 513729"/>
                  <a:gd name="connsiteX24" fmla="*/ 204495 w 516748"/>
                  <a:gd name="connsiteY24" fmla="*/ 163558 h 513729"/>
                  <a:gd name="connsiteX25" fmla="*/ 214127 w 516748"/>
                  <a:gd name="connsiteY25" fmla="*/ 146117 h 513729"/>
                  <a:gd name="connsiteX26" fmla="*/ 164565 w 516748"/>
                  <a:gd name="connsiteY26" fmla="*/ 143274 h 513729"/>
                  <a:gd name="connsiteX27" fmla="*/ 184042 w 516748"/>
                  <a:gd name="connsiteY27" fmla="*/ 90104 h 513729"/>
                  <a:gd name="connsiteX28" fmla="*/ 247693 w 516748"/>
                  <a:gd name="connsiteY28" fmla="*/ 24544 h 513729"/>
                  <a:gd name="connsiteX29" fmla="*/ 247693 w 516748"/>
                  <a:gd name="connsiteY29" fmla="*/ 85352 h 513729"/>
                  <a:gd name="connsiteX30" fmla="*/ 257750 w 516748"/>
                  <a:gd name="connsiteY30" fmla="*/ 67190 h 513729"/>
                  <a:gd name="connsiteX31" fmla="*/ 268952 w 516748"/>
                  <a:gd name="connsiteY31" fmla="*/ 87474 h 513729"/>
                  <a:gd name="connsiteX32" fmla="*/ 268952 w 516748"/>
                  <a:gd name="connsiteY32" fmla="*/ 24502 h 513729"/>
                  <a:gd name="connsiteX33" fmla="*/ 293521 w 516748"/>
                  <a:gd name="connsiteY33" fmla="*/ 37232 h 513729"/>
                  <a:gd name="connsiteX34" fmla="*/ 330057 w 516748"/>
                  <a:gd name="connsiteY34" fmla="*/ 85012 h 513729"/>
                  <a:gd name="connsiteX35" fmla="*/ 352165 w 516748"/>
                  <a:gd name="connsiteY35" fmla="*/ 143444 h 513729"/>
                  <a:gd name="connsiteX36" fmla="*/ 301457 w 516748"/>
                  <a:gd name="connsiteY36" fmla="*/ 146329 h 513729"/>
                  <a:gd name="connsiteX37" fmla="*/ 312999 w 516748"/>
                  <a:gd name="connsiteY37" fmla="*/ 167207 h 513729"/>
                  <a:gd name="connsiteX38" fmla="*/ 357215 w 516748"/>
                  <a:gd name="connsiteY38" fmla="*/ 164406 h 513729"/>
                  <a:gd name="connsiteX39" fmla="*/ 366593 w 516748"/>
                  <a:gd name="connsiteY39" fmla="*/ 248935 h 513729"/>
                  <a:gd name="connsiteX40" fmla="*/ 298698 w 516748"/>
                  <a:gd name="connsiteY40" fmla="*/ 248935 h 513729"/>
                  <a:gd name="connsiteX41" fmla="*/ 298698 w 516748"/>
                  <a:gd name="connsiteY41" fmla="*/ 270152 h 513729"/>
                  <a:gd name="connsiteX42" fmla="*/ 494786 w 516748"/>
                  <a:gd name="connsiteY42" fmla="*/ 270152 h 513729"/>
                  <a:gd name="connsiteX43" fmla="*/ 466143 w 516748"/>
                  <a:gd name="connsiteY43" fmla="*/ 372715 h 513729"/>
                  <a:gd name="connsiteX44" fmla="*/ 426297 w 516748"/>
                  <a:gd name="connsiteY44" fmla="*/ 363634 h 513729"/>
                  <a:gd name="connsiteX45" fmla="*/ 410639 w 516748"/>
                  <a:gd name="connsiteY45" fmla="*/ 382390 h 513729"/>
                  <a:gd name="connsiteX46" fmla="*/ 454431 w 516748"/>
                  <a:gd name="connsiteY46" fmla="*/ 391386 h 513729"/>
                  <a:gd name="connsiteX47" fmla="*/ 428249 w 516748"/>
                  <a:gd name="connsiteY47" fmla="*/ 423551 h 513729"/>
                  <a:gd name="connsiteX48" fmla="*/ 349068 w 516748"/>
                  <a:gd name="connsiteY48" fmla="*/ 477442 h 513729"/>
                  <a:gd name="connsiteX49" fmla="*/ 318345 w 516748"/>
                  <a:gd name="connsiteY49" fmla="*/ 487753 h 513729"/>
                  <a:gd name="connsiteX50" fmla="*/ 351911 w 516748"/>
                  <a:gd name="connsiteY50" fmla="*/ 437808 h 513729"/>
                  <a:gd name="connsiteX51" fmla="*/ 363325 w 516748"/>
                  <a:gd name="connsiteY51" fmla="*/ 410481 h 513729"/>
                  <a:gd name="connsiteX52" fmla="*/ 357936 w 516748"/>
                  <a:gd name="connsiteY52" fmla="*/ 397199 h 513729"/>
                  <a:gd name="connsiteX53" fmla="*/ 353693 w 516748"/>
                  <a:gd name="connsiteY53" fmla="*/ 387057 h 513729"/>
                  <a:gd name="connsiteX54" fmla="*/ 346521 w 516748"/>
                  <a:gd name="connsiteY54" fmla="*/ 392107 h 513729"/>
                  <a:gd name="connsiteX55" fmla="*/ 332646 w 516748"/>
                  <a:gd name="connsiteY55" fmla="*/ 428558 h 513729"/>
                  <a:gd name="connsiteX56" fmla="*/ 297977 w 516748"/>
                  <a:gd name="connsiteY56" fmla="*/ 477399 h 513729"/>
                  <a:gd name="connsiteX57" fmla="*/ 297553 w 516748"/>
                  <a:gd name="connsiteY57" fmla="*/ 487074 h 513729"/>
                  <a:gd name="connsiteX58" fmla="*/ 128835 w 516748"/>
                  <a:gd name="connsiteY58" fmla="*/ 248765 h 513729"/>
                  <a:gd name="connsiteX59" fmla="*/ 22156 w 516748"/>
                  <a:gd name="connsiteY59" fmla="*/ 248765 h 513729"/>
                  <a:gd name="connsiteX60" fmla="*/ 50799 w 516748"/>
                  <a:gd name="connsiteY60" fmla="*/ 146202 h 513729"/>
                  <a:gd name="connsiteX61" fmla="*/ 138340 w 516748"/>
                  <a:gd name="connsiteY61" fmla="*/ 162200 h 513729"/>
                  <a:gd name="connsiteX62" fmla="*/ 128835 w 516748"/>
                  <a:gd name="connsiteY62" fmla="*/ 248765 h 513729"/>
                  <a:gd name="connsiteX63" fmla="*/ 164904 w 516748"/>
                  <a:gd name="connsiteY63" fmla="*/ 80854 h 513729"/>
                  <a:gd name="connsiteX64" fmla="*/ 143135 w 516748"/>
                  <a:gd name="connsiteY64" fmla="*/ 141237 h 513729"/>
                  <a:gd name="connsiteX65" fmla="*/ 62511 w 516748"/>
                  <a:gd name="connsiteY65" fmla="*/ 127277 h 513729"/>
                  <a:gd name="connsiteX66" fmla="*/ 88735 w 516748"/>
                  <a:gd name="connsiteY66" fmla="*/ 95112 h 513729"/>
                  <a:gd name="connsiteX67" fmla="*/ 198639 w 516748"/>
                  <a:gd name="connsiteY67" fmla="*/ 30909 h 513729"/>
                  <a:gd name="connsiteX68" fmla="*/ 164904 w 516748"/>
                  <a:gd name="connsiteY68" fmla="*/ 80854 h 513729"/>
                  <a:gd name="connsiteX69" fmla="*/ 349068 w 516748"/>
                  <a:gd name="connsiteY69" fmla="*/ 75083 h 513729"/>
                  <a:gd name="connsiteX70" fmla="*/ 318345 w 516748"/>
                  <a:gd name="connsiteY70" fmla="*/ 30909 h 513729"/>
                  <a:gd name="connsiteX71" fmla="*/ 422988 w 516748"/>
                  <a:gd name="connsiteY71" fmla="*/ 89807 h 513729"/>
                  <a:gd name="connsiteX72" fmla="*/ 454516 w 516748"/>
                  <a:gd name="connsiteY72" fmla="*/ 127277 h 513729"/>
                  <a:gd name="connsiteX73" fmla="*/ 373891 w 516748"/>
                  <a:gd name="connsiteY73" fmla="*/ 141237 h 513729"/>
                  <a:gd name="connsiteX74" fmla="*/ 349067 w 516748"/>
                  <a:gd name="connsiteY74" fmla="*/ 75083 h 513729"/>
                  <a:gd name="connsiteX75" fmla="*/ 387937 w 516748"/>
                  <a:gd name="connsiteY75" fmla="*/ 248765 h 513729"/>
                  <a:gd name="connsiteX76" fmla="*/ 378559 w 516748"/>
                  <a:gd name="connsiteY76" fmla="*/ 162157 h 513729"/>
                  <a:gd name="connsiteX77" fmla="*/ 466100 w 516748"/>
                  <a:gd name="connsiteY77" fmla="*/ 146202 h 513729"/>
                  <a:gd name="connsiteX78" fmla="*/ 494786 w 516748"/>
                  <a:gd name="connsiteY78" fmla="*/ 248765 h 5137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</a:cxnLst>
                <a:rect l="l" t="t" r="r" b="b"/>
                <a:pathLst>
                  <a:path w="516748" h="513729">
                    <a:moveTo>
                      <a:pt x="297468" y="513680"/>
                    </a:moveTo>
                    <a:cubicBezTo>
                      <a:pt x="438497" y="492061"/>
                      <a:pt x="535297" y="360209"/>
                      <a:pt x="513678" y="219180"/>
                    </a:cubicBezTo>
                    <a:cubicBezTo>
                      <a:pt x="492059" y="78152"/>
                      <a:pt x="360207" y="-18649"/>
                      <a:pt x="219178" y="2970"/>
                    </a:cubicBezTo>
                    <a:cubicBezTo>
                      <a:pt x="78149" y="24589"/>
                      <a:pt x="-18651" y="156441"/>
                      <a:pt x="2968" y="297470"/>
                    </a:cubicBezTo>
                    <a:cubicBezTo>
                      <a:pt x="19919" y="408045"/>
                      <a:pt x="106112" y="495147"/>
                      <a:pt x="216504" y="513256"/>
                    </a:cubicBezTo>
                    <a:cubicBezTo>
                      <a:pt x="216504" y="509564"/>
                      <a:pt x="216504" y="495391"/>
                      <a:pt x="216504" y="488729"/>
                    </a:cubicBezTo>
                    <a:cubicBezTo>
                      <a:pt x="216504" y="484486"/>
                      <a:pt x="216504" y="480242"/>
                      <a:pt x="216886" y="476211"/>
                    </a:cubicBezTo>
                    <a:cubicBezTo>
                      <a:pt x="204460" y="463871"/>
                      <a:pt x="194203" y="449526"/>
                      <a:pt x="186545" y="433777"/>
                    </a:cubicBezTo>
                    <a:cubicBezTo>
                      <a:pt x="180364" y="421569"/>
                      <a:pt x="175102" y="408917"/>
                      <a:pt x="170802" y="395926"/>
                    </a:cubicBezTo>
                    <a:cubicBezTo>
                      <a:pt x="167790" y="393253"/>
                      <a:pt x="164649" y="390664"/>
                      <a:pt x="161212" y="388161"/>
                    </a:cubicBezTo>
                    <a:lnTo>
                      <a:pt x="157521" y="397114"/>
                    </a:lnTo>
                    <a:lnTo>
                      <a:pt x="152810" y="408741"/>
                    </a:lnTo>
                    <a:cubicBezTo>
                      <a:pt x="156984" y="420650"/>
                      <a:pt x="161931" y="432273"/>
                      <a:pt x="167620" y="443537"/>
                    </a:cubicBezTo>
                    <a:cubicBezTo>
                      <a:pt x="175657" y="459678"/>
                      <a:pt x="186007" y="474559"/>
                      <a:pt x="198342" y="487711"/>
                    </a:cubicBezTo>
                    <a:cubicBezTo>
                      <a:pt x="142819" y="473054"/>
                      <a:pt x="94460" y="438831"/>
                      <a:pt x="62171" y="391343"/>
                    </a:cubicBezTo>
                    <a:cubicBezTo>
                      <a:pt x="71337" y="388925"/>
                      <a:pt x="85595" y="385615"/>
                      <a:pt x="105157" y="382432"/>
                    </a:cubicBezTo>
                    <a:lnTo>
                      <a:pt x="89753" y="363422"/>
                    </a:lnTo>
                    <a:cubicBezTo>
                      <a:pt x="71634" y="366732"/>
                      <a:pt x="58692" y="370041"/>
                      <a:pt x="50587" y="372375"/>
                    </a:cubicBezTo>
                    <a:cubicBezTo>
                      <a:pt x="33279" y="340852"/>
                      <a:pt x="23518" y="305745"/>
                      <a:pt x="22071" y="269812"/>
                    </a:cubicBezTo>
                    <a:lnTo>
                      <a:pt x="216886" y="269812"/>
                    </a:lnTo>
                    <a:lnTo>
                      <a:pt x="216886" y="248595"/>
                    </a:lnTo>
                    <a:lnTo>
                      <a:pt x="150137" y="248595"/>
                    </a:lnTo>
                    <a:cubicBezTo>
                      <a:pt x="150651" y="220244"/>
                      <a:pt x="153805" y="192003"/>
                      <a:pt x="159557" y="164237"/>
                    </a:cubicBezTo>
                    <a:cubicBezTo>
                      <a:pt x="173136" y="165425"/>
                      <a:pt x="187606" y="166316"/>
                      <a:pt x="202628" y="166952"/>
                    </a:cubicBezTo>
                    <a:lnTo>
                      <a:pt x="204495" y="163558"/>
                    </a:lnTo>
                    <a:lnTo>
                      <a:pt x="214127" y="146117"/>
                    </a:lnTo>
                    <a:cubicBezTo>
                      <a:pt x="196814" y="145523"/>
                      <a:pt x="180180" y="144547"/>
                      <a:pt x="164565" y="143274"/>
                    </a:cubicBezTo>
                    <a:cubicBezTo>
                      <a:pt x="169399" y="124987"/>
                      <a:pt x="175920" y="107188"/>
                      <a:pt x="184042" y="90104"/>
                    </a:cubicBezTo>
                    <a:cubicBezTo>
                      <a:pt x="201906" y="53272"/>
                      <a:pt x="224439" y="30103"/>
                      <a:pt x="247693" y="24544"/>
                    </a:cubicBezTo>
                    <a:lnTo>
                      <a:pt x="247693" y="85352"/>
                    </a:lnTo>
                    <a:lnTo>
                      <a:pt x="257750" y="67190"/>
                    </a:lnTo>
                    <a:lnTo>
                      <a:pt x="268952" y="87474"/>
                    </a:lnTo>
                    <a:lnTo>
                      <a:pt x="268952" y="24502"/>
                    </a:lnTo>
                    <a:cubicBezTo>
                      <a:pt x="277983" y="26873"/>
                      <a:pt x="286375" y="31222"/>
                      <a:pt x="293521" y="37232"/>
                    </a:cubicBezTo>
                    <a:cubicBezTo>
                      <a:pt x="308913" y="50423"/>
                      <a:pt x="321361" y="66702"/>
                      <a:pt x="330057" y="85012"/>
                    </a:cubicBezTo>
                    <a:cubicBezTo>
                      <a:pt x="339467" y="103655"/>
                      <a:pt x="346877" y="123242"/>
                      <a:pt x="352165" y="143444"/>
                    </a:cubicBezTo>
                    <a:cubicBezTo>
                      <a:pt x="336252" y="144759"/>
                      <a:pt x="319194" y="145735"/>
                      <a:pt x="301457" y="146329"/>
                    </a:cubicBezTo>
                    <a:lnTo>
                      <a:pt x="312999" y="167207"/>
                    </a:lnTo>
                    <a:cubicBezTo>
                      <a:pt x="328402" y="166528"/>
                      <a:pt x="343296" y="165595"/>
                      <a:pt x="357215" y="164406"/>
                    </a:cubicBezTo>
                    <a:cubicBezTo>
                      <a:pt x="362948" y="192232"/>
                      <a:pt x="366087" y="220529"/>
                      <a:pt x="366593" y="248935"/>
                    </a:cubicBezTo>
                    <a:lnTo>
                      <a:pt x="298698" y="248935"/>
                    </a:lnTo>
                    <a:lnTo>
                      <a:pt x="298698" y="270152"/>
                    </a:lnTo>
                    <a:lnTo>
                      <a:pt x="494786" y="270152"/>
                    </a:lnTo>
                    <a:cubicBezTo>
                      <a:pt x="493298" y="306095"/>
                      <a:pt x="483494" y="341202"/>
                      <a:pt x="466143" y="372715"/>
                    </a:cubicBezTo>
                    <a:cubicBezTo>
                      <a:pt x="453021" y="369023"/>
                      <a:pt x="439723" y="365992"/>
                      <a:pt x="426297" y="363634"/>
                    </a:cubicBezTo>
                    <a:lnTo>
                      <a:pt x="410639" y="382390"/>
                    </a:lnTo>
                    <a:cubicBezTo>
                      <a:pt x="430583" y="385615"/>
                      <a:pt x="445096" y="388925"/>
                      <a:pt x="454431" y="391386"/>
                    </a:cubicBezTo>
                    <a:cubicBezTo>
                      <a:pt x="446656" y="402848"/>
                      <a:pt x="437895" y="413611"/>
                      <a:pt x="428249" y="423551"/>
                    </a:cubicBezTo>
                    <a:cubicBezTo>
                      <a:pt x="405829" y="446752"/>
                      <a:pt x="378877" y="465096"/>
                      <a:pt x="349068" y="477442"/>
                    </a:cubicBezTo>
                    <a:cubicBezTo>
                      <a:pt x="339069" y="481562"/>
                      <a:pt x="328805" y="485007"/>
                      <a:pt x="318345" y="487753"/>
                    </a:cubicBezTo>
                    <a:cubicBezTo>
                      <a:pt x="332094" y="472976"/>
                      <a:pt x="343422" y="456120"/>
                      <a:pt x="351911" y="437808"/>
                    </a:cubicBezTo>
                    <a:cubicBezTo>
                      <a:pt x="356175" y="428898"/>
                      <a:pt x="359984" y="419777"/>
                      <a:pt x="363325" y="410481"/>
                    </a:cubicBezTo>
                    <a:lnTo>
                      <a:pt x="357936" y="397199"/>
                    </a:lnTo>
                    <a:lnTo>
                      <a:pt x="353693" y="387057"/>
                    </a:lnTo>
                    <a:cubicBezTo>
                      <a:pt x="351232" y="388670"/>
                      <a:pt x="348855" y="390367"/>
                      <a:pt x="346521" y="392107"/>
                    </a:cubicBezTo>
                    <a:cubicBezTo>
                      <a:pt x="342556" y="404498"/>
                      <a:pt x="337924" y="416666"/>
                      <a:pt x="332646" y="428558"/>
                    </a:cubicBezTo>
                    <a:cubicBezTo>
                      <a:pt x="324273" y="446879"/>
                      <a:pt x="312510" y="463451"/>
                      <a:pt x="297977" y="477399"/>
                    </a:cubicBezTo>
                    <a:cubicBezTo>
                      <a:pt x="297722" y="480582"/>
                      <a:pt x="297553" y="483764"/>
                      <a:pt x="297553" y="487074"/>
                    </a:cubicBezTo>
                    <a:close/>
                    <a:moveTo>
                      <a:pt x="128835" y="248765"/>
                    </a:moveTo>
                    <a:lnTo>
                      <a:pt x="22156" y="248765"/>
                    </a:lnTo>
                    <a:cubicBezTo>
                      <a:pt x="23650" y="212823"/>
                      <a:pt x="33454" y="177717"/>
                      <a:pt x="50799" y="146202"/>
                    </a:cubicBezTo>
                    <a:cubicBezTo>
                      <a:pt x="79472" y="154011"/>
                      <a:pt x="108759" y="159363"/>
                      <a:pt x="138340" y="162200"/>
                    </a:cubicBezTo>
                    <a:cubicBezTo>
                      <a:pt x="132568" y="190709"/>
                      <a:pt x="129387" y="219682"/>
                      <a:pt x="128835" y="248765"/>
                    </a:cubicBezTo>
                    <a:close/>
                    <a:moveTo>
                      <a:pt x="164904" y="80854"/>
                    </a:moveTo>
                    <a:cubicBezTo>
                      <a:pt x="155692" y="100222"/>
                      <a:pt x="148401" y="120447"/>
                      <a:pt x="143135" y="141237"/>
                    </a:cubicBezTo>
                    <a:cubicBezTo>
                      <a:pt x="115951" y="138595"/>
                      <a:pt x="89001" y="133929"/>
                      <a:pt x="62511" y="127277"/>
                    </a:cubicBezTo>
                    <a:cubicBezTo>
                      <a:pt x="70298" y="115811"/>
                      <a:pt x="79072" y="105048"/>
                      <a:pt x="88735" y="95112"/>
                    </a:cubicBezTo>
                    <a:cubicBezTo>
                      <a:pt x="118804" y="64057"/>
                      <a:pt x="156820" y="41849"/>
                      <a:pt x="198639" y="30909"/>
                    </a:cubicBezTo>
                    <a:cubicBezTo>
                      <a:pt x="184818" y="45664"/>
                      <a:pt x="173430" y="62523"/>
                      <a:pt x="164904" y="80854"/>
                    </a:cubicBezTo>
                    <a:close/>
                    <a:moveTo>
                      <a:pt x="349068" y="75083"/>
                    </a:moveTo>
                    <a:cubicBezTo>
                      <a:pt x="341041" y="58936"/>
                      <a:pt x="330690" y="44053"/>
                      <a:pt x="318345" y="30909"/>
                    </a:cubicBezTo>
                    <a:cubicBezTo>
                      <a:pt x="357721" y="41190"/>
                      <a:pt x="393769" y="61480"/>
                      <a:pt x="422988" y="89807"/>
                    </a:cubicBezTo>
                    <a:cubicBezTo>
                      <a:pt x="434752" y="101185"/>
                      <a:pt x="445316" y="113741"/>
                      <a:pt x="454516" y="127277"/>
                    </a:cubicBezTo>
                    <a:cubicBezTo>
                      <a:pt x="428022" y="133909"/>
                      <a:pt x="401073" y="138576"/>
                      <a:pt x="373891" y="141237"/>
                    </a:cubicBezTo>
                    <a:cubicBezTo>
                      <a:pt x="368062" y="118344"/>
                      <a:pt x="359737" y="96160"/>
                      <a:pt x="349067" y="75083"/>
                    </a:cubicBezTo>
                    <a:close/>
                    <a:moveTo>
                      <a:pt x="387937" y="248765"/>
                    </a:moveTo>
                    <a:cubicBezTo>
                      <a:pt x="387401" y="219674"/>
                      <a:pt x="384263" y="190689"/>
                      <a:pt x="378559" y="162157"/>
                    </a:cubicBezTo>
                    <a:cubicBezTo>
                      <a:pt x="408139" y="159327"/>
                      <a:pt x="437424" y="153989"/>
                      <a:pt x="466100" y="146202"/>
                    </a:cubicBezTo>
                    <a:cubicBezTo>
                      <a:pt x="483468" y="177710"/>
                      <a:pt x="493287" y="212819"/>
                      <a:pt x="494786" y="248765"/>
                    </a:cubicBez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8" name="Freihandform: Form 87">
                <a:extLst>
                  <a:ext uri="{FF2B5EF4-FFF2-40B4-BE49-F238E27FC236}">
                    <a16:creationId xmlns:a16="http://schemas.microsoft.com/office/drawing/2014/main" id="{1B89AA3F-F4DC-4432-8C5E-6EF083F7A7B6}"/>
                  </a:ext>
                </a:extLst>
              </p:cNvPr>
              <p:cNvSpPr/>
              <p:nvPr/>
            </p:nvSpPr>
            <p:spPr>
              <a:xfrm>
                <a:off x="2270099" y="2910673"/>
                <a:ext cx="209923" cy="222778"/>
              </a:xfrm>
              <a:custGeom>
                <a:avLst/>
                <a:gdLst>
                  <a:gd name="connsiteX0" fmla="*/ 100690 w 209923"/>
                  <a:gd name="connsiteY0" fmla="*/ -49 h 222778"/>
                  <a:gd name="connsiteX1" fmla="*/ 112062 w 209923"/>
                  <a:gd name="connsiteY1" fmla="*/ 28594 h 222778"/>
                  <a:gd name="connsiteX2" fmla="*/ 37633 w 209923"/>
                  <a:gd name="connsiteY2" fmla="*/ 86177 h 222778"/>
                  <a:gd name="connsiteX3" fmla="*/ 37124 w 209923"/>
                  <a:gd name="connsiteY3" fmla="*/ 86771 h 222778"/>
                  <a:gd name="connsiteX4" fmla="*/ 14888 w 209923"/>
                  <a:gd name="connsiteY4" fmla="*/ 123094 h 222778"/>
                  <a:gd name="connsiteX5" fmla="*/ 13870 w 209923"/>
                  <a:gd name="connsiteY5" fmla="*/ 125513 h 222778"/>
                  <a:gd name="connsiteX6" fmla="*/ 12045 w 209923"/>
                  <a:gd name="connsiteY6" fmla="*/ 129757 h 222778"/>
                  <a:gd name="connsiteX7" fmla="*/ 6019 w 209923"/>
                  <a:gd name="connsiteY7" fmla="*/ 148385 h 222778"/>
                  <a:gd name="connsiteX8" fmla="*/ -49 w 209923"/>
                  <a:gd name="connsiteY8" fmla="*/ 196760 h 222778"/>
                  <a:gd name="connsiteX9" fmla="*/ -49 w 209923"/>
                  <a:gd name="connsiteY9" fmla="*/ 222729 h 222778"/>
                  <a:gd name="connsiteX10" fmla="*/ 38481 w 209923"/>
                  <a:gd name="connsiteY10" fmla="*/ 222729 h 222778"/>
                  <a:gd name="connsiteX11" fmla="*/ 38736 w 209923"/>
                  <a:gd name="connsiteY11" fmla="*/ 195232 h 222778"/>
                  <a:gd name="connsiteX12" fmla="*/ 126617 w 209923"/>
                  <a:gd name="connsiteY12" fmla="*/ 64663 h 222778"/>
                  <a:gd name="connsiteX13" fmla="*/ 139899 w 209923"/>
                  <a:gd name="connsiteY13" fmla="*/ 97379 h 222778"/>
                  <a:gd name="connsiteX14" fmla="*/ 209872 w 209923"/>
                  <a:gd name="connsiteY14" fmla="*/ 11833 h 222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09923" h="222778">
                    <a:moveTo>
                      <a:pt x="100690" y="-49"/>
                    </a:moveTo>
                    <a:cubicBezTo>
                      <a:pt x="100690" y="-49"/>
                      <a:pt x="108073" y="18452"/>
                      <a:pt x="112062" y="28594"/>
                    </a:cubicBezTo>
                    <a:cubicBezTo>
                      <a:pt x="83410" y="42229"/>
                      <a:pt x="58026" y="61867"/>
                      <a:pt x="37633" y="86177"/>
                    </a:cubicBezTo>
                    <a:lnTo>
                      <a:pt x="37124" y="86771"/>
                    </a:lnTo>
                    <a:cubicBezTo>
                      <a:pt x="28249" y="97920"/>
                      <a:pt x="20781" y="110120"/>
                      <a:pt x="14888" y="123094"/>
                    </a:cubicBezTo>
                    <a:lnTo>
                      <a:pt x="13870" y="125513"/>
                    </a:lnTo>
                    <a:lnTo>
                      <a:pt x="12045" y="129757"/>
                    </a:lnTo>
                    <a:cubicBezTo>
                      <a:pt x="9650" y="135834"/>
                      <a:pt x="7637" y="142056"/>
                      <a:pt x="6019" y="148385"/>
                    </a:cubicBezTo>
                    <a:cubicBezTo>
                      <a:pt x="1904" y="164178"/>
                      <a:pt x="-136" y="180440"/>
                      <a:pt x="-49" y="196760"/>
                    </a:cubicBezTo>
                    <a:cubicBezTo>
                      <a:pt x="-49" y="203719"/>
                      <a:pt x="-49" y="221753"/>
                      <a:pt x="-49" y="222729"/>
                    </a:cubicBezTo>
                    <a:lnTo>
                      <a:pt x="38481" y="222729"/>
                    </a:lnTo>
                    <a:cubicBezTo>
                      <a:pt x="38481" y="221244"/>
                      <a:pt x="38736" y="206223"/>
                      <a:pt x="38736" y="195232"/>
                    </a:cubicBezTo>
                    <a:cubicBezTo>
                      <a:pt x="38736" y="135358"/>
                      <a:pt x="72047" y="92160"/>
                      <a:pt x="126617" y="64663"/>
                    </a:cubicBezTo>
                    <a:lnTo>
                      <a:pt x="139899" y="97379"/>
                    </a:lnTo>
                    <a:lnTo>
                      <a:pt x="209872" y="11833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93" name="Gruppieren 92">
            <a:extLst>
              <a:ext uri="{FF2B5EF4-FFF2-40B4-BE49-F238E27FC236}">
                <a16:creationId xmlns:a16="http://schemas.microsoft.com/office/drawing/2014/main" id="{F11BC94E-3B8F-49B1-A127-180100C12215}"/>
              </a:ext>
            </a:extLst>
          </p:cNvPr>
          <p:cNvGrpSpPr/>
          <p:nvPr/>
        </p:nvGrpSpPr>
        <p:grpSpPr>
          <a:xfrm>
            <a:off x="5720046" y="2500122"/>
            <a:ext cx="755830" cy="755976"/>
            <a:chOff x="5720046" y="2500122"/>
            <a:chExt cx="755830" cy="755976"/>
          </a:xfrm>
        </p:grpSpPr>
        <p:grpSp>
          <p:nvGrpSpPr>
            <p:cNvPr id="94" name="Grafik 79">
              <a:extLst>
                <a:ext uri="{FF2B5EF4-FFF2-40B4-BE49-F238E27FC236}">
                  <a16:creationId xmlns:a16="http://schemas.microsoft.com/office/drawing/2014/main" id="{DB54FBC8-4566-4E52-989D-7FA0BF089CB3}"/>
                </a:ext>
              </a:extLst>
            </p:cNvPr>
            <p:cNvGrpSpPr/>
            <p:nvPr/>
          </p:nvGrpSpPr>
          <p:grpSpPr>
            <a:xfrm>
              <a:off x="5720046" y="2500122"/>
              <a:ext cx="755830" cy="755976"/>
              <a:chOff x="5720046" y="2500122"/>
              <a:chExt cx="755830" cy="755976"/>
            </a:xfrm>
          </p:grpSpPr>
          <p:sp>
            <p:nvSpPr>
              <p:cNvPr id="99" name="Freihandform: Form 98">
                <a:extLst>
                  <a:ext uri="{FF2B5EF4-FFF2-40B4-BE49-F238E27FC236}">
                    <a16:creationId xmlns:a16="http://schemas.microsoft.com/office/drawing/2014/main" id="{0A36035E-D763-4B4B-B156-8C53112DF984}"/>
                  </a:ext>
                </a:extLst>
              </p:cNvPr>
              <p:cNvSpPr/>
              <p:nvPr/>
            </p:nvSpPr>
            <p:spPr>
              <a:xfrm>
                <a:off x="5720046" y="2500122"/>
                <a:ext cx="683436" cy="466182"/>
              </a:xfrm>
              <a:custGeom>
                <a:avLst/>
                <a:gdLst>
                  <a:gd name="connsiteX0" fmla="*/ 10556 w 683436"/>
                  <a:gd name="connsiteY0" fmla="*/ 466133 h 466182"/>
                  <a:gd name="connsiteX1" fmla="*/ 289200 w 683436"/>
                  <a:gd name="connsiteY1" fmla="*/ 10485 h 466182"/>
                  <a:gd name="connsiteX2" fmla="*/ 683389 w 683436"/>
                  <a:gd name="connsiteY2" fmla="*/ 155856 h 466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36" h="466182">
                    <a:moveTo>
                      <a:pt x="10556" y="466133"/>
                    </a:moveTo>
                    <a:cubicBezTo>
                      <a:pt x="-38322" y="263364"/>
                      <a:pt x="86431" y="59364"/>
                      <a:pt x="289200" y="10485"/>
                    </a:cubicBezTo>
                    <a:cubicBezTo>
                      <a:pt x="437911" y="-25362"/>
                      <a:pt x="593560" y="32039"/>
                      <a:pt x="683389" y="155856"/>
                    </a:cubicBezTo>
                  </a:path>
                </a:pathLst>
              </a:custGeom>
              <a:noFill/>
              <a:ln w="33594" cap="flat">
                <a:solidFill>
                  <a:srgbClr val="1D1D1B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0" name="Freihandform: Form 99">
                <a:extLst>
                  <a:ext uri="{FF2B5EF4-FFF2-40B4-BE49-F238E27FC236}">
                    <a16:creationId xmlns:a16="http://schemas.microsoft.com/office/drawing/2014/main" id="{4812582D-9FFE-493A-B26C-A8DB5B310D70}"/>
                  </a:ext>
                </a:extLst>
              </p:cNvPr>
              <p:cNvSpPr/>
              <p:nvPr/>
            </p:nvSpPr>
            <p:spPr>
              <a:xfrm>
                <a:off x="6351416" y="2617539"/>
                <a:ext cx="89068" cy="101502"/>
              </a:xfrm>
              <a:custGeom>
                <a:avLst/>
                <a:gdLst>
                  <a:gd name="connsiteX0" fmla="*/ 0 w 89068"/>
                  <a:gd name="connsiteY0" fmla="*/ 52788 h 101502"/>
                  <a:gd name="connsiteX1" fmla="*/ 89069 w 89068"/>
                  <a:gd name="connsiteY1" fmla="*/ 101502 h 101502"/>
                  <a:gd name="connsiteX2" fmla="*/ 86735 w 89068"/>
                  <a:gd name="connsiteY2" fmla="*/ 0 h 101502"/>
                  <a:gd name="connsiteX3" fmla="*/ 0 w 89068"/>
                  <a:gd name="connsiteY3" fmla="*/ 52788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0" y="52788"/>
                    </a:moveTo>
                    <a:lnTo>
                      <a:pt x="89069" y="101502"/>
                    </a:lnTo>
                    <a:lnTo>
                      <a:pt x="86735" y="0"/>
                    </a:lnTo>
                    <a:lnTo>
                      <a:pt x="0" y="52788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1" name="Freihandform: Form 100">
                <a:extLst>
                  <a:ext uri="{FF2B5EF4-FFF2-40B4-BE49-F238E27FC236}">
                    <a16:creationId xmlns:a16="http://schemas.microsoft.com/office/drawing/2014/main" id="{721D8888-6095-4E25-9437-A475E038008F}"/>
                  </a:ext>
                </a:extLst>
              </p:cNvPr>
              <p:cNvSpPr/>
              <p:nvPr/>
            </p:nvSpPr>
            <p:spPr>
              <a:xfrm>
                <a:off x="5792433" y="2790415"/>
                <a:ext cx="683443" cy="465683"/>
              </a:xfrm>
              <a:custGeom>
                <a:avLst/>
                <a:gdLst>
                  <a:gd name="connsiteX0" fmla="*/ 672913 w 683443"/>
                  <a:gd name="connsiteY0" fmla="*/ -49 h 465683"/>
                  <a:gd name="connsiteX1" fmla="*/ 393650 w 683443"/>
                  <a:gd name="connsiteY1" fmla="*/ 455220 h 465683"/>
                  <a:gd name="connsiteX2" fmla="*/ -47 w 683443"/>
                  <a:gd name="connsiteY2" fmla="*/ 309719 h 465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43" h="465683">
                    <a:moveTo>
                      <a:pt x="672913" y="-49"/>
                    </a:moveTo>
                    <a:cubicBezTo>
                      <a:pt x="721516" y="202786"/>
                      <a:pt x="596485" y="406617"/>
                      <a:pt x="393650" y="455220"/>
                    </a:cubicBezTo>
                    <a:cubicBezTo>
                      <a:pt x="245067" y="490822"/>
                      <a:pt x="89671" y="433392"/>
                      <a:pt x="-47" y="309719"/>
                    </a:cubicBezTo>
                  </a:path>
                </a:pathLst>
              </a:custGeom>
              <a:noFill/>
              <a:ln w="33594" cap="flat">
                <a:solidFill>
                  <a:srgbClr val="1D1D1B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2" name="Freihandform: Form 101">
                <a:extLst>
                  <a:ext uri="{FF2B5EF4-FFF2-40B4-BE49-F238E27FC236}">
                    <a16:creationId xmlns:a16="http://schemas.microsoft.com/office/drawing/2014/main" id="{6F36BAE8-A09F-4A2F-A367-8CAC95685F0E}"/>
                  </a:ext>
                </a:extLst>
              </p:cNvPr>
              <p:cNvSpPr/>
              <p:nvPr/>
            </p:nvSpPr>
            <p:spPr>
              <a:xfrm>
                <a:off x="5755473" y="3037254"/>
                <a:ext cx="89068" cy="101502"/>
              </a:xfrm>
              <a:custGeom>
                <a:avLst/>
                <a:gdLst>
                  <a:gd name="connsiteX0" fmla="*/ 89069 w 89068"/>
                  <a:gd name="connsiteY0" fmla="*/ 48714 h 101502"/>
                  <a:gd name="connsiteX1" fmla="*/ 0 w 89068"/>
                  <a:gd name="connsiteY1" fmla="*/ 0 h 101502"/>
                  <a:gd name="connsiteX2" fmla="*/ 2334 w 89068"/>
                  <a:gd name="connsiteY2" fmla="*/ 101502 h 101502"/>
                  <a:gd name="connsiteX3" fmla="*/ 89069 w 89068"/>
                  <a:gd name="connsiteY3" fmla="*/ 48714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89069" y="48714"/>
                    </a:moveTo>
                    <a:lnTo>
                      <a:pt x="0" y="0"/>
                    </a:lnTo>
                    <a:lnTo>
                      <a:pt x="2334" y="101502"/>
                    </a:lnTo>
                    <a:lnTo>
                      <a:pt x="89069" y="48714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96" name="Grafik 79">
              <a:extLst>
                <a:ext uri="{FF2B5EF4-FFF2-40B4-BE49-F238E27FC236}">
                  <a16:creationId xmlns:a16="http://schemas.microsoft.com/office/drawing/2014/main" id="{9700CE2E-81A2-40AD-B3A8-FE7C06E7139A}"/>
                </a:ext>
              </a:extLst>
            </p:cNvPr>
            <p:cNvGrpSpPr/>
            <p:nvPr/>
          </p:nvGrpSpPr>
          <p:grpSpPr>
            <a:xfrm>
              <a:off x="5846748" y="2639817"/>
              <a:ext cx="457845" cy="501883"/>
              <a:chOff x="5846748" y="2639817"/>
              <a:chExt cx="457845" cy="501883"/>
            </a:xfrm>
            <a:solidFill>
              <a:srgbClr val="1D1D1B"/>
            </a:solidFill>
          </p:grpSpPr>
          <p:sp>
            <p:nvSpPr>
              <p:cNvPr id="97" name="Freihandform: Form 96">
                <a:extLst>
                  <a:ext uri="{FF2B5EF4-FFF2-40B4-BE49-F238E27FC236}">
                    <a16:creationId xmlns:a16="http://schemas.microsoft.com/office/drawing/2014/main" id="{BF64CBDB-9D4A-42AF-800D-C3A3A5767F05}"/>
                  </a:ext>
                </a:extLst>
              </p:cNvPr>
              <p:cNvSpPr/>
              <p:nvPr/>
            </p:nvSpPr>
            <p:spPr>
              <a:xfrm>
                <a:off x="5846748" y="2639817"/>
                <a:ext cx="457845" cy="501883"/>
              </a:xfrm>
              <a:custGeom>
                <a:avLst/>
                <a:gdLst>
                  <a:gd name="connsiteX0" fmla="*/ 455991 w 457845"/>
                  <a:gd name="connsiteY0" fmla="*/ 100647 h 501883"/>
                  <a:gd name="connsiteX1" fmla="*/ 401930 w 457845"/>
                  <a:gd name="connsiteY1" fmla="*/ 7292 h 501883"/>
                  <a:gd name="connsiteX2" fmla="*/ 390048 w 457845"/>
                  <a:gd name="connsiteY2" fmla="*/ -49 h 501883"/>
                  <a:gd name="connsiteX3" fmla="*/ 281842 w 457845"/>
                  <a:gd name="connsiteY3" fmla="*/ -49 h 501883"/>
                  <a:gd name="connsiteX4" fmla="*/ 269833 w 457845"/>
                  <a:gd name="connsiteY4" fmla="*/ 6910 h 501883"/>
                  <a:gd name="connsiteX5" fmla="*/ 219803 w 457845"/>
                  <a:gd name="connsiteY5" fmla="*/ 93518 h 501883"/>
                  <a:gd name="connsiteX6" fmla="*/ 125897 w 457845"/>
                  <a:gd name="connsiteY6" fmla="*/ 93518 h 501883"/>
                  <a:gd name="connsiteX7" fmla="*/ 100691 w 457845"/>
                  <a:gd name="connsiteY7" fmla="*/ 50023 h 501883"/>
                  <a:gd name="connsiteX8" fmla="*/ 88767 w 457845"/>
                  <a:gd name="connsiteY8" fmla="*/ 43106 h 501883"/>
                  <a:gd name="connsiteX9" fmla="*/ 74880 w 457845"/>
                  <a:gd name="connsiteY9" fmla="*/ 56886 h 501883"/>
                  <a:gd name="connsiteX10" fmla="*/ 76758 w 457845"/>
                  <a:gd name="connsiteY10" fmla="*/ 63899 h 501883"/>
                  <a:gd name="connsiteX11" fmla="*/ 102728 w 457845"/>
                  <a:gd name="connsiteY11" fmla="*/ 108921 h 501883"/>
                  <a:gd name="connsiteX12" fmla="*/ 57493 w 457845"/>
                  <a:gd name="connsiteY12" fmla="*/ 187212 h 501883"/>
                  <a:gd name="connsiteX13" fmla="*/ 13829 w 457845"/>
                  <a:gd name="connsiteY13" fmla="*/ 187212 h 501883"/>
                  <a:gd name="connsiteX14" fmla="*/ -47 w 457845"/>
                  <a:gd name="connsiteY14" fmla="*/ 201088 h 501883"/>
                  <a:gd name="connsiteX15" fmla="*/ 13829 w 457845"/>
                  <a:gd name="connsiteY15" fmla="*/ 214964 h 501883"/>
                  <a:gd name="connsiteX16" fmla="*/ 57239 w 457845"/>
                  <a:gd name="connsiteY16" fmla="*/ 214964 h 501883"/>
                  <a:gd name="connsiteX17" fmla="*/ 103152 w 457845"/>
                  <a:gd name="connsiteY17" fmla="*/ 294443 h 501883"/>
                  <a:gd name="connsiteX18" fmla="*/ 81171 w 457845"/>
                  <a:gd name="connsiteY18" fmla="*/ 332633 h 501883"/>
                  <a:gd name="connsiteX19" fmla="*/ 86844 w 457845"/>
                  <a:gd name="connsiteY19" fmla="*/ 351419 h 501883"/>
                  <a:gd name="connsiteX20" fmla="*/ 105189 w 457845"/>
                  <a:gd name="connsiteY20" fmla="*/ 346509 h 501883"/>
                  <a:gd name="connsiteX21" fmla="*/ 127043 w 457845"/>
                  <a:gd name="connsiteY21" fmla="*/ 308743 h 501883"/>
                  <a:gd name="connsiteX22" fmla="*/ 212165 w 457845"/>
                  <a:gd name="connsiteY22" fmla="*/ 308743 h 501883"/>
                  <a:gd name="connsiteX23" fmla="*/ 186026 w 457845"/>
                  <a:gd name="connsiteY23" fmla="*/ 369636 h 501883"/>
                  <a:gd name="connsiteX24" fmla="*/ 184031 w 457845"/>
                  <a:gd name="connsiteY24" fmla="*/ 374303 h 501883"/>
                  <a:gd name="connsiteX25" fmla="*/ 154328 w 457845"/>
                  <a:gd name="connsiteY25" fmla="*/ 443895 h 501883"/>
                  <a:gd name="connsiteX26" fmla="*/ 165742 w 457845"/>
                  <a:gd name="connsiteY26" fmla="*/ 492822 h 501883"/>
                  <a:gd name="connsiteX27" fmla="*/ 193706 w 457845"/>
                  <a:gd name="connsiteY27" fmla="*/ 501733 h 501883"/>
                  <a:gd name="connsiteX28" fmla="*/ 354574 w 457845"/>
                  <a:gd name="connsiteY28" fmla="*/ 501733 h 501883"/>
                  <a:gd name="connsiteX29" fmla="*/ 381392 w 457845"/>
                  <a:gd name="connsiteY29" fmla="*/ 492991 h 501883"/>
                  <a:gd name="connsiteX30" fmla="*/ 392807 w 457845"/>
                  <a:gd name="connsiteY30" fmla="*/ 443131 h 501883"/>
                  <a:gd name="connsiteX31" fmla="*/ 331617 w 457845"/>
                  <a:gd name="connsiteY31" fmla="*/ 300214 h 501883"/>
                  <a:gd name="connsiteX32" fmla="*/ 328137 w 457845"/>
                  <a:gd name="connsiteY32" fmla="*/ 284725 h 501883"/>
                  <a:gd name="connsiteX33" fmla="*/ 328137 w 457845"/>
                  <a:gd name="connsiteY33" fmla="*/ 215176 h 501883"/>
                  <a:gd name="connsiteX34" fmla="*/ 382495 w 457845"/>
                  <a:gd name="connsiteY34" fmla="*/ 215176 h 501883"/>
                  <a:gd name="connsiteX35" fmla="*/ 405409 w 457845"/>
                  <a:gd name="connsiteY35" fmla="*/ 254852 h 501883"/>
                  <a:gd name="connsiteX36" fmla="*/ 424377 w 457845"/>
                  <a:gd name="connsiteY36" fmla="*/ 259901 h 501883"/>
                  <a:gd name="connsiteX37" fmla="*/ 429427 w 457845"/>
                  <a:gd name="connsiteY37" fmla="*/ 240933 h 501883"/>
                  <a:gd name="connsiteX38" fmla="*/ 406343 w 457845"/>
                  <a:gd name="connsiteY38" fmla="*/ 200961 h 501883"/>
                  <a:gd name="connsiteX39" fmla="*/ 455991 w 457845"/>
                  <a:gd name="connsiteY39" fmla="*/ 114523 h 501883"/>
                  <a:gd name="connsiteX40" fmla="*/ 455991 w 457845"/>
                  <a:gd name="connsiteY40" fmla="*/ 100647 h 501883"/>
                  <a:gd name="connsiteX41" fmla="*/ 245773 w 457845"/>
                  <a:gd name="connsiteY41" fmla="*/ 271995 h 501883"/>
                  <a:gd name="connsiteX42" fmla="*/ 245773 w 457845"/>
                  <a:gd name="connsiteY42" fmla="*/ 262999 h 501883"/>
                  <a:gd name="connsiteX43" fmla="*/ 245773 w 457845"/>
                  <a:gd name="connsiteY43" fmla="*/ 172445 h 501883"/>
                  <a:gd name="connsiteX44" fmla="*/ 302040 w 457845"/>
                  <a:gd name="connsiteY44" fmla="*/ 172445 h 501883"/>
                  <a:gd name="connsiteX45" fmla="*/ 302040 w 457845"/>
                  <a:gd name="connsiteY45" fmla="*/ 211824 h 501883"/>
                  <a:gd name="connsiteX46" fmla="*/ 302040 w 457845"/>
                  <a:gd name="connsiteY46" fmla="*/ 274584 h 501883"/>
                  <a:gd name="connsiteX47" fmla="*/ 311758 w 457845"/>
                  <a:gd name="connsiteY47" fmla="*/ 321813 h 501883"/>
                  <a:gd name="connsiteX48" fmla="*/ 360217 w 457845"/>
                  <a:gd name="connsiteY48" fmla="*/ 434517 h 501883"/>
                  <a:gd name="connsiteX49" fmla="*/ 367346 w 457845"/>
                  <a:gd name="connsiteY49" fmla="*/ 451491 h 501883"/>
                  <a:gd name="connsiteX50" fmla="*/ 367346 w 457845"/>
                  <a:gd name="connsiteY50" fmla="*/ 451491 h 501883"/>
                  <a:gd name="connsiteX51" fmla="*/ 370316 w 457845"/>
                  <a:gd name="connsiteY51" fmla="*/ 463500 h 501883"/>
                  <a:gd name="connsiteX52" fmla="*/ 355465 w 457845"/>
                  <a:gd name="connsiteY52" fmla="*/ 474872 h 501883"/>
                  <a:gd name="connsiteX53" fmla="*/ 257654 w 457845"/>
                  <a:gd name="connsiteY53" fmla="*/ 474872 h 501883"/>
                  <a:gd name="connsiteX54" fmla="*/ 194385 w 457845"/>
                  <a:gd name="connsiteY54" fmla="*/ 474872 h 501883"/>
                  <a:gd name="connsiteX55" fmla="*/ 182419 w 457845"/>
                  <a:gd name="connsiteY55" fmla="*/ 472029 h 501883"/>
                  <a:gd name="connsiteX56" fmla="*/ 178770 w 457845"/>
                  <a:gd name="connsiteY56" fmla="*/ 454461 h 501883"/>
                  <a:gd name="connsiteX57" fmla="*/ 238432 w 457845"/>
                  <a:gd name="connsiteY57" fmla="*/ 316169 h 501883"/>
                  <a:gd name="connsiteX58" fmla="*/ 245773 w 457845"/>
                  <a:gd name="connsiteY58" fmla="*/ 271995 h 501883"/>
                  <a:gd name="connsiteX59" fmla="*/ 218191 w 457845"/>
                  <a:gd name="connsiteY59" fmla="*/ 172318 h 501883"/>
                  <a:gd name="connsiteX60" fmla="*/ 219676 w 457845"/>
                  <a:gd name="connsiteY60" fmla="*/ 172318 h 501883"/>
                  <a:gd name="connsiteX61" fmla="*/ 219676 w 457845"/>
                  <a:gd name="connsiteY61" fmla="*/ 175161 h 501883"/>
                  <a:gd name="connsiteX62" fmla="*/ 219676 w 457845"/>
                  <a:gd name="connsiteY62" fmla="*/ 202021 h 501883"/>
                  <a:gd name="connsiteX63" fmla="*/ 219676 w 457845"/>
                  <a:gd name="connsiteY63" fmla="*/ 215049 h 501883"/>
                  <a:gd name="connsiteX64" fmla="*/ 219676 w 457845"/>
                  <a:gd name="connsiteY64" fmla="*/ 280652 h 501883"/>
                  <a:gd name="connsiteX65" fmla="*/ 219336 w 457845"/>
                  <a:gd name="connsiteY65" fmla="*/ 280652 h 501883"/>
                  <a:gd name="connsiteX66" fmla="*/ 127467 w 457845"/>
                  <a:gd name="connsiteY66" fmla="*/ 280652 h 501883"/>
                  <a:gd name="connsiteX67" fmla="*/ 81553 w 457845"/>
                  <a:gd name="connsiteY67" fmla="*/ 201300 h 501883"/>
                  <a:gd name="connsiteX68" fmla="*/ 81553 w 457845"/>
                  <a:gd name="connsiteY68" fmla="*/ 201003 h 501883"/>
                  <a:gd name="connsiteX69" fmla="*/ 127467 w 457845"/>
                  <a:gd name="connsiteY69" fmla="*/ 121439 h 501883"/>
                  <a:gd name="connsiteX70" fmla="*/ 219506 w 457845"/>
                  <a:gd name="connsiteY70" fmla="*/ 121439 h 501883"/>
                  <a:gd name="connsiteX71" fmla="*/ 234019 w 457845"/>
                  <a:gd name="connsiteY71" fmla="*/ 146348 h 501883"/>
                  <a:gd name="connsiteX72" fmla="*/ 219167 w 457845"/>
                  <a:gd name="connsiteY72" fmla="*/ 146348 h 501883"/>
                  <a:gd name="connsiteX73" fmla="*/ 209152 w 457845"/>
                  <a:gd name="connsiteY73" fmla="*/ 150210 h 501883"/>
                  <a:gd name="connsiteX74" fmla="*/ 205588 w 457845"/>
                  <a:gd name="connsiteY74" fmla="*/ 159460 h 501883"/>
                  <a:gd name="connsiteX75" fmla="*/ 217242 w 457845"/>
                  <a:gd name="connsiteY75" fmla="*/ 172304 h 501883"/>
                  <a:gd name="connsiteX76" fmla="*/ 217979 w 457845"/>
                  <a:gd name="connsiteY76" fmla="*/ 172318 h 501883"/>
                  <a:gd name="connsiteX77" fmla="*/ 328222 w 457845"/>
                  <a:gd name="connsiteY77" fmla="*/ 184326 h 501883"/>
                  <a:gd name="connsiteX78" fmla="*/ 328222 w 457845"/>
                  <a:gd name="connsiteY78" fmla="*/ 176604 h 501883"/>
                  <a:gd name="connsiteX79" fmla="*/ 328222 w 457845"/>
                  <a:gd name="connsiteY79" fmla="*/ 172360 h 501883"/>
                  <a:gd name="connsiteX80" fmla="*/ 330047 w 457845"/>
                  <a:gd name="connsiteY80" fmla="*/ 172360 h 501883"/>
                  <a:gd name="connsiteX81" fmla="*/ 341813 w 457845"/>
                  <a:gd name="connsiteY81" fmla="*/ 160365 h 501883"/>
                  <a:gd name="connsiteX82" fmla="*/ 341801 w 457845"/>
                  <a:gd name="connsiteY82" fmla="*/ 159927 h 501883"/>
                  <a:gd name="connsiteX83" fmla="*/ 338194 w 457845"/>
                  <a:gd name="connsiteY83" fmla="*/ 150040 h 501883"/>
                  <a:gd name="connsiteX84" fmla="*/ 329707 w 457845"/>
                  <a:gd name="connsiteY84" fmla="*/ 146560 h 501883"/>
                  <a:gd name="connsiteX85" fmla="*/ 266693 w 457845"/>
                  <a:gd name="connsiteY85" fmla="*/ 146560 h 501883"/>
                  <a:gd name="connsiteX86" fmla="*/ 244160 w 457845"/>
                  <a:gd name="connsiteY86" fmla="*/ 107818 h 501883"/>
                  <a:gd name="connsiteX87" fmla="*/ 290159 w 457845"/>
                  <a:gd name="connsiteY87" fmla="*/ 28127 h 501883"/>
                  <a:gd name="connsiteX88" fmla="*/ 382198 w 457845"/>
                  <a:gd name="connsiteY88" fmla="*/ 28127 h 501883"/>
                  <a:gd name="connsiteX89" fmla="*/ 428197 w 457845"/>
                  <a:gd name="connsiteY89" fmla="*/ 107818 h 501883"/>
                  <a:gd name="connsiteX90" fmla="*/ 382198 w 457845"/>
                  <a:gd name="connsiteY90" fmla="*/ 187509 h 501883"/>
                  <a:gd name="connsiteX91" fmla="*/ 328307 w 457845"/>
                  <a:gd name="connsiteY91" fmla="*/ 187509 h 501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</a:cxnLst>
                <a:rect l="l" t="t" r="r" b="b"/>
                <a:pathLst>
                  <a:path w="457845" h="501883">
                    <a:moveTo>
                      <a:pt x="455991" y="100647"/>
                    </a:moveTo>
                    <a:lnTo>
                      <a:pt x="401930" y="7292"/>
                    </a:lnTo>
                    <a:cubicBezTo>
                      <a:pt x="399573" y="2891"/>
                      <a:pt x="395039" y="90"/>
                      <a:pt x="390048" y="-49"/>
                    </a:cubicBezTo>
                    <a:lnTo>
                      <a:pt x="281842" y="-49"/>
                    </a:lnTo>
                    <a:cubicBezTo>
                      <a:pt x="276883" y="-42"/>
                      <a:pt x="272305" y="2611"/>
                      <a:pt x="269833" y="6910"/>
                    </a:cubicBezTo>
                    <a:lnTo>
                      <a:pt x="219803" y="93518"/>
                    </a:lnTo>
                    <a:lnTo>
                      <a:pt x="125897" y="93518"/>
                    </a:lnTo>
                    <a:lnTo>
                      <a:pt x="100691" y="50023"/>
                    </a:lnTo>
                    <a:cubicBezTo>
                      <a:pt x="98217" y="45773"/>
                      <a:pt x="93685" y="43143"/>
                      <a:pt x="88767" y="43106"/>
                    </a:cubicBezTo>
                    <a:cubicBezTo>
                      <a:pt x="81127" y="43077"/>
                      <a:pt x="74910" y="49246"/>
                      <a:pt x="74880" y="56886"/>
                    </a:cubicBezTo>
                    <a:cubicBezTo>
                      <a:pt x="74871" y="59349"/>
                      <a:pt x="75519" y="61770"/>
                      <a:pt x="76758" y="63899"/>
                    </a:cubicBezTo>
                    <a:lnTo>
                      <a:pt x="102728" y="108921"/>
                    </a:lnTo>
                    <a:lnTo>
                      <a:pt x="57493" y="187212"/>
                    </a:lnTo>
                    <a:lnTo>
                      <a:pt x="13829" y="187212"/>
                    </a:lnTo>
                    <a:cubicBezTo>
                      <a:pt x="6165" y="187212"/>
                      <a:pt x="-47" y="193425"/>
                      <a:pt x="-47" y="201088"/>
                    </a:cubicBezTo>
                    <a:cubicBezTo>
                      <a:pt x="-47" y="208751"/>
                      <a:pt x="6165" y="214964"/>
                      <a:pt x="13829" y="214964"/>
                    </a:cubicBezTo>
                    <a:lnTo>
                      <a:pt x="57239" y="214964"/>
                    </a:lnTo>
                    <a:lnTo>
                      <a:pt x="103152" y="294443"/>
                    </a:lnTo>
                    <a:lnTo>
                      <a:pt x="81171" y="332633"/>
                    </a:lnTo>
                    <a:cubicBezTo>
                      <a:pt x="77550" y="339387"/>
                      <a:pt x="80090" y="347798"/>
                      <a:pt x="86844" y="351419"/>
                    </a:cubicBezTo>
                    <a:cubicBezTo>
                      <a:pt x="93297" y="354879"/>
                      <a:pt x="101327" y="352729"/>
                      <a:pt x="105189" y="346509"/>
                    </a:cubicBezTo>
                    <a:lnTo>
                      <a:pt x="127043" y="308743"/>
                    </a:lnTo>
                    <a:lnTo>
                      <a:pt x="212165" y="308743"/>
                    </a:lnTo>
                    <a:cubicBezTo>
                      <a:pt x="205885" y="323255"/>
                      <a:pt x="195955" y="346467"/>
                      <a:pt x="186026" y="369636"/>
                    </a:cubicBezTo>
                    <a:lnTo>
                      <a:pt x="184031" y="374303"/>
                    </a:lnTo>
                    <a:cubicBezTo>
                      <a:pt x="171726" y="403031"/>
                      <a:pt x="158995" y="432777"/>
                      <a:pt x="154328" y="443895"/>
                    </a:cubicBezTo>
                    <a:cubicBezTo>
                      <a:pt x="146145" y="460858"/>
                      <a:pt x="150898" y="481231"/>
                      <a:pt x="165742" y="492822"/>
                    </a:cubicBezTo>
                    <a:cubicBezTo>
                      <a:pt x="173716" y="499007"/>
                      <a:pt x="183624" y="502164"/>
                      <a:pt x="193706" y="501733"/>
                    </a:cubicBezTo>
                    <a:lnTo>
                      <a:pt x="354574" y="501733"/>
                    </a:lnTo>
                    <a:cubicBezTo>
                      <a:pt x="364314" y="502455"/>
                      <a:pt x="373948" y="499315"/>
                      <a:pt x="381392" y="492991"/>
                    </a:cubicBezTo>
                    <a:cubicBezTo>
                      <a:pt x="396838" y="480813"/>
                      <a:pt x="401081" y="462184"/>
                      <a:pt x="392807" y="443131"/>
                    </a:cubicBezTo>
                    <a:cubicBezTo>
                      <a:pt x="372735" y="396836"/>
                      <a:pt x="352155" y="348758"/>
                      <a:pt x="331617" y="300214"/>
                    </a:cubicBezTo>
                    <a:cubicBezTo>
                      <a:pt x="329481" y="295320"/>
                      <a:pt x="328300" y="290063"/>
                      <a:pt x="328137" y="284725"/>
                    </a:cubicBezTo>
                    <a:cubicBezTo>
                      <a:pt x="328137" y="260750"/>
                      <a:pt x="328137" y="236478"/>
                      <a:pt x="328137" y="215176"/>
                    </a:cubicBezTo>
                    <a:lnTo>
                      <a:pt x="382495" y="215176"/>
                    </a:lnTo>
                    <a:lnTo>
                      <a:pt x="405409" y="254852"/>
                    </a:lnTo>
                    <a:cubicBezTo>
                      <a:pt x="409253" y="261484"/>
                      <a:pt x="417745" y="263745"/>
                      <a:pt x="424377" y="259901"/>
                    </a:cubicBezTo>
                    <a:cubicBezTo>
                      <a:pt x="431010" y="256058"/>
                      <a:pt x="433271" y="247566"/>
                      <a:pt x="429427" y="240933"/>
                    </a:cubicBezTo>
                    <a:lnTo>
                      <a:pt x="406343" y="200961"/>
                    </a:lnTo>
                    <a:lnTo>
                      <a:pt x="455991" y="114523"/>
                    </a:lnTo>
                    <a:cubicBezTo>
                      <a:pt x="458401" y="110211"/>
                      <a:pt x="458401" y="104958"/>
                      <a:pt x="455991" y="100647"/>
                    </a:cubicBezTo>
                    <a:close/>
                    <a:moveTo>
                      <a:pt x="245773" y="271995"/>
                    </a:moveTo>
                    <a:cubicBezTo>
                      <a:pt x="245773" y="269025"/>
                      <a:pt x="245773" y="262999"/>
                      <a:pt x="245773" y="262999"/>
                    </a:cubicBezTo>
                    <a:lnTo>
                      <a:pt x="245773" y="172445"/>
                    </a:lnTo>
                    <a:lnTo>
                      <a:pt x="302040" y="172445"/>
                    </a:lnTo>
                    <a:lnTo>
                      <a:pt x="302040" y="211824"/>
                    </a:lnTo>
                    <a:cubicBezTo>
                      <a:pt x="302040" y="211824"/>
                      <a:pt x="302040" y="243395"/>
                      <a:pt x="302040" y="274584"/>
                    </a:cubicBezTo>
                    <a:cubicBezTo>
                      <a:pt x="301739" y="290852"/>
                      <a:pt x="305058" y="306984"/>
                      <a:pt x="311758" y="321813"/>
                    </a:cubicBezTo>
                    <a:cubicBezTo>
                      <a:pt x="328477" y="359452"/>
                      <a:pt x="344602" y="397600"/>
                      <a:pt x="360217" y="434517"/>
                    </a:cubicBezTo>
                    <a:lnTo>
                      <a:pt x="367346" y="451491"/>
                    </a:lnTo>
                    <a:lnTo>
                      <a:pt x="367346" y="451491"/>
                    </a:lnTo>
                    <a:cubicBezTo>
                      <a:pt x="369150" y="455247"/>
                      <a:pt x="370162" y="459335"/>
                      <a:pt x="370316" y="463500"/>
                    </a:cubicBezTo>
                    <a:cubicBezTo>
                      <a:pt x="369892" y="470416"/>
                      <a:pt x="364206" y="474745"/>
                      <a:pt x="355465" y="474872"/>
                    </a:cubicBezTo>
                    <a:cubicBezTo>
                      <a:pt x="343838" y="474872"/>
                      <a:pt x="302592" y="474872"/>
                      <a:pt x="257654" y="474872"/>
                    </a:cubicBezTo>
                    <a:lnTo>
                      <a:pt x="194385" y="474872"/>
                    </a:lnTo>
                    <a:cubicBezTo>
                      <a:pt x="190192" y="475276"/>
                      <a:pt x="185982" y="474276"/>
                      <a:pt x="182419" y="472029"/>
                    </a:cubicBezTo>
                    <a:cubicBezTo>
                      <a:pt x="176818" y="467785"/>
                      <a:pt x="175587" y="462057"/>
                      <a:pt x="178770" y="454461"/>
                    </a:cubicBezTo>
                    <a:cubicBezTo>
                      <a:pt x="185814" y="437488"/>
                      <a:pt x="234401" y="323722"/>
                      <a:pt x="238432" y="316169"/>
                    </a:cubicBezTo>
                    <a:cubicBezTo>
                      <a:pt x="246197" y="301444"/>
                      <a:pt x="245773" y="287144"/>
                      <a:pt x="245773" y="271995"/>
                    </a:cubicBezTo>
                    <a:close/>
                    <a:moveTo>
                      <a:pt x="218191" y="172318"/>
                    </a:moveTo>
                    <a:lnTo>
                      <a:pt x="219676" y="172318"/>
                    </a:lnTo>
                    <a:lnTo>
                      <a:pt x="219676" y="175161"/>
                    </a:lnTo>
                    <a:cubicBezTo>
                      <a:pt x="219676" y="180635"/>
                      <a:pt x="219676" y="190352"/>
                      <a:pt x="219676" y="202021"/>
                    </a:cubicBezTo>
                    <a:lnTo>
                      <a:pt x="219676" y="215049"/>
                    </a:lnTo>
                    <a:cubicBezTo>
                      <a:pt x="219676" y="242419"/>
                      <a:pt x="219676" y="268303"/>
                      <a:pt x="219676" y="280652"/>
                    </a:cubicBezTo>
                    <a:lnTo>
                      <a:pt x="219336" y="280652"/>
                    </a:lnTo>
                    <a:lnTo>
                      <a:pt x="127467" y="280652"/>
                    </a:lnTo>
                    <a:lnTo>
                      <a:pt x="81553" y="201300"/>
                    </a:lnTo>
                    <a:lnTo>
                      <a:pt x="81553" y="201003"/>
                    </a:lnTo>
                    <a:lnTo>
                      <a:pt x="127467" y="121439"/>
                    </a:lnTo>
                    <a:lnTo>
                      <a:pt x="219506" y="121439"/>
                    </a:lnTo>
                    <a:lnTo>
                      <a:pt x="234019" y="146348"/>
                    </a:lnTo>
                    <a:lnTo>
                      <a:pt x="219167" y="146348"/>
                    </a:lnTo>
                    <a:cubicBezTo>
                      <a:pt x="215442" y="146215"/>
                      <a:pt x="211824" y="147610"/>
                      <a:pt x="209152" y="150210"/>
                    </a:cubicBezTo>
                    <a:cubicBezTo>
                      <a:pt x="206783" y="152698"/>
                      <a:pt x="205501" y="156026"/>
                      <a:pt x="205588" y="159460"/>
                    </a:cubicBezTo>
                    <a:cubicBezTo>
                      <a:pt x="205259" y="166225"/>
                      <a:pt x="210477" y="171976"/>
                      <a:pt x="217242" y="172304"/>
                    </a:cubicBezTo>
                    <a:cubicBezTo>
                      <a:pt x="217487" y="172316"/>
                      <a:pt x="217733" y="172321"/>
                      <a:pt x="217979" y="172318"/>
                    </a:cubicBezTo>
                    <a:close/>
                    <a:moveTo>
                      <a:pt x="328222" y="184326"/>
                    </a:moveTo>
                    <a:cubicBezTo>
                      <a:pt x="328222" y="182926"/>
                      <a:pt x="328222" y="181823"/>
                      <a:pt x="328222" y="176604"/>
                    </a:cubicBezTo>
                    <a:lnTo>
                      <a:pt x="328222" y="172360"/>
                    </a:lnTo>
                    <a:lnTo>
                      <a:pt x="330047" y="172360"/>
                    </a:lnTo>
                    <a:cubicBezTo>
                      <a:pt x="336608" y="172297"/>
                      <a:pt x="341876" y="166926"/>
                      <a:pt x="341813" y="160365"/>
                    </a:cubicBezTo>
                    <a:cubicBezTo>
                      <a:pt x="341812" y="160219"/>
                      <a:pt x="341808" y="160073"/>
                      <a:pt x="341801" y="159927"/>
                    </a:cubicBezTo>
                    <a:cubicBezTo>
                      <a:pt x="341967" y="156282"/>
                      <a:pt x="340668" y="152722"/>
                      <a:pt x="338194" y="150040"/>
                    </a:cubicBezTo>
                    <a:cubicBezTo>
                      <a:pt x="335942" y="147795"/>
                      <a:pt x="332887" y="146542"/>
                      <a:pt x="329707" y="146560"/>
                    </a:cubicBezTo>
                    <a:lnTo>
                      <a:pt x="266693" y="146560"/>
                    </a:lnTo>
                    <a:lnTo>
                      <a:pt x="244160" y="107818"/>
                    </a:lnTo>
                    <a:lnTo>
                      <a:pt x="290159" y="28127"/>
                    </a:lnTo>
                    <a:lnTo>
                      <a:pt x="382198" y="28127"/>
                    </a:lnTo>
                    <a:lnTo>
                      <a:pt x="428197" y="107818"/>
                    </a:lnTo>
                    <a:lnTo>
                      <a:pt x="382198" y="187509"/>
                    </a:lnTo>
                    <a:lnTo>
                      <a:pt x="328307" y="187509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8" name="Freihandform: Form 97">
                <a:extLst>
                  <a:ext uri="{FF2B5EF4-FFF2-40B4-BE49-F238E27FC236}">
                    <a16:creationId xmlns:a16="http://schemas.microsoft.com/office/drawing/2014/main" id="{01E1DFBB-1BD9-414A-BC6F-2D7E4D9897FD}"/>
                  </a:ext>
                </a:extLst>
              </p:cNvPr>
              <p:cNvSpPr/>
              <p:nvPr/>
            </p:nvSpPr>
            <p:spPr>
              <a:xfrm>
                <a:off x="6050172" y="3009332"/>
                <a:ext cx="140662" cy="85481"/>
              </a:xfrm>
              <a:custGeom>
                <a:avLst/>
                <a:gdLst>
                  <a:gd name="connsiteX0" fmla="*/ 38105 w 140662"/>
                  <a:gd name="connsiteY0" fmla="*/ 205 h 85481"/>
                  <a:gd name="connsiteX1" fmla="*/ 38105 w 140662"/>
                  <a:gd name="connsiteY1" fmla="*/ 205 h 85481"/>
                  <a:gd name="connsiteX2" fmla="*/ 32844 w 140662"/>
                  <a:gd name="connsiteY2" fmla="*/ 3388 h 85481"/>
                  <a:gd name="connsiteX3" fmla="*/ 30255 w 140662"/>
                  <a:gd name="connsiteY3" fmla="*/ 8692 h 85481"/>
                  <a:gd name="connsiteX4" fmla="*/ 5601 w 140662"/>
                  <a:gd name="connsiteY4" fmla="*/ 67081 h 85481"/>
                  <a:gd name="connsiteX5" fmla="*/ 4116 w 140662"/>
                  <a:gd name="connsiteY5" fmla="*/ 70603 h 85481"/>
                  <a:gd name="connsiteX6" fmla="*/ 509 w 140662"/>
                  <a:gd name="connsiteY6" fmla="*/ 79684 h 85481"/>
                  <a:gd name="connsiteX7" fmla="*/ 1758 w 140662"/>
                  <a:gd name="connsiteY7" fmla="*/ 84877 h 85481"/>
                  <a:gd name="connsiteX8" fmla="*/ 4116 w 140662"/>
                  <a:gd name="connsiteY8" fmla="*/ 85413 h 85481"/>
                  <a:gd name="connsiteX9" fmla="*/ 135364 w 140662"/>
                  <a:gd name="connsiteY9" fmla="*/ 85413 h 85481"/>
                  <a:gd name="connsiteX10" fmla="*/ 139862 w 140662"/>
                  <a:gd name="connsiteY10" fmla="*/ 78496 h 85481"/>
                  <a:gd name="connsiteX11" fmla="*/ 133200 w 140662"/>
                  <a:gd name="connsiteY11" fmla="*/ 62499 h 85481"/>
                  <a:gd name="connsiteX12" fmla="*/ 123610 w 140662"/>
                  <a:gd name="connsiteY12" fmla="*/ 39881 h 85481"/>
                  <a:gd name="connsiteX13" fmla="*/ 108885 w 140662"/>
                  <a:gd name="connsiteY13" fmla="*/ 5128 h 85481"/>
                  <a:gd name="connsiteX14" fmla="*/ 102478 w 140662"/>
                  <a:gd name="connsiteY14" fmla="*/ -49 h 85481"/>
                  <a:gd name="connsiteX15" fmla="*/ 38105 w 140662"/>
                  <a:gd name="connsiteY15" fmla="*/ 205 h 854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40662" h="85481">
                    <a:moveTo>
                      <a:pt x="38105" y="205"/>
                    </a:moveTo>
                    <a:lnTo>
                      <a:pt x="38105" y="205"/>
                    </a:lnTo>
                    <a:cubicBezTo>
                      <a:pt x="35826" y="-78"/>
                      <a:pt x="33650" y="1238"/>
                      <a:pt x="32844" y="3388"/>
                    </a:cubicBezTo>
                    <a:cubicBezTo>
                      <a:pt x="32462" y="4237"/>
                      <a:pt x="30637" y="7631"/>
                      <a:pt x="30255" y="8692"/>
                    </a:cubicBezTo>
                    <a:cubicBezTo>
                      <a:pt x="22023" y="28155"/>
                      <a:pt x="13805" y="47618"/>
                      <a:pt x="5601" y="67081"/>
                    </a:cubicBezTo>
                    <a:cubicBezTo>
                      <a:pt x="5134" y="68270"/>
                      <a:pt x="4625" y="69458"/>
                      <a:pt x="4116" y="70603"/>
                    </a:cubicBezTo>
                    <a:cubicBezTo>
                      <a:pt x="2631" y="74041"/>
                      <a:pt x="1909" y="76247"/>
                      <a:pt x="509" y="79684"/>
                    </a:cubicBezTo>
                    <a:cubicBezTo>
                      <a:pt x="-580" y="81463"/>
                      <a:pt x="-21" y="83788"/>
                      <a:pt x="1758" y="84877"/>
                    </a:cubicBezTo>
                    <a:cubicBezTo>
                      <a:pt x="2464" y="85309"/>
                      <a:pt x="3292" y="85497"/>
                      <a:pt x="4116" y="85413"/>
                    </a:cubicBezTo>
                    <a:lnTo>
                      <a:pt x="135364" y="85413"/>
                    </a:lnTo>
                    <a:cubicBezTo>
                      <a:pt x="140202" y="85413"/>
                      <a:pt x="141687" y="83079"/>
                      <a:pt x="139862" y="78496"/>
                    </a:cubicBezTo>
                    <a:cubicBezTo>
                      <a:pt x="137740" y="73149"/>
                      <a:pt x="135619" y="67718"/>
                      <a:pt x="133200" y="62499"/>
                    </a:cubicBezTo>
                    <a:lnTo>
                      <a:pt x="123610" y="39881"/>
                    </a:lnTo>
                    <a:cubicBezTo>
                      <a:pt x="118688" y="28283"/>
                      <a:pt x="113779" y="16698"/>
                      <a:pt x="108885" y="5128"/>
                    </a:cubicBezTo>
                    <a:cubicBezTo>
                      <a:pt x="107188" y="884"/>
                      <a:pt x="105745" y="-7"/>
                      <a:pt x="102478" y="-49"/>
                    </a:cubicBezTo>
                    <a:cubicBezTo>
                      <a:pt x="81940" y="205"/>
                      <a:pt x="61868" y="248"/>
                      <a:pt x="38105" y="205"/>
                    </a:cubicBez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03" name="Gruppieren 102">
            <a:extLst>
              <a:ext uri="{FF2B5EF4-FFF2-40B4-BE49-F238E27FC236}">
                <a16:creationId xmlns:a16="http://schemas.microsoft.com/office/drawing/2014/main" id="{EDF95685-4105-42A2-A5E5-D80E89928F17}"/>
              </a:ext>
            </a:extLst>
          </p:cNvPr>
          <p:cNvGrpSpPr/>
          <p:nvPr/>
        </p:nvGrpSpPr>
        <p:grpSpPr>
          <a:xfrm>
            <a:off x="9527364" y="2500122"/>
            <a:ext cx="755830" cy="755976"/>
            <a:chOff x="9527364" y="2500122"/>
            <a:chExt cx="755830" cy="755976"/>
          </a:xfrm>
        </p:grpSpPr>
        <p:grpSp>
          <p:nvGrpSpPr>
            <p:cNvPr id="104" name="Grafik 80">
              <a:extLst>
                <a:ext uri="{FF2B5EF4-FFF2-40B4-BE49-F238E27FC236}">
                  <a16:creationId xmlns:a16="http://schemas.microsoft.com/office/drawing/2014/main" id="{8D2E5592-F59C-4F4E-8383-A2E8F0AA2586}"/>
                </a:ext>
              </a:extLst>
            </p:cNvPr>
            <p:cNvGrpSpPr/>
            <p:nvPr/>
          </p:nvGrpSpPr>
          <p:grpSpPr>
            <a:xfrm>
              <a:off x="9527364" y="2500122"/>
              <a:ext cx="755830" cy="755976"/>
              <a:chOff x="9527364" y="2500122"/>
              <a:chExt cx="755830" cy="755976"/>
            </a:xfrm>
          </p:grpSpPr>
          <p:sp>
            <p:nvSpPr>
              <p:cNvPr id="119" name="Freihandform: Form 118">
                <a:extLst>
                  <a:ext uri="{FF2B5EF4-FFF2-40B4-BE49-F238E27FC236}">
                    <a16:creationId xmlns:a16="http://schemas.microsoft.com/office/drawing/2014/main" id="{26E11685-E55A-4DBF-96B6-3F468F0CD282}"/>
                  </a:ext>
                </a:extLst>
              </p:cNvPr>
              <p:cNvSpPr/>
              <p:nvPr/>
            </p:nvSpPr>
            <p:spPr>
              <a:xfrm>
                <a:off x="9527364" y="2500122"/>
                <a:ext cx="683436" cy="466182"/>
              </a:xfrm>
              <a:custGeom>
                <a:avLst/>
                <a:gdLst>
                  <a:gd name="connsiteX0" fmla="*/ 10556 w 683436"/>
                  <a:gd name="connsiteY0" fmla="*/ 466133 h 466182"/>
                  <a:gd name="connsiteX1" fmla="*/ 289200 w 683436"/>
                  <a:gd name="connsiteY1" fmla="*/ 10485 h 466182"/>
                  <a:gd name="connsiteX2" fmla="*/ 683389 w 683436"/>
                  <a:gd name="connsiteY2" fmla="*/ 155856 h 466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36" h="466182">
                    <a:moveTo>
                      <a:pt x="10556" y="466133"/>
                    </a:moveTo>
                    <a:cubicBezTo>
                      <a:pt x="-38322" y="263364"/>
                      <a:pt x="86431" y="59364"/>
                      <a:pt x="289200" y="10485"/>
                    </a:cubicBezTo>
                    <a:cubicBezTo>
                      <a:pt x="437911" y="-25362"/>
                      <a:pt x="593560" y="32039"/>
                      <a:pt x="683389" y="155856"/>
                    </a:cubicBezTo>
                  </a:path>
                </a:pathLst>
              </a:custGeom>
              <a:noFill/>
              <a:ln w="33594" cap="flat">
                <a:solidFill>
                  <a:srgbClr val="1D1D1B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0" name="Freihandform: Form 119">
                <a:extLst>
                  <a:ext uri="{FF2B5EF4-FFF2-40B4-BE49-F238E27FC236}">
                    <a16:creationId xmlns:a16="http://schemas.microsoft.com/office/drawing/2014/main" id="{EB1098F9-998D-4E1F-9630-6583935BDDEB}"/>
                  </a:ext>
                </a:extLst>
              </p:cNvPr>
              <p:cNvSpPr/>
              <p:nvPr/>
            </p:nvSpPr>
            <p:spPr>
              <a:xfrm>
                <a:off x="10158734" y="2617539"/>
                <a:ext cx="89068" cy="101502"/>
              </a:xfrm>
              <a:custGeom>
                <a:avLst/>
                <a:gdLst>
                  <a:gd name="connsiteX0" fmla="*/ 0 w 89068"/>
                  <a:gd name="connsiteY0" fmla="*/ 52788 h 101502"/>
                  <a:gd name="connsiteX1" fmla="*/ 89069 w 89068"/>
                  <a:gd name="connsiteY1" fmla="*/ 101502 h 101502"/>
                  <a:gd name="connsiteX2" fmla="*/ 86735 w 89068"/>
                  <a:gd name="connsiteY2" fmla="*/ 0 h 101502"/>
                  <a:gd name="connsiteX3" fmla="*/ 0 w 89068"/>
                  <a:gd name="connsiteY3" fmla="*/ 52788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0" y="52788"/>
                    </a:moveTo>
                    <a:lnTo>
                      <a:pt x="89069" y="101502"/>
                    </a:lnTo>
                    <a:lnTo>
                      <a:pt x="86735" y="0"/>
                    </a:lnTo>
                    <a:lnTo>
                      <a:pt x="0" y="52788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1" name="Freihandform: Form 120">
                <a:extLst>
                  <a:ext uri="{FF2B5EF4-FFF2-40B4-BE49-F238E27FC236}">
                    <a16:creationId xmlns:a16="http://schemas.microsoft.com/office/drawing/2014/main" id="{7B850AF4-E32D-47B3-8B9C-ED2B637D3EC2}"/>
                  </a:ext>
                </a:extLst>
              </p:cNvPr>
              <p:cNvSpPr/>
              <p:nvPr/>
            </p:nvSpPr>
            <p:spPr>
              <a:xfrm>
                <a:off x="9599751" y="2790415"/>
                <a:ext cx="683443" cy="465683"/>
              </a:xfrm>
              <a:custGeom>
                <a:avLst/>
                <a:gdLst>
                  <a:gd name="connsiteX0" fmla="*/ 672913 w 683443"/>
                  <a:gd name="connsiteY0" fmla="*/ -49 h 465683"/>
                  <a:gd name="connsiteX1" fmla="*/ 393650 w 683443"/>
                  <a:gd name="connsiteY1" fmla="*/ 455220 h 465683"/>
                  <a:gd name="connsiteX2" fmla="*/ -47 w 683443"/>
                  <a:gd name="connsiteY2" fmla="*/ 309719 h 465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43" h="465683">
                    <a:moveTo>
                      <a:pt x="672913" y="-49"/>
                    </a:moveTo>
                    <a:cubicBezTo>
                      <a:pt x="721516" y="202786"/>
                      <a:pt x="596485" y="406617"/>
                      <a:pt x="393650" y="455220"/>
                    </a:cubicBezTo>
                    <a:cubicBezTo>
                      <a:pt x="245067" y="490822"/>
                      <a:pt x="89671" y="433392"/>
                      <a:pt x="-47" y="309719"/>
                    </a:cubicBezTo>
                  </a:path>
                </a:pathLst>
              </a:custGeom>
              <a:noFill/>
              <a:ln w="33594" cap="flat">
                <a:solidFill>
                  <a:srgbClr val="1D1D1B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2" name="Freihandform: Form 121">
                <a:extLst>
                  <a:ext uri="{FF2B5EF4-FFF2-40B4-BE49-F238E27FC236}">
                    <a16:creationId xmlns:a16="http://schemas.microsoft.com/office/drawing/2014/main" id="{D295D095-06B1-46FD-8850-4B956974E6FF}"/>
                  </a:ext>
                </a:extLst>
              </p:cNvPr>
              <p:cNvSpPr/>
              <p:nvPr/>
            </p:nvSpPr>
            <p:spPr>
              <a:xfrm>
                <a:off x="9562791" y="3037254"/>
                <a:ext cx="89068" cy="101502"/>
              </a:xfrm>
              <a:custGeom>
                <a:avLst/>
                <a:gdLst>
                  <a:gd name="connsiteX0" fmla="*/ 89069 w 89068"/>
                  <a:gd name="connsiteY0" fmla="*/ 48714 h 101502"/>
                  <a:gd name="connsiteX1" fmla="*/ 0 w 89068"/>
                  <a:gd name="connsiteY1" fmla="*/ 0 h 101502"/>
                  <a:gd name="connsiteX2" fmla="*/ 2334 w 89068"/>
                  <a:gd name="connsiteY2" fmla="*/ 101502 h 101502"/>
                  <a:gd name="connsiteX3" fmla="*/ 89069 w 89068"/>
                  <a:gd name="connsiteY3" fmla="*/ 48714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89069" y="48714"/>
                    </a:moveTo>
                    <a:lnTo>
                      <a:pt x="0" y="0"/>
                    </a:lnTo>
                    <a:lnTo>
                      <a:pt x="2334" y="101502"/>
                    </a:lnTo>
                    <a:lnTo>
                      <a:pt x="89069" y="48714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105" name="Grafik 80">
              <a:extLst>
                <a:ext uri="{FF2B5EF4-FFF2-40B4-BE49-F238E27FC236}">
                  <a16:creationId xmlns:a16="http://schemas.microsoft.com/office/drawing/2014/main" id="{F54F1C6A-1A60-447F-B051-DE9101265EEA}"/>
                </a:ext>
              </a:extLst>
            </p:cNvPr>
            <p:cNvGrpSpPr/>
            <p:nvPr/>
          </p:nvGrpSpPr>
          <p:grpSpPr>
            <a:xfrm>
              <a:off x="9688183" y="2644612"/>
              <a:ext cx="425740" cy="463421"/>
              <a:chOff x="9688183" y="2644612"/>
              <a:chExt cx="425740" cy="463421"/>
            </a:xfrm>
            <a:solidFill>
              <a:srgbClr val="1D1D1B"/>
            </a:solidFill>
          </p:grpSpPr>
          <p:sp>
            <p:nvSpPr>
              <p:cNvPr id="112" name="Freihandform: Form 111">
                <a:extLst>
                  <a:ext uri="{FF2B5EF4-FFF2-40B4-BE49-F238E27FC236}">
                    <a16:creationId xmlns:a16="http://schemas.microsoft.com/office/drawing/2014/main" id="{BC9DEBDD-2596-42C4-88A6-9B3B3C1334E9}"/>
                  </a:ext>
                </a:extLst>
              </p:cNvPr>
              <p:cNvSpPr/>
              <p:nvPr/>
            </p:nvSpPr>
            <p:spPr>
              <a:xfrm>
                <a:off x="9688183" y="2644612"/>
                <a:ext cx="425740" cy="463421"/>
              </a:xfrm>
              <a:custGeom>
                <a:avLst/>
                <a:gdLst>
                  <a:gd name="connsiteX0" fmla="*/ 425693 w 425740"/>
                  <a:gd name="connsiteY0" fmla="*/ 76926 h 463421"/>
                  <a:gd name="connsiteX1" fmla="*/ 425693 w 425740"/>
                  <a:gd name="connsiteY1" fmla="*/ 50023 h 463421"/>
                  <a:gd name="connsiteX2" fmla="*/ 121059 w 425740"/>
                  <a:gd name="connsiteY2" fmla="*/ 50023 h 463421"/>
                  <a:gd name="connsiteX3" fmla="*/ 121059 w 425740"/>
                  <a:gd name="connsiteY3" fmla="*/ -49 h 463421"/>
                  <a:gd name="connsiteX4" fmla="*/ 90210 w 425740"/>
                  <a:gd name="connsiteY4" fmla="*/ -49 h 463421"/>
                  <a:gd name="connsiteX5" fmla="*/ 90210 w 425740"/>
                  <a:gd name="connsiteY5" fmla="*/ 49429 h 463421"/>
                  <a:gd name="connsiteX6" fmla="*/ -47 w 425740"/>
                  <a:gd name="connsiteY6" fmla="*/ 49429 h 463421"/>
                  <a:gd name="connsiteX7" fmla="*/ -47 w 425740"/>
                  <a:gd name="connsiteY7" fmla="*/ 76459 h 463421"/>
                  <a:gd name="connsiteX8" fmla="*/ 88597 w 425740"/>
                  <a:gd name="connsiteY8" fmla="*/ 76459 h 463421"/>
                  <a:gd name="connsiteX9" fmla="*/ 88597 w 425740"/>
                  <a:gd name="connsiteY9" fmla="*/ 309167 h 463421"/>
                  <a:gd name="connsiteX10" fmla="*/ 37677 w 425740"/>
                  <a:gd name="connsiteY10" fmla="*/ 309167 h 463421"/>
                  <a:gd name="connsiteX11" fmla="*/ 37677 w 425740"/>
                  <a:gd name="connsiteY11" fmla="*/ 463372 h 463421"/>
                  <a:gd name="connsiteX12" fmla="*/ 424802 w 425740"/>
                  <a:gd name="connsiteY12" fmla="*/ 463372 h 463421"/>
                  <a:gd name="connsiteX13" fmla="*/ 424802 w 425740"/>
                  <a:gd name="connsiteY13" fmla="*/ 232022 h 463421"/>
                  <a:gd name="connsiteX14" fmla="*/ 193240 w 425740"/>
                  <a:gd name="connsiteY14" fmla="*/ 232022 h 463421"/>
                  <a:gd name="connsiteX15" fmla="*/ 193240 w 425740"/>
                  <a:gd name="connsiteY15" fmla="*/ 308658 h 463421"/>
                  <a:gd name="connsiteX16" fmla="*/ 121102 w 425740"/>
                  <a:gd name="connsiteY16" fmla="*/ 308658 h 463421"/>
                  <a:gd name="connsiteX17" fmla="*/ 121102 w 425740"/>
                  <a:gd name="connsiteY17" fmla="*/ 77350 h 463421"/>
                  <a:gd name="connsiteX18" fmla="*/ 341164 w 425740"/>
                  <a:gd name="connsiteY18" fmla="*/ 77350 h 463421"/>
                  <a:gd name="connsiteX19" fmla="*/ 341164 w 425740"/>
                  <a:gd name="connsiteY19" fmla="*/ 99162 h 463421"/>
                  <a:gd name="connsiteX20" fmla="*/ 304119 w 425740"/>
                  <a:gd name="connsiteY20" fmla="*/ 135273 h 463421"/>
                  <a:gd name="connsiteX21" fmla="*/ 290965 w 425740"/>
                  <a:gd name="connsiteY21" fmla="*/ 135273 h 463421"/>
                  <a:gd name="connsiteX22" fmla="*/ 290965 w 425740"/>
                  <a:gd name="connsiteY22" fmla="*/ 185769 h 463421"/>
                  <a:gd name="connsiteX23" fmla="*/ 405961 w 425740"/>
                  <a:gd name="connsiteY23" fmla="*/ 185769 h 463421"/>
                  <a:gd name="connsiteX24" fmla="*/ 405961 w 425740"/>
                  <a:gd name="connsiteY24" fmla="*/ 135867 h 463421"/>
                  <a:gd name="connsiteX25" fmla="*/ 391152 w 425740"/>
                  <a:gd name="connsiteY25" fmla="*/ 135867 h 463421"/>
                  <a:gd name="connsiteX26" fmla="*/ 355337 w 425740"/>
                  <a:gd name="connsiteY26" fmla="*/ 99501 h 463421"/>
                  <a:gd name="connsiteX27" fmla="*/ 355337 w 425740"/>
                  <a:gd name="connsiteY27" fmla="*/ 76926 h 463421"/>
                  <a:gd name="connsiteX28" fmla="*/ 219464 w 425740"/>
                  <a:gd name="connsiteY28" fmla="*/ 334331 h 463421"/>
                  <a:gd name="connsiteX29" fmla="*/ 219464 w 425740"/>
                  <a:gd name="connsiteY29" fmla="*/ 257652 h 463421"/>
                  <a:gd name="connsiteX30" fmla="*/ 399808 w 425740"/>
                  <a:gd name="connsiteY30" fmla="*/ 257652 h 463421"/>
                  <a:gd name="connsiteX31" fmla="*/ 399808 w 425740"/>
                  <a:gd name="connsiteY31" fmla="*/ 437615 h 463421"/>
                  <a:gd name="connsiteX32" fmla="*/ 64580 w 425740"/>
                  <a:gd name="connsiteY32" fmla="*/ 437615 h 463421"/>
                  <a:gd name="connsiteX33" fmla="*/ 64580 w 425740"/>
                  <a:gd name="connsiteY33" fmla="*/ 334331 h 463421"/>
                  <a:gd name="connsiteX34" fmla="*/ 371335 w 425740"/>
                  <a:gd name="connsiteY34" fmla="*/ 134891 h 463421"/>
                  <a:gd name="connsiteX35" fmla="*/ 326228 w 425740"/>
                  <a:gd name="connsiteY35" fmla="*/ 134891 h 463421"/>
                  <a:gd name="connsiteX36" fmla="*/ 348166 w 425740"/>
                  <a:gd name="connsiteY36" fmla="*/ 114310 h 4634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425740" h="463421">
                    <a:moveTo>
                      <a:pt x="425693" y="76926"/>
                    </a:moveTo>
                    <a:lnTo>
                      <a:pt x="425693" y="50023"/>
                    </a:lnTo>
                    <a:lnTo>
                      <a:pt x="121059" y="50023"/>
                    </a:lnTo>
                    <a:lnTo>
                      <a:pt x="121059" y="-49"/>
                    </a:lnTo>
                    <a:lnTo>
                      <a:pt x="90210" y="-49"/>
                    </a:lnTo>
                    <a:lnTo>
                      <a:pt x="90210" y="49429"/>
                    </a:lnTo>
                    <a:lnTo>
                      <a:pt x="-47" y="49429"/>
                    </a:lnTo>
                    <a:lnTo>
                      <a:pt x="-47" y="76459"/>
                    </a:lnTo>
                    <a:lnTo>
                      <a:pt x="88597" y="76459"/>
                    </a:lnTo>
                    <a:lnTo>
                      <a:pt x="88597" y="309167"/>
                    </a:lnTo>
                    <a:lnTo>
                      <a:pt x="37677" y="309167"/>
                    </a:lnTo>
                    <a:lnTo>
                      <a:pt x="37677" y="463372"/>
                    </a:lnTo>
                    <a:lnTo>
                      <a:pt x="424802" y="463372"/>
                    </a:lnTo>
                    <a:lnTo>
                      <a:pt x="424802" y="232022"/>
                    </a:lnTo>
                    <a:lnTo>
                      <a:pt x="193240" y="232022"/>
                    </a:lnTo>
                    <a:lnTo>
                      <a:pt x="193240" y="308658"/>
                    </a:lnTo>
                    <a:lnTo>
                      <a:pt x="121102" y="308658"/>
                    </a:lnTo>
                    <a:lnTo>
                      <a:pt x="121102" y="77350"/>
                    </a:lnTo>
                    <a:lnTo>
                      <a:pt x="341164" y="77350"/>
                    </a:lnTo>
                    <a:lnTo>
                      <a:pt x="341164" y="99162"/>
                    </a:lnTo>
                    <a:cubicBezTo>
                      <a:pt x="329580" y="110449"/>
                      <a:pt x="317741" y="121949"/>
                      <a:pt x="304119" y="135273"/>
                    </a:cubicBezTo>
                    <a:lnTo>
                      <a:pt x="290965" y="135273"/>
                    </a:lnTo>
                    <a:lnTo>
                      <a:pt x="290965" y="185769"/>
                    </a:lnTo>
                    <a:lnTo>
                      <a:pt x="405961" y="185769"/>
                    </a:lnTo>
                    <a:lnTo>
                      <a:pt x="405961" y="135867"/>
                    </a:lnTo>
                    <a:lnTo>
                      <a:pt x="391152" y="135867"/>
                    </a:lnTo>
                    <a:lnTo>
                      <a:pt x="355337" y="99501"/>
                    </a:lnTo>
                    <a:lnTo>
                      <a:pt x="355337" y="76926"/>
                    </a:lnTo>
                    <a:close/>
                    <a:moveTo>
                      <a:pt x="219464" y="334331"/>
                    </a:moveTo>
                    <a:lnTo>
                      <a:pt x="219464" y="257652"/>
                    </a:lnTo>
                    <a:lnTo>
                      <a:pt x="399808" y="257652"/>
                    </a:lnTo>
                    <a:lnTo>
                      <a:pt x="399808" y="437615"/>
                    </a:lnTo>
                    <a:lnTo>
                      <a:pt x="64580" y="437615"/>
                    </a:lnTo>
                    <a:lnTo>
                      <a:pt x="64580" y="334331"/>
                    </a:lnTo>
                    <a:close/>
                    <a:moveTo>
                      <a:pt x="371335" y="134891"/>
                    </a:moveTo>
                    <a:lnTo>
                      <a:pt x="326228" y="134891"/>
                    </a:lnTo>
                    <a:lnTo>
                      <a:pt x="348166" y="114310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3" name="Freihandform: Form 112">
                <a:extLst>
                  <a:ext uri="{FF2B5EF4-FFF2-40B4-BE49-F238E27FC236}">
                    <a16:creationId xmlns:a16="http://schemas.microsoft.com/office/drawing/2014/main" id="{CCBAFCF2-C743-45AF-9250-8801A9C9227A}"/>
                  </a:ext>
                </a:extLst>
              </p:cNvPr>
              <p:cNvSpPr/>
              <p:nvPr/>
            </p:nvSpPr>
            <p:spPr>
              <a:xfrm>
                <a:off x="9933833" y="3005895"/>
                <a:ext cx="50920" cy="50411"/>
              </a:xfrm>
              <a:custGeom>
                <a:avLst/>
                <a:gdLst>
                  <a:gd name="connsiteX0" fmla="*/ 50874 w 50920"/>
                  <a:gd name="connsiteY0" fmla="*/ -49 h 50411"/>
                  <a:gd name="connsiteX1" fmla="*/ -47 w 50920"/>
                  <a:gd name="connsiteY1" fmla="*/ -49 h 50411"/>
                  <a:gd name="connsiteX2" fmla="*/ -47 w 50920"/>
                  <a:gd name="connsiteY2" fmla="*/ 50362 h 50411"/>
                  <a:gd name="connsiteX3" fmla="*/ 50874 w 50920"/>
                  <a:gd name="connsiteY3" fmla="*/ 50362 h 504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920" h="50411">
                    <a:moveTo>
                      <a:pt x="50874" y="-49"/>
                    </a:moveTo>
                    <a:lnTo>
                      <a:pt x="-47" y="-49"/>
                    </a:lnTo>
                    <a:lnTo>
                      <a:pt x="-47" y="50362"/>
                    </a:lnTo>
                    <a:lnTo>
                      <a:pt x="50874" y="50362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4" name="Freihandform: Form 113">
                <a:extLst>
                  <a:ext uri="{FF2B5EF4-FFF2-40B4-BE49-F238E27FC236}">
                    <a16:creationId xmlns:a16="http://schemas.microsoft.com/office/drawing/2014/main" id="{3588824F-A976-4115-B502-5F15842E0C70}"/>
                  </a:ext>
                </a:extLst>
              </p:cNvPr>
              <p:cNvSpPr/>
              <p:nvPr/>
            </p:nvSpPr>
            <p:spPr>
              <a:xfrm>
                <a:off x="9856010" y="3005725"/>
                <a:ext cx="50920" cy="50369"/>
              </a:xfrm>
              <a:custGeom>
                <a:avLst/>
                <a:gdLst>
                  <a:gd name="connsiteX0" fmla="*/ 50874 w 50920"/>
                  <a:gd name="connsiteY0" fmla="*/ -49 h 50369"/>
                  <a:gd name="connsiteX1" fmla="*/ -47 w 50920"/>
                  <a:gd name="connsiteY1" fmla="*/ -49 h 50369"/>
                  <a:gd name="connsiteX2" fmla="*/ -47 w 50920"/>
                  <a:gd name="connsiteY2" fmla="*/ 50320 h 50369"/>
                  <a:gd name="connsiteX3" fmla="*/ 50874 w 50920"/>
                  <a:gd name="connsiteY3" fmla="*/ 50320 h 50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920" h="50369">
                    <a:moveTo>
                      <a:pt x="50874" y="-49"/>
                    </a:moveTo>
                    <a:lnTo>
                      <a:pt x="-47" y="-49"/>
                    </a:lnTo>
                    <a:lnTo>
                      <a:pt x="-47" y="50320"/>
                    </a:lnTo>
                    <a:lnTo>
                      <a:pt x="50874" y="50320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5" name="Freihandform: Form 114">
                <a:extLst>
                  <a:ext uri="{FF2B5EF4-FFF2-40B4-BE49-F238E27FC236}">
                    <a16:creationId xmlns:a16="http://schemas.microsoft.com/office/drawing/2014/main" id="{E328E8DA-C5FC-4B0C-952E-F2E21DA6C0EC}"/>
                  </a:ext>
                </a:extLst>
              </p:cNvPr>
              <p:cNvSpPr/>
              <p:nvPr/>
            </p:nvSpPr>
            <p:spPr>
              <a:xfrm>
                <a:off x="9933833" y="2928368"/>
                <a:ext cx="50496" cy="50284"/>
              </a:xfrm>
              <a:custGeom>
                <a:avLst/>
                <a:gdLst>
                  <a:gd name="connsiteX0" fmla="*/ 50449 w 50496"/>
                  <a:gd name="connsiteY0" fmla="*/ -49 h 50284"/>
                  <a:gd name="connsiteX1" fmla="*/ -47 w 50496"/>
                  <a:gd name="connsiteY1" fmla="*/ -49 h 50284"/>
                  <a:gd name="connsiteX2" fmla="*/ -47 w 50496"/>
                  <a:gd name="connsiteY2" fmla="*/ 50235 h 50284"/>
                  <a:gd name="connsiteX3" fmla="*/ 50449 w 50496"/>
                  <a:gd name="connsiteY3" fmla="*/ 50235 h 502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496" h="50284">
                    <a:moveTo>
                      <a:pt x="50449" y="-49"/>
                    </a:moveTo>
                    <a:lnTo>
                      <a:pt x="-47" y="-49"/>
                    </a:lnTo>
                    <a:lnTo>
                      <a:pt x="-47" y="50235"/>
                    </a:lnTo>
                    <a:lnTo>
                      <a:pt x="50449" y="50235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6" name="Freihandform: Form 115">
                <a:extLst>
                  <a:ext uri="{FF2B5EF4-FFF2-40B4-BE49-F238E27FC236}">
                    <a16:creationId xmlns:a16="http://schemas.microsoft.com/office/drawing/2014/main" id="{76D0A403-5B7F-4D5E-AD61-7E6259DC2C94}"/>
                  </a:ext>
                </a:extLst>
              </p:cNvPr>
              <p:cNvSpPr/>
              <p:nvPr/>
            </p:nvSpPr>
            <p:spPr>
              <a:xfrm>
                <a:off x="10011615" y="3005768"/>
                <a:ext cx="50581" cy="50623"/>
              </a:xfrm>
              <a:custGeom>
                <a:avLst/>
                <a:gdLst>
                  <a:gd name="connsiteX0" fmla="*/ -47 w 50581"/>
                  <a:gd name="connsiteY0" fmla="*/ 50575 h 50623"/>
                  <a:gd name="connsiteX1" fmla="*/ 50534 w 50581"/>
                  <a:gd name="connsiteY1" fmla="*/ 50575 h 50623"/>
                  <a:gd name="connsiteX2" fmla="*/ 50534 w 50581"/>
                  <a:gd name="connsiteY2" fmla="*/ -49 h 50623"/>
                  <a:gd name="connsiteX3" fmla="*/ -47 w 50581"/>
                  <a:gd name="connsiteY3" fmla="*/ -49 h 50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581" h="50623">
                    <a:moveTo>
                      <a:pt x="-47" y="50575"/>
                    </a:moveTo>
                    <a:lnTo>
                      <a:pt x="50534" y="50575"/>
                    </a:lnTo>
                    <a:lnTo>
                      <a:pt x="50534" y="-49"/>
                    </a:lnTo>
                    <a:lnTo>
                      <a:pt x="-47" y="-49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7" name="Freihandform: Form 116">
                <a:extLst>
                  <a:ext uri="{FF2B5EF4-FFF2-40B4-BE49-F238E27FC236}">
                    <a16:creationId xmlns:a16="http://schemas.microsoft.com/office/drawing/2014/main" id="{6FF868B8-002F-44EC-B469-EF247185F3AE}"/>
                  </a:ext>
                </a:extLst>
              </p:cNvPr>
              <p:cNvSpPr/>
              <p:nvPr/>
            </p:nvSpPr>
            <p:spPr>
              <a:xfrm>
                <a:off x="9778652" y="3005895"/>
                <a:ext cx="50411" cy="50453"/>
              </a:xfrm>
              <a:custGeom>
                <a:avLst/>
                <a:gdLst>
                  <a:gd name="connsiteX0" fmla="*/ 50364 w 50411"/>
                  <a:gd name="connsiteY0" fmla="*/ -49 h 50453"/>
                  <a:gd name="connsiteX1" fmla="*/ -47 w 50411"/>
                  <a:gd name="connsiteY1" fmla="*/ -49 h 50453"/>
                  <a:gd name="connsiteX2" fmla="*/ -47 w 50411"/>
                  <a:gd name="connsiteY2" fmla="*/ 50405 h 50453"/>
                  <a:gd name="connsiteX3" fmla="*/ 50364 w 50411"/>
                  <a:gd name="connsiteY3" fmla="*/ 50405 h 504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411" h="50453">
                    <a:moveTo>
                      <a:pt x="50364" y="-49"/>
                    </a:moveTo>
                    <a:lnTo>
                      <a:pt x="-47" y="-49"/>
                    </a:lnTo>
                    <a:lnTo>
                      <a:pt x="-47" y="50405"/>
                    </a:lnTo>
                    <a:lnTo>
                      <a:pt x="50364" y="50405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8" name="Freihandform: Form 117">
                <a:extLst>
                  <a:ext uri="{FF2B5EF4-FFF2-40B4-BE49-F238E27FC236}">
                    <a16:creationId xmlns:a16="http://schemas.microsoft.com/office/drawing/2014/main" id="{8DE9F075-B624-4935-A1D5-31AF24558823}"/>
                  </a:ext>
                </a:extLst>
              </p:cNvPr>
              <p:cNvSpPr/>
              <p:nvPr/>
            </p:nvSpPr>
            <p:spPr>
              <a:xfrm>
                <a:off x="10011403" y="2928665"/>
                <a:ext cx="50666" cy="49987"/>
              </a:xfrm>
              <a:custGeom>
                <a:avLst/>
                <a:gdLst>
                  <a:gd name="connsiteX0" fmla="*/ 50619 w 50666"/>
                  <a:gd name="connsiteY0" fmla="*/ -49 h 49987"/>
                  <a:gd name="connsiteX1" fmla="*/ -47 w 50666"/>
                  <a:gd name="connsiteY1" fmla="*/ -49 h 49987"/>
                  <a:gd name="connsiteX2" fmla="*/ -47 w 50666"/>
                  <a:gd name="connsiteY2" fmla="*/ 49938 h 49987"/>
                  <a:gd name="connsiteX3" fmla="*/ 50619 w 50666"/>
                  <a:gd name="connsiteY3" fmla="*/ 49938 h 499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666" h="49987">
                    <a:moveTo>
                      <a:pt x="50619" y="-49"/>
                    </a:moveTo>
                    <a:lnTo>
                      <a:pt x="-47" y="-49"/>
                    </a:lnTo>
                    <a:lnTo>
                      <a:pt x="-47" y="49938"/>
                    </a:lnTo>
                    <a:lnTo>
                      <a:pt x="50619" y="49938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06" name="Freihandform: Form 105">
              <a:extLst>
                <a:ext uri="{FF2B5EF4-FFF2-40B4-BE49-F238E27FC236}">
                  <a16:creationId xmlns:a16="http://schemas.microsoft.com/office/drawing/2014/main" id="{9F18A9F1-3DA2-4EAD-AE99-53B86C118521}"/>
                </a:ext>
              </a:extLst>
            </p:cNvPr>
            <p:cNvSpPr/>
            <p:nvPr/>
          </p:nvSpPr>
          <p:spPr>
            <a:xfrm>
              <a:off x="9933833" y="3031057"/>
              <a:ext cx="50920" cy="86"/>
            </a:xfrm>
            <a:custGeom>
              <a:avLst/>
              <a:gdLst>
                <a:gd name="connsiteX0" fmla="*/ 50874 w 50920"/>
                <a:gd name="connsiteY0" fmla="*/ -49 h 50411"/>
                <a:gd name="connsiteX1" fmla="*/ -47 w 50920"/>
                <a:gd name="connsiteY1" fmla="*/ -49 h 50411"/>
                <a:gd name="connsiteX2" fmla="*/ -47 w 50920"/>
                <a:gd name="connsiteY2" fmla="*/ 50362 h 50411"/>
                <a:gd name="connsiteX3" fmla="*/ 50874 w 50920"/>
                <a:gd name="connsiteY3" fmla="*/ 50362 h 50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920" h="50411">
                  <a:moveTo>
                    <a:pt x="50874" y="-49"/>
                  </a:moveTo>
                  <a:lnTo>
                    <a:pt x="-47" y="-49"/>
                  </a:lnTo>
                  <a:lnTo>
                    <a:pt x="-47" y="50362"/>
                  </a:lnTo>
                  <a:lnTo>
                    <a:pt x="50874" y="50362"/>
                  </a:lnTo>
                  <a:close/>
                </a:path>
              </a:pathLst>
            </a:custGeom>
            <a:solidFill>
              <a:srgbClr val="1D1D1B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" name="Freihandform: Form 106">
              <a:extLst>
                <a:ext uri="{FF2B5EF4-FFF2-40B4-BE49-F238E27FC236}">
                  <a16:creationId xmlns:a16="http://schemas.microsoft.com/office/drawing/2014/main" id="{F5AA0D4E-FEE9-434B-AB52-B423E67EDDCD}"/>
                </a:ext>
              </a:extLst>
            </p:cNvPr>
            <p:cNvSpPr/>
            <p:nvPr/>
          </p:nvSpPr>
          <p:spPr>
            <a:xfrm>
              <a:off x="9856010" y="3005725"/>
              <a:ext cx="50920" cy="50369"/>
            </a:xfrm>
            <a:custGeom>
              <a:avLst/>
              <a:gdLst>
                <a:gd name="connsiteX0" fmla="*/ 50874 w 50920"/>
                <a:gd name="connsiteY0" fmla="*/ -49 h 50369"/>
                <a:gd name="connsiteX1" fmla="*/ -47 w 50920"/>
                <a:gd name="connsiteY1" fmla="*/ -49 h 50369"/>
                <a:gd name="connsiteX2" fmla="*/ -47 w 50920"/>
                <a:gd name="connsiteY2" fmla="*/ 50320 h 50369"/>
                <a:gd name="connsiteX3" fmla="*/ 50874 w 50920"/>
                <a:gd name="connsiteY3" fmla="*/ 50320 h 50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920" h="50369">
                  <a:moveTo>
                    <a:pt x="50874" y="-49"/>
                  </a:moveTo>
                  <a:lnTo>
                    <a:pt x="-47" y="-49"/>
                  </a:lnTo>
                  <a:lnTo>
                    <a:pt x="-47" y="50320"/>
                  </a:lnTo>
                  <a:lnTo>
                    <a:pt x="50874" y="50320"/>
                  </a:lnTo>
                  <a:close/>
                </a:path>
              </a:pathLst>
            </a:custGeom>
            <a:solidFill>
              <a:srgbClr val="1D1D1B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" name="Freihandform: Form 107">
              <a:extLst>
                <a:ext uri="{FF2B5EF4-FFF2-40B4-BE49-F238E27FC236}">
                  <a16:creationId xmlns:a16="http://schemas.microsoft.com/office/drawing/2014/main" id="{9EE25155-3AF3-42A9-BCF2-75E0DAF7897E}"/>
                </a:ext>
              </a:extLst>
            </p:cNvPr>
            <p:cNvSpPr/>
            <p:nvPr/>
          </p:nvSpPr>
          <p:spPr>
            <a:xfrm>
              <a:off x="9933833" y="2928368"/>
              <a:ext cx="50496" cy="50284"/>
            </a:xfrm>
            <a:custGeom>
              <a:avLst/>
              <a:gdLst>
                <a:gd name="connsiteX0" fmla="*/ 50449 w 50496"/>
                <a:gd name="connsiteY0" fmla="*/ -49 h 50284"/>
                <a:gd name="connsiteX1" fmla="*/ -47 w 50496"/>
                <a:gd name="connsiteY1" fmla="*/ -49 h 50284"/>
                <a:gd name="connsiteX2" fmla="*/ -47 w 50496"/>
                <a:gd name="connsiteY2" fmla="*/ 50235 h 50284"/>
                <a:gd name="connsiteX3" fmla="*/ 50449 w 50496"/>
                <a:gd name="connsiteY3" fmla="*/ 50235 h 50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496" h="50284">
                  <a:moveTo>
                    <a:pt x="50449" y="-49"/>
                  </a:moveTo>
                  <a:lnTo>
                    <a:pt x="-47" y="-49"/>
                  </a:lnTo>
                  <a:lnTo>
                    <a:pt x="-47" y="50235"/>
                  </a:lnTo>
                  <a:lnTo>
                    <a:pt x="50449" y="50235"/>
                  </a:lnTo>
                  <a:close/>
                </a:path>
              </a:pathLst>
            </a:custGeom>
            <a:solidFill>
              <a:srgbClr val="1D1D1B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" name="Freihandform: Form 108">
              <a:extLst>
                <a:ext uri="{FF2B5EF4-FFF2-40B4-BE49-F238E27FC236}">
                  <a16:creationId xmlns:a16="http://schemas.microsoft.com/office/drawing/2014/main" id="{DEF0DA1D-B6D2-498C-B53E-CED3BFAD9278}"/>
                </a:ext>
              </a:extLst>
            </p:cNvPr>
            <p:cNvSpPr/>
            <p:nvPr/>
          </p:nvSpPr>
          <p:spPr>
            <a:xfrm>
              <a:off x="10011615" y="3005768"/>
              <a:ext cx="50581" cy="50623"/>
            </a:xfrm>
            <a:custGeom>
              <a:avLst/>
              <a:gdLst>
                <a:gd name="connsiteX0" fmla="*/ -47 w 50581"/>
                <a:gd name="connsiteY0" fmla="*/ 50575 h 50623"/>
                <a:gd name="connsiteX1" fmla="*/ 50534 w 50581"/>
                <a:gd name="connsiteY1" fmla="*/ 50575 h 50623"/>
                <a:gd name="connsiteX2" fmla="*/ 50534 w 50581"/>
                <a:gd name="connsiteY2" fmla="*/ -49 h 50623"/>
                <a:gd name="connsiteX3" fmla="*/ -47 w 50581"/>
                <a:gd name="connsiteY3" fmla="*/ -49 h 50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581" h="50623">
                  <a:moveTo>
                    <a:pt x="-47" y="50575"/>
                  </a:moveTo>
                  <a:lnTo>
                    <a:pt x="50534" y="50575"/>
                  </a:lnTo>
                  <a:lnTo>
                    <a:pt x="50534" y="-49"/>
                  </a:lnTo>
                  <a:lnTo>
                    <a:pt x="-47" y="-49"/>
                  </a:lnTo>
                  <a:close/>
                </a:path>
              </a:pathLst>
            </a:custGeom>
            <a:solidFill>
              <a:srgbClr val="1D1D1B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0" name="Freihandform: Form 109">
              <a:extLst>
                <a:ext uri="{FF2B5EF4-FFF2-40B4-BE49-F238E27FC236}">
                  <a16:creationId xmlns:a16="http://schemas.microsoft.com/office/drawing/2014/main" id="{2238CAA2-A5B4-4576-9022-4792FE8BDB51}"/>
                </a:ext>
              </a:extLst>
            </p:cNvPr>
            <p:cNvSpPr/>
            <p:nvPr/>
          </p:nvSpPr>
          <p:spPr>
            <a:xfrm>
              <a:off x="9778652" y="3005895"/>
              <a:ext cx="50411" cy="50453"/>
            </a:xfrm>
            <a:custGeom>
              <a:avLst/>
              <a:gdLst>
                <a:gd name="connsiteX0" fmla="*/ 50364 w 50411"/>
                <a:gd name="connsiteY0" fmla="*/ -49 h 50453"/>
                <a:gd name="connsiteX1" fmla="*/ -47 w 50411"/>
                <a:gd name="connsiteY1" fmla="*/ -49 h 50453"/>
                <a:gd name="connsiteX2" fmla="*/ -47 w 50411"/>
                <a:gd name="connsiteY2" fmla="*/ 50405 h 50453"/>
                <a:gd name="connsiteX3" fmla="*/ 50364 w 50411"/>
                <a:gd name="connsiteY3" fmla="*/ 50405 h 50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411" h="50453">
                  <a:moveTo>
                    <a:pt x="50364" y="-49"/>
                  </a:moveTo>
                  <a:lnTo>
                    <a:pt x="-47" y="-49"/>
                  </a:lnTo>
                  <a:lnTo>
                    <a:pt x="-47" y="50405"/>
                  </a:lnTo>
                  <a:lnTo>
                    <a:pt x="50364" y="50405"/>
                  </a:lnTo>
                  <a:close/>
                </a:path>
              </a:pathLst>
            </a:custGeom>
            <a:solidFill>
              <a:srgbClr val="1D1D1B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1" name="Freihandform: Form 110">
              <a:extLst>
                <a:ext uri="{FF2B5EF4-FFF2-40B4-BE49-F238E27FC236}">
                  <a16:creationId xmlns:a16="http://schemas.microsoft.com/office/drawing/2014/main" id="{1491DBF3-4AFF-4B55-B393-4C0AEC72846E}"/>
                </a:ext>
              </a:extLst>
            </p:cNvPr>
            <p:cNvSpPr/>
            <p:nvPr/>
          </p:nvSpPr>
          <p:spPr>
            <a:xfrm>
              <a:off x="10011403" y="2928665"/>
              <a:ext cx="50666" cy="49987"/>
            </a:xfrm>
            <a:custGeom>
              <a:avLst/>
              <a:gdLst>
                <a:gd name="connsiteX0" fmla="*/ 50619 w 50666"/>
                <a:gd name="connsiteY0" fmla="*/ -49 h 49987"/>
                <a:gd name="connsiteX1" fmla="*/ -47 w 50666"/>
                <a:gd name="connsiteY1" fmla="*/ -49 h 49987"/>
                <a:gd name="connsiteX2" fmla="*/ -47 w 50666"/>
                <a:gd name="connsiteY2" fmla="*/ 49938 h 49987"/>
                <a:gd name="connsiteX3" fmla="*/ 50619 w 50666"/>
                <a:gd name="connsiteY3" fmla="*/ 49938 h 49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666" h="49987">
                  <a:moveTo>
                    <a:pt x="50619" y="-49"/>
                  </a:moveTo>
                  <a:lnTo>
                    <a:pt x="-47" y="-49"/>
                  </a:lnTo>
                  <a:lnTo>
                    <a:pt x="-47" y="49938"/>
                  </a:lnTo>
                  <a:lnTo>
                    <a:pt x="50619" y="49938"/>
                  </a:lnTo>
                  <a:close/>
                </a:path>
              </a:pathLst>
            </a:custGeom>
            <a:solidFill>
              <a:srgbClr val="1D1D1B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23" name="Gruppieren 122">
            <a:extLst>
              <a:ext uri="{FF2B5EF4-FFF2-40B4-BE49-F238E27FC236}">
                <a16:creationId xmlns:a16="http://schemas.microsoft.com/office/drawing/2014/main" id="{C02146D6-9FC3-4B59-8B1C-F701A76CA1B3}"/>
              </a:ext>
            </a:extLst>
          </p:cNvPr>
          <p:cNvGrpSpPr/>
          <p:nvPr/>
        </p:nvGrpSpPr>
        <p:grpSpPr>
          <a:xfrm>
            <a:off x="4450919" y="2500034"/>
            <a:ext cx="755851" cy="756064"/>
            <a:chOff x="4450919" y="2500034"/>
            <a:chExt cx="755851" cy="756064"/>
          </a:xfrm>
        </p:grpSpPr>
        <p:grpSp>
          <p:nvGrpSpPr>
            <p:cNvPr id="124" name="Grafik 81">
              <a:extLst>
                <a:ext uri="{FF2B5EF4-FFF2-40B4-BE49-F238E27FC236}">
                  <a16:creationId xmlns:a16="http://schemas.microsoft.com/office/drawing/2014/main" id="{459E0BF8-C7B2-4037-A103-1F1D0C6AB16D}"/>
                </a:ext>
              </a:extLst>
            </p:cNvPr>
            <p:cNvGrpSpPr/>
            <p:nvPr/>
          </p:nvGrpSpPr>
          <p:grpSpPr>
            <a:xfrm>
              <a:off x="4450919" y="2500034"/>
              <a:ext cx="755851" cy="756064"/>
              <a:chOff x="4450919" y="2500034"/>
              <a:chExt cx="755851" cy="756064"/>
            </a:xfrm>
          </p:grpSpPr>
          <p:sp>
            <p:nvSpPr>
              <p:cNvPr id="128" name="Freihandform: Form 127">
                <a:extLst>
                  <a:ext uri="{FF2B5EF4-FFF2-40B4-BE49-F238E27FC236}">
                    <a16:creationId xmlns:a16="http://schemas.microsoft.com/office/drawing/2014/main" id="{F374323F-E4B3-476B-A267-B5D387439A57}"/>
                  </a:ext>
                </a:extLst>
              </p:cNvPr>
              <p:cNvSpPr/>
              <p:nvPr/>
            </p:nvSpPr>
            <p:spPr>
              <a:xfrm>
                <a:off x="4450919" y="2500034"/>
                <a:ext cx="683499" cy="466270"/>
              </a:xfrm>
              <a:custGeom>
                <a:avLst/>
                <a:gdLst>
                  <a:gd name="connsiteX0" fmla="*/ 10573 w 683499"/>
                  <a:gd name="connsiteY0" fmla="*/ 466221 h 466270"/>
                  <a:gd name="connsiteX1" fmla="*/ 289109 w 683499"/>
                  <a:gd name="connsiteY1" fmla="*/ 10507 h 466270"/>
                  <a:gd name="connsiteX2" fmla="*/ 683449 w 683499"/>
                  <a:gd name="connsiteY2" fmla="*/ 155944 h 466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99" h="466270">
                    <a:moveTo>
                      <a:pt x="10573" y="466221"/>
                    </a:moveTo>
                    <a:cubicBezTo>
                      <a:pt x="-38354" y="263463"/>
                      <a:pt x="86351" y="59433"/>
                      <a:pt x="289109" y="10507"/>
                    </a:cubicBezTo>
                    <a:cubicBezTo>
                      <a:pt x="437882" y="-25393"/>
                      <a:pt x="593612" y="32042"/>
                      <a:pt x="683449" y="155944"/>
                    </a:cubicBezTo>
                  </a:path>
                </a:pathLst>
              </a:custGeom>
              <a:noFill/>
              <a:ln w="33594" cap="flat">
                <a:solidFill>
                  <a:srgbClr val="1D1D1B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9" name="Freihandform: Form 128">
                <a:extLst>
                  <a:ext uri="{FF2B5EF4-FFF2-40B4-BE49-F238E27FC236}">
                    <a16:creationId xmlns:a16="http://schemas.microsoft.com/office/drawing/2014/main" id="{B84E3A6B-4A24-4C35-8C3E-9E4D066F9B86}"/>
                  </a:ext>
                </a:extLst>
              </p:cNvPr>
              <p:cNvSpPr/>
              <p:nvPr/>
            </p:nvSpPr>
            <p:spPr>
              <a:xfrm>
                <a:off x="5082310" y="2617539"/>
                <a:ext cx="89068" cy="101502"/>
              </a:xfrm>
              <a:custGeom>
                <a:avLst/>
                <a:gdLst>
                  <a:gd name="connsiteX0" fmla="*/ 0 w 89068"/>
                  <a:gd name="connsiteY0" fmla="*/ 52788 h 101502"/>
                  <a:gd name="connsiteX1" fmla="*/ 89069 w 89068"/>
                  <a:gd name="connsiteY1" fmla="*/ 101502 h 101502"/>
                  <a:gd name="connsiteX2" fmla="*/ 86735 w 89068"/>
                  <a:gd name="connsiteY2" fmla="*/ 0 h 101502"/>
                  <a:gd name="connsiteX3" fmla="*/ 0 w 89068"/>
                  <a:gd name="connsiteY3" fmla="*/ 52788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0" y="52788"/>
                    </a:moveTo>
                    <a:lnTo>
                      <a:pt x="89069" y="101502"/>
                    </a:lnTo>
                    <a:lnTo>
                      <a:pt x="86735" y="0"/>
                    </a:lnTo>
                    <a:lnTo>
                      <a:pt x="0" y="52788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0" name="Freihandform: Form 129">
                <a:extLst>
                  <a:ext uri="{FF2B5EF4-FFF2-40B4-BE49-F238E27FC236}">
                    <a16:creationId xmlns:a16="http://schemas.microsoft.com/office/drawing/2014/main" id="{9D47E677-1490-49C7-BA5E-1E2B8866F54A}"/>
                  </a:ext>
                </a:extLst>
              </p:cNvPr>
              <p:cNvSpPr/>
              <p:nvPr/>
            </p:nvSpPr>
            <p:spPr>
              <a:xfrm>
                <a:off x="4523327" y="2790415"/>
                <a:ext cx="683443" cy="465683"/>
              </a:xfrm>
              <a:custGeom>
                <a:avLst/>
                <a:gdLst>
                  <a:gd name="connsiteX0" fmla="*/ 672909 w 683443"/>
                  <a:gd name="connsiteY0" fmla="*/ -49 h 465683"/>
                  <a:gd name="connsiteX1" fmla="*/ 393646 w 683443"/>
                  <a:gd name="connsiteY1" fmla="*/ 455220 h 465683"/>
                  <a:gd name="connsiteX2" fmla="*/ -51 w 683443"/>
                  <a:gd name="connsiteY2" fmla="*/ 309719 h 465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43" h="465683">
                    <a:moveTo>
                      <a:pt x="672909" y="-49"/>
                    </a:moveTo>
                    <a:cubicBezTo>
                      <a:pt x="721512" y="202786"/>
                      <a:pt x="596481" y="406617"/>
                      <a:pt x="393646" y="455220"/>
                    </a:cubicBezTo>
                    <a:cubicBezTo>
                      <a:pt x="245063" y="490822"/>
                      <a:pt x="89667" y="433392"/>
                      <a:pt x="-51" y="309719"/>
                    </a:cubicBezTo>
                  </a:path>
                </a:pathLst>
              </a:custGeom>
              <a:noFill/>
              <a:ln w="33594" cap="flat">
                <a:solidFill>
                  <a:srgbClr val="1D1D1B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1" name="Freihandform: Form 130">
                <a:extLst>
                  <a:ext uri="{FF2B5EF4-FFF2-40B4-BE49-F238E27FC236}">
                    <a16:creationId xmlns:a16="http://schemas.microsoft.com/office/drawing/2014/main" id="{9A51E221-D03A-4830-88E8-06229DEFA35E}"/>
                  </a:ext>
                </a:extLst>
              </p:cNvPr>
              <p:cNvSpPr/>
              <p:nvPr/>
            </p:nvSpPr>
            <p:spPr>
              <a:xfrm>
                <a:off x="4486367" y="3037254"/>
                <a:ext cx="89068" cy="101502"/>
              </a:xfrm>
              <a:custGeom>
                <a:avLst/>
                <a:gdLst>
                  <a:gd name="connsiteX0" fmla="*/ 89069 w 89068"/>
                  <a:gd name="connsiteY0" fmla="*/ 48714 h 101502"/>
                  <a:gd name="connsiteX1" fmla="*/ 0 w 89068"/>
                  <a:gd name="connsiteY1" fmla="*/ 0 h 101502"/>
                  <a:gd name="connsiteX2" fmla="*/ 2334 w 89068"/>
                  <a:gd name="connsiteY2" fmla="*/ 101502 h 101502"/>
                  <a:gd name="connsiteX3" fmla="*/ 89069 w 89068"/>
                  <a:gd name="connsiteY3" fmla="*/ 48714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89069" y="48714"/>
                    </a:moveTo>
                    <a:lnTo>
                      <a:pt x="0" y="0"/>
                    </a:lnTo>
                    <a:lnTo>
                      <a:pt x="2334" y="101502"/>
                    </a:lnTo>
                    <a:lnTo>
                      <a:pt x="89069" y="48714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25" name="Freihandform: Form 124">
              <a:extLst>
                <a:ext uri="{FF2B5EF4-FFF2-40B4-BE49-F238E27FC236}">
                  <a16:creationId xmlns:a16="http://schemas.microsoft.com/office/drawing/2014/main" id="{3A2A87B7-5903-461A-A2CA-E729F5AE8DBF}"/>
                </a:ext>
              </a:extLst>
            </p:cNvPr>
            <p:cNvSpPr/>
            <p:nvPr/>
          </p:nvSpPr>
          <p:spPr>
            <a:xfrm>
              <a:off x="4837593" y="2793854"/>
              <a:ext cx="275970" cy="344562"/>
            </a:xfrm>
            <a:custGeom>
              <a:avLst/>
              <a:gdLst>
                <a:gd name="connsiteX0" fmla="*/ 237324 w 275970"/>
                <a:gd name="connsiteY0" fmla="*/ 14632 h 344562"/>
                <a:gd name="connsiteX1" fmla="*/ 208681 w 275970"/>
                <a:gd name="connsiteY1" fmla="*/ 113758 h 344562"/>
                <a:gd name="connsiteX2" fmla="*/ 140278 w 275970"/>
                <a:gd name="connsiteY2" fmla="*/ 162811 h 344562"/>
                <a:gd name="connsiteX3" fmla="*/ 127760 w 275970"/>
                <a:gd name="connsiteY3" fmla="*/ 159162 h 344562"/>
                <a:gd name="connsiteX4" fmla="*/ 165950 w 275970"/>
                <a:gd name="connsiteY4" fmla="*/ 132004 h 344562"/>
                <a:gd name="connsiteX5" fmla="*/ 157124 w 275970"/>
                <a:gd name="connsiteY5" fmla="*/ 92116 h 344562"/>
                <a:gd name="connsiteX6" fmla="*/ 66612 w 275970"/>
                <a:gd name="connsiteY6" fmla="*/ 131537 h 344562"/>
                <a:gd name="connsiteX7" fmla="*/ 51464 w 275970"/>
                <a:gd name="connsiteY7" fmla="*/ 217721 h 344562"/>
                <a:gd name="connsiteX8" fmla="*/ -51 w 275970"/>
                <a:gd name="connsiteY8" fmla="*/ 344514 h 344562"/>
                <a:gd name="connsiteX9" fmla="*/ 136077 w 275970"/>
                <a:gd name="connsiteY9" fmla="*/ 298473 h 344562"/>
                <a:gd name="connsiteX10" fmla="*/ 142994 w 275970"/>
                <a:gd name="connsiteY10" fmla="*/ 239490 h 344562"/>
                <a:gd name="connsiteX11" fmla="*/ 233293 w 275970"/>
                <a:gd name="connsiteY11" fmla="*/ 169473 h 344562"/>
                <a:gd name="connsiteX12" fmla="*/ 274878 w 275970"/>
                <a:gd name="connsiteY12" fmla="*/ 25495 h 344562"/>
                <a:gd name="connsiteX13" fmla="*/ 237324 w 275970"/>
                <a:gd name="connsiteY13" fmla="*/ 14632 h 34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0" h="344562">
                  <a:moveTo>
                    <a:pt x="237324" y="14632"/>
                  </a:moveTo>
                  <a:cubicBezTo>
                    <a:pt x="230874" y="33133"/>
                    <a:pt x="214410" y="101834"/>
                    <a:pt x="208681" y="113758"/>
                  </a:cubicBezTo>
                  <a:cubicBezTo>
                    <a:pt x="202953" y="125682"/>
                    <a:pt x="153984" y="154494"/>
                    <a:pt x="140278" y="162811"/>
                  </a:cubicBezTo>
                  <a:cubicBezTo>
                    <a:pt x="126572" y="171128"/>
                    <a:pt x="127760" y="159162"/>
                    <a:pt x="127760" y="159162"/>
                  </a:cubicBezTo>
                  <a:cubicBezTo>
                    <a:pt x="139453" y="148733"/>
                    <a:pt x="152260" y="139625"/>
                    <a:pt x="165950" y="132004"/>
                  </a:cubicBezTo>
                  <a:cubicBezTo>
                    <a:pt x="184494" y="122626"/>
                    <a:pt x="166375" y="91395"/>
                    <a:pt x="157124" y="92116"/>
                  </a:cubicBezTo>
                  <a:cubicBezTo>
                    <a:pt x="147874" y="92838"/>
                    <a:pt x="77221" y="122160"/>
                    <a:pt x="66612" y="131537"/>
                  </a:cubicBezTo>
                  <a:cubicBezTo>
                    <a:pt x="56004" y="140915"/>
                    <a:pt x="51464" y="217721"/>
                    <a:pt x="51464" y="217721"/>
                  </a:cubicBezTo>
                  <a:lnTo>
                    <a:pt x="-51" y="344514"/>
                  </a:lnTo>
                  <a:cubicBezTo>
                    <a:pt x="56046" y="342689"/>
                    <a:pt x="91139" y="326097"/>
                    <a:pt x="136077" y="298473"/>
                  </a:cubicBezTo>
                  <a:cubicBezTo>
                    <a:pt x="138071" y="272588"/>
                    <a:pt x="140787" y="242630"/>
                    <a:pt x="142994" y="239490"/>
                  </a:cubicBezTo>
                  <a:cubicBezTo>
                    <a:pt x="146855" y="233803"/>
                    <a:pt x="219375" y="186914"/>
                    <a:pt x="233293" y="169473"/>
                  </a:cubicBezTo>
                  <a:cubicBezTo>
                    <a:pt x="247211" y="152033"/>
                    <a:pt x="267028" y="60545"/>
                    <a:pt x="274878" y="25495"/>
                  </a:cubicBezTo>
                  <a:cubicBezTo>
                    <a:pt x="282729" y="-9556"/>
                    <a:pt x="243817" y="-3827"/>
                    <a:pt x="237324" y="14632"/>
                  </a:cubicBezTo>
                  <a:close/>
                </a:path>
              </a:pathLst>
            </a:custGeom>
            <a:solidFill>
              <a:srgbClr val="1D1D1B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6" name="Freihandform: Form 125">
              <a:extLst>
                <a:ext uri="{FF2B5EF4-FFF2-40B4-BE49-F238E27FC236}">
                  <a16:creationId xmlns:a16="http://schemas.microsoft.com/office/drawing/2014/main" id="{E31FDB72-D204-4267-ADBF-147A530028DD}"/>
                </a:ext>
              </a:extLst>
            </p:cNvPr>
            <p:cNvSpPr/>
            <p:nvPr/>
          </p:nvSpPr>
          <p:spPr>
            <a:xfrm>
              <a:off x="4547576" y="2795322"/>
              <a:ext cx="282717" cy="343136"/>
            </a:xfrm>
            <a:custGeom>
              <a:avLst/>
              <a:gdLst>
                <a:gd name="connsiteX0" fmla="*/ 209510 w 282717"/>
                <a:gd name="connsiteY0" fmla="*/ 131554 h 343136"/>
                <a:gd name="connsiteX1" fmla="*/ 118999 w 282717"/>
                <a:gd name="connsiteY1" fmla="*/ 92133 h 343136"/>
                <a:gd name="connsiteX2" fmla="*/ 110172 w 282717"/>
                <a:gd name="connsiteY2" fmla="*/ 132021 h 343136"/>
                <a:gd name="connsiteX3" fmla="*/ 148363 w 282717"/>
                <a:gd name="connsiteY3" fmla="*/ 159179 h 343136"/>
                <a:gd name="connsiteX4" fmla="*/ 135633 w 282717"/>
                <a:gd name="connsiteY4" fmla="*/ 162828 h 343136"/>
                <a:gd name="connsiteX5" fmla="*/ 67187 w 282717"/>
                <a:gd name="connsiteY5" fmla="*/ 113774 h 343136"/>
                <a:gd name="connsiteX6" fmla="*/ 38544 w 282717"/>
                <a:gd name="connsiteY6" fmla="*/ 14649 h 343136"/>
                <a:gd name="connsiteX7" fmla="*/ 990 w 282717"/>
                <a:gd name="connsiteY7" fmla="*/ 25512 h 343136"/>
                <a:gd name="connsiteX8" fmla="*/ 42618 w 282717"/>
                <a:gd name="connsiteY8" fmla="*/ 169490 h 343136"/>
                <a:gd name="connsiteX9" fmla="*/ 132917 w 282717"/>
                <a:gd name="connsiteY9" fmla="*/ 239506 h 343136"/>
                <a:gd name="connsiteX10" fmla="*/ 151121 w 282717"/>
                <a:gd name="connsiteY10" fmla="*/ 304515 h 343136"/>
                <a:gd name="connsiteX11" fmla="*/ 282667 w 282717"/>
                <a:gd name="connsiteY11" fmla="*/ 343087 h 343136"/>
                <a:gd name="connsiteX12" fmla="*/ 225508 w 282717"/>
                <a:gd name="connsiteY12" fmla="*/ 215786 h 343136"/>
                <a:gd name="connsiteX13" fmla="*/ 209510 w 282717"/>
                <a:gd name="connsiteY13" fmla="*/ 131554 h 343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82717" h="343136">
                  <a:moveTo>
                    <a:pt x="209510" y="131554"/>
                  </a:moveTo>
                  <a:cubicBezTo>
                    <a:pt x="198902" y="122176"/>
                    <a:pt x="128249" y="92854"/>
                    <a:pt x="118999" y="92133"/>
                  </a:cubicBezTo>
                  <a:cubicBezTo>
                    <a:pt x="109748" y="91412"/>
                    <a:pt x="91629" y="122643"/>
                    <a:pt x="110172" y="132021"/>
                  </a:cubicBezTo>
                  <a:cubicBezTo>
                    <a:pt x="123855" y="139654"/>
                    <a:pt x="136661" y="148761"/>
                    <a:pt x="148363" y="159179"/>
                  </a:cubicBezTo>
                  <a:cubicBezTo>
                    <a:pt x="148363" y="159179"/>
                    <a:pt x="149551" y="171145"/>
                    <a:pt x="135633" y="162828"/>
                  </a:cubicBezTo>
                  <a:cubicBezTo>
                    <a:pt x="121714" y="154511"/>
                    <a:pt x="72915" y="125698"/>
                    <a:pt x="67187" y="113774"/>
                  </a:cubicBezTo>
                  <a:cubicBezTo>
                    <a:pt x="61458" y="101850"/>
                    <a:pt x="45036" y="33150"/>
                    <a:pt x="38544" y="14649"/>
                  </a:cubicBezTo>
                  <a:cubicBezTo>
                    <a:pt x="32051" y="-3853"/>
                    <a:pt x="-6860" y="-9539"/>
                    <a:pt x="990" y="25512"/>
                  </a:cubicBezTo>
                  <a:cubicBezTo>
                    <a:pt x="8840" y="60562"/>
                    <a:pt x="28529" y="152092"/>
                    <a:pt x="42618" y="169490"/>
                  </a:cubicBezTo>
                  <a:cubicBezTo>
                    <a:pt x="56706" y="186888"/>
                    <a:pt x="129013" y="233820"/>
                    <a:pt x="132917" y="239506"/>
                  </a:cubicBezTo>
                  <a:cubicBezTo>
                    <a:pt x="136015" y="243962"/>
                    <a:pt x="146751" y="286778"/>
                    <a:pt x="151121" y="304515"/>
                  </a:cubicBezTo>
                  <a:cubicBezTo>
                    <a:pt x="193555" y="328320"/>
                    <a:pt x="231194" y="341220"/>
                    <a:pt x="282667" y="343087"/>
                  </a:cubicBezTo>
                  <a:lnTo>
                    <a:pt x="225508" y="215786"/>
                  </a:lnTo>
                  <a:cubicBezTo>
                    <a:pt x="225508" y="215786"/>
                    <a:pt x="220119" y="140932"/>
                    <a:pt x="209510" y="131554"/>
                  </a:cubicBezTo>
                  <a:close/>
                </a:path>
              </a:pathLst>
            </a:custGeom>
            <a:solidFill>
              <a:srgbClr val="1D1D1B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7" name="Freihandform: Form 126">
              <a:extLst>
                <a:ext uri="{FF2B5EF4-FFF2-40B4-BE49-F238E27FC236}">
                  <a16:creationId xmlns:a16="http://schemas.microsoft.com/office/drawing/2014/main" id="{2FE903DB-23AC-4CAC-855F-767D722EF370}"/>
                </a:ext>
              </a:extLst>
            </p:cNvPr>
            <p:cNvSpPr/>
            <p:nvPr/>
          </p:nvSpPr>
          <p:spPr>
            <a:xfrm>
              <a:off x="4710333" y="2637738"/>
              <a:ext cx="240855" cy="240855"/>
            </a:xfrm>
            <a:custGeom>
              <a:avLst/>
              <a:gdLst>
                <a:gd name="connsiteX0" fmla="*/ 240804 w 240855"/>
                <a:gd name="connsiteY0" fmla="*/ 120421 h 240855"/>
                <a:gd name="connsiteX1" fmla="*/ 120419 w 240855"/>
                <a:gd name="connsiteY1" fmla="*/ -49 h 240855"/>
                <a:gd name="connsiteX2" fmla="*/ -51 w 240855"/>
                <a:gd name="connsiteY2" fmla="*/ 120336 h 240855"/>
                <a:gd name="connsiteX3" fmla="*/ 120334 w 240855"/>
                <a:gd name="connsiteY3" fmla="*/ 240806 h 240855"/>
                <a:gd name="connsiteX4" fmla="*/ 120376 w 240855"/>
                <a:gd name="connsiteY4" fmla="*/ 240806 h 240855"/>
                <a:gd name="connsiteX5" fmla="*/ 240804 w 240855"/>
                <a:gd name="connsiteY5" fmla="*/ 120421 h 240855"/>
                <a:gd name="connsiteX6" fmla="*/ 204523 w 240855"/>
                <a:gd name="connsiteY6" fmla="*/ 141383 h 240855"/>
                <a:gd name="connsiteX7" fmla="*/ 141339 w 240855"/>
                <a:gd name="connsiteY7" fmla="*/ 141383 h 240855"/>
                <a:gd name="connsiteX8" fmla="*/ 141339 w 240855"/>
                <a:gd name="connsiteY8" fmla="*/ 204525 h 240855"/>
                <a:gd name="connsiteX9" fmla="*/ 99456 w 240855"/>
                <a:gd name="connsiteY9" fmla="*/ 204525 h 240855"/>
                <a:gd name="connsiteX10" fmla="*/ 99456 w 240855"/>
                <a:gd name="connsiteY10" fmla="*/ 141383 h 240855"/>
                <a:gd name="connsiteX11" fmla="*/ 36272 w 240855"/>
                <a:gd name="connsiteY11" fmla="*/ 141383 h 240855"/>
                <a:gd name="connsiteX12" fmla="*/ 36272 w 240855"/>
                <a:gd name="connsiteY12" fmla="*/ 99628 h 240855"/>
                <a:gd name="connsiteX13" fmla="*/ 99456 w 240855"/>
                <a:gd name="connsiteY13" fmla="*/ 99628 h 240855"/>
                <a:gd name="connsiteX14" fmla="*/ 99456 w 240855"/>
                <a:gd name="connsiteY14" fmla="*/ 36317 h 240855"/>
                <a:gd name="connsiteX15" fmla="*/ 141339 w 240855"/>
                <a:gd name="connsiteY15" fmla="*/ 36317 h 240855"/>
                <a:gd name="connsiteX16" fmla="*/ 141339 w 240855"/>
                <a:gd name="connsiteY16" fmla="*/ 99628 h 240855"/>
                <a:gd name="connsiteX17" fmla="*/ 204523 w 240855"/>
                <a:gd name="connsiteY17" fmla="*/ 99628 h 240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0855" h="240855">
                  <a:moveTo>
                    <a:pt x="240804" y="120421"/>
                  </a:moveTo>
                  <a:cubicBezTo>
                    <a:pt x="240827" y="53911"/>
                    <a:pt x="186929" y="-26"/>
                    <a:pt x="120419" y="-49"/>
                  </a:cubicBezTo>
                  <a:cubicBezTo>
                    <a:pt x="53908" y="-73"/>
                    <a:pt x="-28" y="53826"/>
                    <a:pt x="-51" y="120336"/>
                  </a:cubicBezTo>
                  <a:cubicBezTo>
                    <a:pt x="-75" y="186846"/>
                    <a:pt x="53824" y="240783"/>
                    <a:pt x="120334" y="240806"/>
                  </a:cubicBezTo>
                  <a:cubicBezTo>
                    <a:pt x="120348" y="240806"/>
                    <a:pt x="120362" y="240806"/>
                    <a:pt x="120376" y="240806"/>
                  </a:cubicBezTo>
                  <a:cubicBezTo>
                    <a:pt x="186870" y="240806"/>
                    <a:pt x="240781" y="186915"/>
                    <a:pt x="240804" y="120421"/>
                  </a:cubicBezTo>
                  <a:close/>
                  <a:moveTo>
                    <a:pt x="204523" y="141383"/>
                  </a:moveTo>
                  <a:lnTo>
                    <a:pt x="141339" y="141383"/>
                  </a:lnTo>
                  <a:lnTo>
                    <a:pt x="141339" y="204525"/>
                  </a:lnTo>
                  <a:lnTo>
                    <a:pt x="99456" y="204525"/>
                  </a:lnTo>
                  <a:lnTo>
                    <a:pt x="99456" y="141383"/>
                  </a:lnTo>
                  <a:lnTo>
                    <a:pt x="36272" y="141383"/>
                  </a:lnTo>
                  <a:lnTo>
                    <a:pt x="36272" y="99628"/>
                  </a:lnTo>
                  <a:lnTo>
                    <a:pt x="99456" y="99628"/>
                  </a:lnTo>
                  <a:lnTo>
                    <a:pt x="99456" y="36317"/>
                  </a:lnTo>
                  <a:lnTo>
                    <a:pt x="141339" y="36317"/>
                  </a:lnTo>
                  <a:lnTo>
                    <a:pt x="141339" y="99628"/>
                  </a:lnTo>
                  <a:lnTo>
                    <a:pt x="204523" y="99628"/>
                  </a:lnTo>
                  <a:close/>
                </a:path>
              </a:pathLst>
            </a:custGeom>
            <a:solidFill>
              <a:srgbClr val="1D1D1B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32" name="Gruppieren 131">
            <a:extLst>
              <a:ext uri="{FF2B5EF4-FFF2-40B4-BE49-F238E27FC236}">
                <a16:creationId xmlns:a16="http://schemas.microsoft.com/office/drawing/2014/main" id="{46DD1470-C486-4A04-B148-E130F05273FA}"/>
              </a:ext>
            </a:extLst>
          </p:cNvPr>
          <p:cNvGrpSpPr/>
          <p:nvPr/>
        </p:nvGrpSpPr>
        <p:grpSpPr>
          <a:xfrm>
            <a:off x="6989152" y="2500122"/>
            <a:ext cx="755830" cy="755976"/>
            <a:chOff x="6989152" y="2500122"/>
            <a:chExt cx="755830" cy="755976"/>
          </a:xfrm>
        </p:grpSpPr>
        <p:grpSp>
          <p:nvGrpSpPr>
            <p:cNvPr id="133" name="Grafik 82">
              <a:extLst>
                <a:ext uri="{FF2B5EF4-FFF2-40B4-BE49-F238E27FC236}">
                  <a16:creationId xmlns:a16="http://schemas.microsoft.com/office/drawing/2014/main" id="{C7337539-8B3F-4263-8FEA-0B3E3D8BD76F}"/>
                </a:ext>
              </a:extLst>
            </p:cNvPr>
            <p:cNvGrpSpPr/>
            <p:nvPr/>
          </p:nvGrpSpPr>
          <p:grpSpPr>
            <a:xfrm>
              <a:off x="6989152" y="2500122"/>
              <a:ext cx="755830" cy="755976"/>
              <a:chOff x="6989152" y="2500122"/>
              <a:chExt cx="755830" cy="755976"/>
            </a:xfrm>
          </p:grpSpPr>
          <p:sp>
            <p:nvSpPr>
              <p:cNvPr id="152" name="Freihandform: Form 151">
                <a:extLst>
                  <a:ext uri="{FF2B5EF4-FFF2-40B4-BE49-F238E27FC236}">
                    <a16:creationId xmlns:a16="http://schemas.microsoft.com/office/drawing/2014/main" id="{6CFF6477-852E-411A-BAE2-C54388CF53FE}"/>
                  </a:ext>
                </a:extLst>
              </p:cNvPr>
              <p:cNvSpPr/>
              <p:nvPr/>
            </p:nvSpPr>
            <p:spPr>
              <a:xfrm>
                <a:off x="6989152" y="2500122"/>
                <a:ext cx="683436" cy="466182"/>
              </a:xfrm>
              <a:custGeom>
                <a:avLst/>
                <a:gdLst>
                  <a:gd name="connsiteX0" fmla="*/ 10556 w 683436"/>
                  <a:gd name="connsiteY0" fmla="*/ 466133 h 466182"/>
                  <a:gd name="connsiteX1" fmla="*/ 289200 w 683436"/>
                  <a:gd name="connsiteY1" fmla="*/ 10485 h 466182"/>
                  <a:gd name="connsiteX2" fmla="*/ 683389 w 683436"/>
                  <a:gd name="connsiteY2" fmla="*/ 155856 h 466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36" h="466182">
                    <a:moveTo>
                      <a:pt x="10556" y="466133"/>
                    </a:moveTo>
                    <a:cubicBezTo>
                      <a:pt x="-38322" y="263364"/>
                      <a:pt x="86431" y="59364"/>
                      <a:pt x="289200" y="10485"/>
                    </a:cubicBezTo>
                    <a:cubicBezTo>
                      <a:pt x="437911" y="-25362"/>
                      <a:pt x="593560" y="32039"/>
                      <a:pt x="683389" y="155856"/>
                    </a:cubicBezTo>
                  </a:path>
                </a:pathLst>
              </a:custGeom>
              <a:noFill/>
              <a:ln w="33594" cap="flat">
                <a:solidFill>
                  <a:srgbClr val="1D1D1B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3" name="Freihandform: Form 152">
                <a:extLst>
                  <a:ext uri="{FF2B5EF4-FFF2-40B4-BE49-F238E27FC236}">
                    <a16:creationId xmlns:a16="http://schemas.microsoft.com/office/drawing/2014/main" id="{7DE274B0-3D7F-44B7-852E-1A9F2CE4E285}"/>
                  </a:ext>
                </a:extLst>
              </p:cNvPr>
              <p:cNvSpPr/>
              <p:nvPr/>
            </p:nvSpPr>
            <p:spPr>
              <a:xfrm>
                <a:off x="7620522" y="2617539"/>
                <a:ext cx="89068" cy="101502"/>
              </a:xfrm>
              <a:custGeom>
                <a:avLst/>
                <a:gdLst>
                  <a:gd name="connsiteX0" fmla="*/ 0 w 89068"/>
                  <a:gd name="connsiteY0" fmla="*/ 52788 h 101502"/>
                  <a:gd name="connsiteX1" fmla="*/ 89069 w 89068"/>
                  <a:gd name="connsiteY1" fmla="*/ 101502 h 101502"/>
                  <a:gd name="connsiteX2" fmla="*/ 86735 w 89068"/>
                  <a:gd name="connsiteY2" fmla="*/ 0 h 101502"/>
                  <a:gd name="connsiteX3" fmla="*/ 0 w 89068"/>
                  <a:gd name="connsiteY3" fmla="*/ 52788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0" y="52788"/>
                    </a:moveTo>
                    <a:lnTo>
                      <a:pt x="89069" y="101502"/>
                    </a:lnTo>
                    <a:lnTo>
                      <a:pt x="86735" y="0"/>
                    </a:lnTo>
                    <a:lnTo>
                      <a:pt x="0" y="52788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4" name="Freihandform: Form 153">
                <a:extLst>
                  <a:ext uri="{FF2B5EF4-FFF2-40B4-BE49-F238E27FC236}">
                    <a16:creationId xmlns:a16="http://schemas.microsoft.com/office/drawing/2014/main" id="{F0BC6984-7F26-40B9-A33B-6117D916D217}"/>
                  </a:ext>
                </a:extLst>
              </p:cNvPr>
              <p:cNvSpPr/>
              <p:nvPr/>
            </p:nvSpPr>
            <p:spPr>
              <a:xfrm>
                <a:off x="7061539" y="2790415"/>
                <a:ext cx="683443" cy="465683"/>
              </a:xfrm>
              <a:custGeom>
                <a:avLst/>
                <a:gdLst>
                  <a:gd name="connsiteX0" fmla="*/ 672913 w 683443"/>
                  <a:gd name="connsiteY0" fmla="*/ -49 h 465683"/>
                  <a:gd name="connsiteX1" fmla="*/ 393650 w 683443"/>
                  <a:gd name="connsiteY1" fmla="*/ 455220 h 465683"/>
                  <a:gd name="connsiteX2" fmla="*/ -47 w 683443"/>
                  <a:gd name="connsiteY2" fmla="*/ 309719 h 465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43" h="465683">
                    <a:moveTo>
                      <a:pt x="672913" y="-49"/>
                    </a:moveTo>
                    <a:cubicBezTo>
                      <a:pt x="721516" y="202786"/>
                      <a:pt x="596485" y="406617"/>
                      <a:pt x="393650" y="455220"/>
                    </a:cubicBezTo>
                    <a:cubicBezTo>
                      <a:pt x="245067" y="490822"/>
                      <a:pt x="89671" y="433392"/>
                      <a:pt x="-47" y="309719"/>
                    </a:cubicBezTo>
                  </a:path>
                </a:pathLst>
              </a:custGeom>
              <a:noFill/>
              <a:ln w="33594" cap="flat">
                <a:solidFill>
                  <a:srgbClr val="1D1D1B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5" name="Freihandform: Form 154">
                <a:extLst>
                  <a:ext uri="{FF2B5EF4-FFF2-40B4-BE49-F238E27FC236}">
                    <a16:creationId xmlns:a16="http://schemas.microsoft.com/office/drawing/2014/main" id="{FE5D78CC-7DC1-4D3C-B83C-074C9215CB10}"/>
                  </a:ext>
                </a:extLst>
              </p:cNvPr>
              <p:cNvSpPr/>
              <p:nvPr/>
            </p:nvSpPr>
            <p:spPr>
              <a:xfrm>
                <a:off x="7024579" y="3037254"/>
                <a:ext cx="89068" cy="101502"/>
              </a:xfrm>
              <a:custGeom>
                <a:avLst/>
                <a:gdLst>
                  <a:gd name="connsiteX0" fmla="*/ 89069 w 89068"/>
                  <a:gd name="connsiteY0" fmla="*/ 48714 h 101502"/>
                  <a:gd name="connsiteX1" fmla="*/ 0 w 89068"/>
                  <a:gd name="connsiteY1" fmla="*/ 0 h 101502"/>
                  <a:gd name="connsiteX2" fmla="*/ 2334 w 89068"/>
                  <a:gd name="connsiteY2" fmla="*/ 101502 h 101502"/>
                  <a:gd name="connsiteX3" fmla="*/ 89069 w 89068"/>
                  <a:gd name="connsiteY3" fmla="*/ 48714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89069" y="48714"/>
                    </a:moveTo>
                    <a:lnTo>
                      <a:pt x="0" y="0"/>
                    </a:lnTo>
                    <a:lnTo>
                      <a:pt x="2334" y="101502"/>
                    </a:lnTo>
                    <a:lnTo>
                      <a:pt x="89069" y="48714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34" name="Freihandform: Form 133">
              <a:extLst>
                <a:ext uri="{FF2B5EF4-FFF2-40B4-BE49-F238E27FC236}">
                  <a16:creationId xmlns:a16="http://schemas.microsoft.com/office/drawing/2014/main" id="{B3708EBE-33E0-4BD3-97DC-AD003B14F660}"/>
                </a:ext>
              </a:extLst>
            </p:cNvPr>
            <p:cNvSpPr/>
            <p:nvPr/>
          </p:nvSpPr>
          <p:spPr>
            <a:xfrm>
              <a:off x="7250752" y="2904732"/>
              <a:ext cx="64754" cy="50538"/>
            </a:xfrm>
            <a:custGeom>
              <a:avLst/>
              <a:gdLst>
                <a:gd name="connsiteX0" fmla="*/ 0 w 64754"/>
                <a:gd name="connsiteY0" fmla="*/ 0 h 50538"/>
                <a:gd name="connsiteX1" fmla="*/ 17143 w 64754"/>
                <a:gd name="connsiteY1" fmla="*/ 50539 h 50538"/>
                <a:gd name="connsiteX2" fmla="*/ 64754 w 64754"/>
                <a:gd name="connsiteY2" fmla="*/ 50539 h 50538"/>
                <a:gd name="connsiteX3" fmla="*/ 51048 w 64754"/>
                <a:gd name="connsiteY3" fmla="*/ 0 h 50538"/>
                <a:gd name="connsiteX4" fmla="*/ 0 w 64754"/>
                <a:gd name="connsiteY4" fmla="*/ 0 h 50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754" h="50538">
                  <a:moveTo>
                    <a:pt x="0" y="0"/>
                  </a:moveTo>
                  <a:lnTo>
                    <a:pt x="17143" y="50539"/>
                  </a:lnTo>
                  <a:lnTo>
                    <a:pt x="64754" y="50539"/>
                  </a:lnTo>
                  <a:lnTo>
                    <a:pt x="51048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" name="Freihandform: Form 134">
              <a:extLst>
                <a:ext uri="{FF2B5EF4-FFF2-40B4-BE49-F238E27FC236}">
                  <a16:creationId xmlns:a16="http://schemas.microsoft.com/office/drawing/2014/main" id="{365559F5-F796-4763-BF9F-2E54BB118DC6}"/>
                </a:ext>
              </a:extLst>
            </p:cNvPr>
            <p:cNvSpPr/>
            <p:nvPr/>
          </p:nvSpPr>
          <p:spPr>
            <a:xfrm>
              <a:off x="7224443" y="2827460"/>
              <a:ext cx="70313" cy="50581"/>
            </a:xfrm>
            <a:custGeom>
              <a:avLst/>
              <a:gdLst>
                <a:gd name="connsiteX0" fmla="*/ 57031 w 70313"/>
                <a:gd name="connsiteY0" fmla="*/ 0 h 50581"/>
                <a:gd name="connsiteX1" fmla="*/ 0 w 70313"/>
                <a:gd name="connsiteY1" fmla="*/ 0 h 50581"/>
                <a:gd name="connsiteX2" fmla="*/ 17228 w 70313"/>
                <a:gd name="connsiteY2" fmla="*/ 50581 h 50581"/>
                <a:gd name="connsiteX3" fmla="*/ 70313 w 70313"/>
                <a:gd name="connsiteY3" fmla="*/ 50581 h 50581"/>
                <a:gd name="connsiteX4" fmla="*/ 57031 w 70313"/>
                <a:gd name="connsiteY4" fmla="*/ 0 h 50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313" h="50581">
                  <a:moveTo>
                    <a:pt x="57031" y="0"/>
                  </a:moveTo>
                  <a:lnTo>
                    <a:pt x="0" y="0"/>
                  </a:lnTo>
                  <a:lnTo>
                    <a:pt x="17228" y="50581"/>
                  </a:lnTo>
                  <a:lnTo>
                    <a:pt x="70313" y="50581"/>
                  </a:lnTo>
                  <a:lnTo>
                    <a:pt x="57031" y="0"/>
                  </a:lnTo>
                  <a:close/>
                </a:path>
              </a:pathLst>
            </a:custGeom>
            <a:no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6" name="Freihandform: Form 135">
              <a:extLst>
                <a:ext uri="{FF2B5EF4-FFF2-40B4-BE49-F238E27FC236}">
                  <a16:creationId xmlns:a16="http://schemas.microsoft.com/office/drawing/2014/main" id="{64FF7496-E491-47CA-BC15-5EBF9D279CF7}"/>
                </a:ext>
              </a:extLst>
            </p:cNvPr>
            <p:cNvSpPr/>
            <p:nvPr/>
          </p:nvSpPr>
          <p:spPr>
            <a:xfrm>
              <a:off x="7484563" y="2827333"/>
              <a:ext cx="73410" cy="50793"/>
            </a:xfrm>
            <a:custGeom>
              <a:avLst/>
              <a:gdLst>
                <a:gd name="connsiteX0" fmla="*/ 0 w 73410"/>
                <a:gd name="connsiteY0" fmla="*/ 50793 h 50793"/>
                <a:gd name="connsiteX1" fmla="*/ 55037 w 73410"/>
                <a:gd name="connsiteY1" fmla="*/ 50793 h 50793"/>
                <a:gd name="connsiteX2" fmla="*/ 73411 w 73410"/>
                <a:gd name="connsiteY2" fmla="*/ 0 h 50793"/>
                <a:gd name="connsiteX3" fmla="*/ 13367 w 73410"/>
                <a:gd name="connsiteY3" fmla="*/ 0 h 50793"/>
                <a:gd name="connsiteX4" fmla="*/ 0 w 73410"/>
                <a:gd name="connsiteY4" fmla="*/ 50793 h 50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410" h="50793">
                  <a:moveTo>
                    <a:pt x="0" y="50793"/>
                  </a:moveTo>
                  <a:lnTo>
                    <a:pt x="55037" y="50793"/>
                  </a:lnTo>
                  <a:lnTo>
                    <a:pt x="73411" y="0"/>
                  </a:lnTo>
                  <a:lnTo>
                    <a:pt x="13367" y="0"/>
                  </a:lnTo>
                  <a:lnTo>
                    <a:pt x="0" y="50793"/>
                  </a:lnTo>
                  <a:close/>
                </a:path>
              </a:pathLst>
            </a:custGeom>
            <a:no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7" name="Freihandform: Form 136">
              <a:extLst>
                <a:ext uri="{FF2B5EF4-FFF2-40B4-BE49-F238E27FC236}">
                  <a16:creationId xmlns:a16="http://schemas.microsoft.com/office/drawing/2014/main" id="{0B6D0873-5FDD-414C-A287-636C04B2081F}"/>
                </a:ext>
              </a:extLst>
            </p:cNvPr>
            <p:cNvSpPr/>
            <p:nvPr/>
          </p:nvSpPr>
          <p:spPr>
            <a:xfrm>
              <a:off x="7464322" y="2904563"/>
              <a:ext cx="65772" cy="50666"/>
            </a:xfrm>
            <a:custGeom>
              <a:avLst/>
              <a:gdLst>
                <a:gd name="connsiteX0" fmla="*/ 0 w 65772"/>
                <a:gd name="connsiteY0" fmla="*/ 50666 h 50666"/>
                <a:gd name="connsiteX1" fmla="*/ 47526 w 65772"/>
                <a:gd name="connsiteY1" fmla="*/ 50666 h 50666"/>
                <a:gd name="connsiteX2" fmla="*/ 65773 w 65772"/>
                <a:gd name="connsiteY2" fmla="*/ 0 h 50666"/>
                <a:gd name="connsiteX3" fmla="*/ 12857 w 65772"/>
                <a:gd name="connsiteY3" fmla="*/ 0 h 50666"/>
                <a:gd name="connsiteX4" fmla="*/ 0 w 65772"/>
                <a:gd name="connsiteY4" fmla="*/ 50666 h 50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772" h="50666">
                  <a:moveTo>
                    <a:pt x="0" y="50666"/>
                  </a:moveTo>
                  <a:lnTo>
                    <a:pt x="47526" y="50666"/>
                  </a:lnTo>
                  <a:lnTo>
                    <a:pt x="65773" y="0"/>
                  </a:lnTo>
                  <a:lnTo>
                    <a:pt x="12857" y="0"/>
                  </a:lnTo>
                  <a:lnTo>
                    <a:pt x="0" y="50666"/>
                  </a:lnTo>
                  <a:close/>
                </a:path>
              </a:pathLst>
            </a:custGeom>
            <a:no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8" name="Freihandform: Form 137">
              <a:extLst>
                <a:ext uri="{FF2B5EF4-FFF2-40B4-BE49-F238E27FC236}">
                  <a16:creationId xmlns:a16="http://schemas.microsoft.com/office/drawing/2014/main" id="{7D8715D9-8502-4964-93A6-BAD8BAE48624}"/>
                </a:ext>
              </a:extLst>
            </p:cNvPr>
            <p:cNvSpPr/>
            <p:nvPr/>
          </p:nvSpPr>
          <p:spPr>
            <a:xfrm>
              <a:off x="7307953" y="2827460"/>
              <a:ext cx="68615" cy="50538"/>
            </a:xfrm>
            <a:custGeom>
              <a:avLst/>
              <a:gdLst>
                <a:gd name="connsiteX0" fmla="*/ 68616 w 68615"/>
                <a:gd name="connsiteY0" fmla="*/ 0 h 50538"/>
                <a:gd name="connsiteX1" fmla="*/ 0 w 68615"/>
                <a:gd name="connsiteY1" fmla="*/ 0 h 50538"/>
                <a:gd name="connsiteX2" fmla="*/ 13324 w 68615"/>
                <a:gd name="connsiteY2" fmla="*/ 50539 h 50538"/>
                <a:gd name="connsiteX3" fmla="*/ 68616 w 68615"/>
                <a:gd name="connsiteY3" fmla="*/ 50539 h 50538"/>
                <a:gd name="connsiteX4" fmla="*/ 68616 w 68615"/>
                <a:gd name="connsiteY4" fmla="*/ 0 h 50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615" h="50538">
                  <a:moveTo>
                    <a:pt x="68616" y="0"/>
                  </a:moveTo>
                  <a:lnTo>
                    <a:pt x="0" y="0"/>
                  </a:lnTo>
                  <a:lnTo>
                    <a:pt x="13324" y="50539"/>
                  </a:lnTo>
                  <a:lnTo>
                    <a:pt x="68616" y="50539"/>
                  </a:lnTo>
                  <a:lnTo>
                    <a:pt x="68616" y="0"/>
                  </a:lnTo>
                  <a:close/>
                </a:path>
              </a:pathLst>
            </a:custGeom>
            <a:no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9" name="Freihandform: Form 138">
              <a:extLst>
                <a:ext uri="{FF2B5EF4-FFF2-40B4-BE49-F238E27FC236}">
                  <a16:creationId xmlns:a16="http://schemas.microsoft.com/office/drawing/2014/main" id="{F6AE1410-05D7-447C-99DF-BCA0DCC356DA}"/>
                </a:ext>
              </a:extLst>
            </p:cNvPr>
            <p:cNvSpPr/>
            <p:nvPr/>
          </p:nvSpPr>
          <p:spPr>
            <a:xfrm>
              <a:off x="7402878" y="2827290"/>
              <a:ext cx="68530" cy="50793"/>
            </a:xfrm>
            <a:custGeom>
              <a:avLst/>
              <a:gdLst>
                <a:gd name="connsiteX0" fmla="*/ 0 w 68530"/>
                <a:gd name="connsiteY0" fmla="*/ 0 h 50793"/>
                <a:gd name="connsiteX1" fmla="*/ 0 w 68530"/>
                <a:gd name="connsiteY1" fmla="*/ 50793 h 50793"/>
                <a:gd name="connsiteX2" fmla="*/ 55207 w 68530"/>
                <a:gd name="connsiteY2" fmla="*/ 50793 h 50793"/>
                <a:gd name="connsiteX3" fmla="*/ 68531 w 68530"/>
                <a:gd name="connsiteY3" fmla="*/ 0 h 50793"/>
                <a:gd name="connsiteX4" fmla="*/ 0 w 68530"/>
                <a:gd name="connsiteY4" fmla="*/ 0 h 50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530" h="50793">
                  <a:moveTo>
                    <a:pt x="0" y="0"/>
                  </a:moveTo>
                  <a:lnTo>
                    <a:pt x="0" y="50793"/>
                  </a:lnTo>
                  <a:lnTo>
                    <a:pt x="55207" y="50793"/>
                  </a:lnTo>
                  <a:lnTo>
                    <a:pt x="68531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0" name="Freihandform: Form 139">
              <a:extLst>
                <a:ext uri="{FF2B5EF4-FFF2-40B4-BE49-F238E27FC236}">
                  <a16:creationId xmlns:a16="http://schemas.microsoft.com/office/drawing/2014/main" id="{561B43DD-D686-40D2-9809-2CCF140978A8}"/>
                </a:ext>
              </a:extLst>
            </p:cNvPr>
            <p:cNvSpPr/>
            <p:nvPr/>
          </p:nvSpPr>
          <p:spPr>
            <a:xfrm>
              <a:off x="7402623" y="2904435"/>
              <a:ext cx="48544" cy="50835"/>
            </a:xfrm>
            <a:custGeom>
              <a:avLst/>
              <a:gdLst>
                <a:gd name="connsiteX0" fmla="*/ 0 w 48544"/>
                <a:gd name="connsiteY0" fmla="*/ 50836 h 50835"/>
                <a:gd name="connsiteX1" fmla="*/ 35178 w 48544"/>
                <a:gd name="connsiteY1" fmla="*/ 50836 h 50835"/>
                <a:gd name="connsiteX2" fmla="*/ 48544 w 48544"/>
                <a:gd name="connsiteY2" fmla="*/ 0 h 50835"/>
                <a:gd name="connsiteX3" fmla="*/ 0 w 48544"/>
                <a:gd name="connsiteY3" fmla="*/ 0 h 50835"/>
                <a:gd name="connsiteX4" fmla="*/ 0 w 48544"/>
                <a:gd name="connsiteY4" fmla="*/ 50836 h 50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544" h="50835">
                  <a:moveTo>
                    <a:pt x="0" y="50836"/>
                  </a:moveTo>
                  <a:lnTo>
                    <a:pt x="35178" y="50836"/>
                  </a:lnTo>
                  <a:lnTo>
                    <a:pt x="48544" y="0"/>
                  </a:lnTo>
                  <a:lnTo>
                    <a:pt x="0" y="0"/>
                  </a:lnTo>
                  <a:lnTo>
                    <a:pt x="0" y="50836"/>
                  </a:lnTo>
                  <a:close/>
                </a:path>
              </a:pathLst>
            </a:custGeom>
            <a:no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1" name="Freihandform: Form 140">
              <a:extLst>
                <a:ext uri="{FF2B5EF4-FFF2-40B4-BE49-F238E27FC236}">
                  <a16:creationId xmlns:a16="http://schemas.microsoft.com/office/drawing/2014/main" id="{C38A5521-4612-440B-9DEC-80FD569639D4}"/>
                </a:ext>
              </a:extLst>
            </p:cNvPr>
            <p:cNvSpPr/>
            <p:nvPr/>
          </p:nvSpPr>
          <p:spPr>
            <a:xfrm>
              <a:off x="7328279" y="2904520"/>
              <a:ext cx="48544" cy="50623"/>
            </a:xfrm>
            <a:custGeom>
              <a:avLst/>
              <a:gdLst>
                <a:gd name="connsiteX0" fmla="*/ 13239 w 48544"/>
                <a:gd name="connsiteY0" fmla="*/ 50624 h 50623"/>
                <a:gd name="connsiteX1" fmla="*/ 48544 w 48544"/>
                <a:gd name="connsiteY1" fmla="*/ 50624 h 50623"/>
                <a:gd name="connsiteX2" fmla="*/ 48544 w 48544"/>
                <a:gd name="connsiteY2" fmla="*/ 0 h 50623"/>
                <a:gd name="connsiteX3" fmla="*/ 0 w 48544"/>
                <a:gd name="connsiteY3" fmla="*/ 0 h 50623"/>
                <a:gd name="connsiteX4" fmla="*/ 13239 w 48544"/>
                <a:gd name="connsiteY4" fmla="*/ 50624 h 50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544" h="50623">
                  <a:moveTo>
                    <a:pt x="13239" y="50624"/>
                  </a:moveTo>
                  <a:lnTo>
                    <a:pt x="48544" y="50624"/>
                  </a:lnTo>
                  <a:lnTo>
                    <a:pt x="48544" y="0"/>
                  </a:lnTo>
                  <a:lnTo>
                    <a:pt x="0" y="0"/>
                  </a:lnTo>
                  <a:lnTo>
                    <a:pt x="13239" y="50624"/>
                  </a:lnTo>
                  <a:close/>
                </a:path>
              </a:pathLst>
            </a:custGeom>
            <a:no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2" name="Freihandform: Form 141">
              <a:extLst>
                <a:ext uri="{FF2B5EF4-FFF2-40B4-BE49-F238E27FC236}">
                  <a16:creationId xmlns:a16="http://schemas.microsoft.com/office/drawing/2014/main" id="{83814605-9A95-4980-A383-7EAB2B6756E1}"/>
                </a:ext>
              </a:extLst>
            </p:cNvPr>
            <p:cNvSpPr/>
            <p:nvPr/>
          </p:nvSpPr>
          <p:spPr>
            <a:xfrm>
              <a:off x="7269251" y="3067594"/>
              <a:ext cx="70399" cy="70016"/>
            </a:xfrm>
            <a:custGeom>
              <a:avLst/>
              <a:gdLst>
                <a:gd name="connsiteX0" fmla="*/ 35090 w 70399"/>
                <a:gd name="connsiteY0" fmla="*/ -49 h 70016"/>
                <a:gd name="connsiteX1" fmla="*/ 35090 w 70399"/>
                <a:gd name="connsiteY1" fmla="*/ -49 h 70016"/>
                <a:gd name="connsiteX2" fmla="*/ 9969 w 70399"/>
                <a:gd name="connsiteY2" fmla="*/ 10475 h 70016"/>
                <a:gd name="connsiteX3" fmla="*/ -45 w 70399"/>
                <a:gd name="connsiteY3" fmla="*/ 35087 h 70016"/>
                <a:gd name="connsiteX4" fmla="*/ 35302 w 70399"/>
                <a:gd name="connsiteY4" fmla="*/ 69967 h 70016"/>
                <a:gd name="connsiteX5" fmla="*/ 35302 w 70399"/>
                <a:gd name="connsiteY5" fmla="*/ 69967 h 70016"/>
                <a:gd name="connsiteX6" fmla="*/ 70353 w 70399"/>
                <a:gd name="connsiteY6" fmla="*/ 34790 h 70016"/>
                <a:gd name="connsiteX7" fmla="*/ 60126 w 70399"/>
                <a:gd name="connsiteY7" fmla="*/ 10220 h 70016"/>
                <a:gd name="connsiteX8" fmla="*/ 35090 w 70399"/>
                <a:gd name="connsiteY8" fmla="*/ -49 h 70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399" h="70016">
                  <a:moveTo>
                    <a:pt x="35090" y="-49"/>
                  </a:moveTo>
                  <a:lnTo>
                    <a:pt x="35090" y="-49"/>
                  </a:lnTo>
                  <a:cubicBezTo>
                    <a:pt x="25646" y="-42"/>
                    <a:pt x="16598" y="3748"/>
                    <a:pt x="9969" y="10475"/>
                  </a:cubicBezTo>
                  <a:cubicBezTo>
                    <a:pt x="3467" y="17005"/>
                    <a:pt x="-141" y="25872"/>
                    <a:pt x="-45" y="35087"/>
                  </a:cubicBezTo>
                  <a:cubicBezTo>
                    <a:pt x="233" y="54416"/>
                    <a:pt x="15970" y="69946"/>
                    <a:pt x="35302" y="69967"/>
                  </a:cubicBezTo>
                  <a:lnTo>
                    <a:pt x="35302" y="69967"/>
                  </a:lnTo>
                  <a:cubicBezTo>
                    <a:pt x="54661" y="69851"/>
                    <a:pt x="70306" y="54149"/>
                    <a:pt x="70353" y="34790"/>
                  </a:cubicBezTo>
                  <a:cubicBezTo>
                    <a:pt x="70353" y="25565"/>
                    <a:pt x="66672" y="16721"/>
                    <a:pt x="60126" y="10220"/>
                  </a:cubicBezTo>
                  <a:cubicBezTo>
                    <a:pt x="53481" y="3600"/>
                    <a:pt x="44470" y="-96"/>
                    <a:pt x="35090" y="-49"/>
                  </a:cubicBezTo>
                  <a:close/>
                </a:path>
              </a:pathLst>
            </a:custGeom>
            <a:solidFill>
              <a:srgbClr val="000000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3" name="Freihandform: Form 142">
              <a:extLst>
                <a:ext uri="{FF2B5EF4-FFF2-40B4-BE49-F238E27FC236}">
                  <a16:creationId xmlns:a16="http://schemas.microsoft.com/office/drawing/2014/main" id="{5D23D13B-B690-4569-8009-AFB28A43E233}"/>
                </a:ext>
              </a:extLst>
            </p:cNvPr>
            <p:cNvSpPr/>
            <p:nvPr/>
          </p:nvSpPr>
          <p:spPr>
            <a:xfrm>
              <a:off x="7464488" y="3067521"/>
              <a:ext cx="71307" cy="70016"/>
            </a:xfrm>
            <a:custGeom>
              <a:avLst/>
              <a:gdLst>
                <a:gd name="connsiteX0" fmla="*/ 36662 w 71307"/>
                <a:gd name="connsiteY0" fmla="*/ -19 h 70016"/>
                <a:gd name="connsiteX1" fmla="*/ 36408 w 71307"/>
                <a:gd name="connsiteY1" fmla="*/ -19 h 70016"/>
                <a:gd name="connsiteX2" fmla="*/ -17 w 71307"/>
                <a:gd name="connsiteY2" fmla="*/ 33513 h 70016"/>
                <a:gd name="connsiteX3" fmla="*/ 33515 w 71307"/>
                <a:gd name="connsiteY3" fmla="*/ 69938 h 70016"/>
                <a:gd name="connsiteX4" fmla="*/ 35898 w 71307"/>
                <a:gd name="connsiteY4" fmla="*/ 69955 h 70016"/>
                <a:gd name="connsiteX5" fmla="*/ 36238 w 71307"/>
                <a:gd name="connsiteY5" fmla="*/ 69955 h 70016"/>
                <a:gd name="connsiteX6" fmla="*/ 61062 w 71307"/>
                <a:gd name="connsiteY6" fmla="*/ 59983 h 70016"/>
                <a:gd name="connsiteX7" fmla="*/ 60827 w 71307"/>
                <a:gd name="connsiteY7" fmla="*/ 10175 h 70016"/>
                <a:gd name="connsiteX8" fmla="*/ 36662 w 71307"/>
                <a:gd name="connsiteY8" fmla="*/ -19 h 70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307" h="70016">
                  <a:moveTo>
                    <a:pt x="36662" y="-19"/>
                  </a:moveTo>
                  <a:lnTo>
                    <a:pt x="36408" y="-19"/>
                  </a:lnTo>
                  <a:cubicBezTo>
                    <a:pt x="17090" y="-817"/>
                    <a:pt x="782" y="14195"/>
                    <a:pt x="-17" y="33513"/>
                  </a:cubicBezTo>
                  <a:cubicBezTo>
                    <a:pt x="-816" y="52831"/>
                    <a:pt x="14197" y="69139"/>
                    <a:pt x="33515" y="69938"/>
                  </a:cubicBezTo>
                  <a:cubicBezTo>
                    <a:pt x="34309" y="69970"/>
                    <a:pt x="35104" y="69976"/>
                    <a:pt x="35898" y="69955"/>
                  </a:cubicBezTo>
                  <a:lnTo>
                    <a:pt x="36238" y="69955"/>
                  </a:lnTo>
                  <a:cubicBezTo>
                    <a:pt x="45506" y="70044"/>
                    <a:pt x="54431" y="66458"/>
                    <a:pt x="61062" y="59983"/>
                  </a:cubicBezTo>
                  <a:cubicBezTo>
                    <a:pt x="74751" y="46164"/>
                    <a:pt x="74646" y="23864"/>
                    <a:pt x="60827" y="10175"/>
                  </a:cubicBezTo>
                  <a:cubicBezTo>
                    <a:pt x="54385" y="3793"/>
                    <a:pt x="45729" y="141"/>
                    <a:pt x="36662" y="-19"/>
                  </a:cubicBezTo>
                  <a:close/>
                </a:path>
              </a:pathLst>
            </a:custGeom>
            <a:solidFill>
              <a:srgbClr val="000000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4" name="Freihandform: Form 143">
              <a:extLst>
                <a:ext uri="{FF2B5EF4-FFF2-40B4-BE49-F238E27FC236}">
                  <a16:creationId xmlns:a16="http://schemas.microsoft.com/office/drawing/2014/main" id="{2D8401EB-BB2C-40F5-96B5-E0702ACBFFD7}"/>
                </a:ext>
              </a:extLst>
            </p:cNvPr>
            <p:cNvSpPr/>
            <p:nvPr/>
          </p:nvSpPr>
          <p:spPr>
            <a:xfrm>
              <a:off x="7111300" y="2720583"/>
              <a:ext cx="477625" cy="333314"/>
            </a:xfrm>
            <a:custGeom>
              <a:avLst/>
              <a:gdLst>
                <a:gd name="connsiteX0" fmla="*/ 406060 w 477625"/>
                <a:gd name="connsiteY0" fmla="*/ 260481 h 333314"/>
                <a:gd name="connsiteX1" fmla="*/ 422524 w 477625"/>
                <a:gd name="connsiteY1" fmla="*/ 248854 h 333314"/>
                <a:gd name="connsiteX2" fmla="*/ 476203 w 477625"/>
                <a:gd name="connsiteY2" fmla="*/ 99869 h 333314"/>
                <a:gd name="connsiteX3" fmla="*/ 475566 w 477625"/>
                <a:gd name="connsiteY3" fmla="*/ 86163 h 333314"/>
                <a:gd name="connsiteX4" fmla="*/ 462539 w 477625"/>
                <a:gd name="connsiteY4" fmla="*/ 80689 h 333314"/>
                <a:gd name="connsiteX5" fmla="*/ 421633 w 477625"/>
                <a:gd name="connsiteY5" fmla="*/ 80689 h 333314"/>
                <a:gd name="connsiteX6" fmla="*/ 429865 w 477625"/>
                <a:gd name="connsiteY6" fmla="*/ 60702 h 333314"/>
                <a:gd name="connsiteX7" fmla="*/ 391887 w 477625"/>
                <a:gd name="connsiteY7" fmla="*/ 47463 h 333314"/>
                <a:gd name="connsiteX8" fmla="*/ 369906 w 477625"/>
                <a:gd name="connsiteY8" fmla="*/ 72923 h 333314"/>
                <a:gd name="connsiteX9" fmla="*/ 392014 w 477625"/>
                <a:gd name="connsiteY9" fmla="*/ 80646 h 333314"/>
                <a:gd name="connsiteX10" fmla="*/ 342196 w 477625"/>
                <a:gd name="connsiteY10" fmla="*/ 80646 h 333314"/>
                <a:gd name="connsiteX11" fmla="*/ 355436 w 477625"/>
                <a:gd name="connsiteY11" fmla="*/ 65285 h 333314"/>
                <a:gd name="connsiteX12" fmla="*/ 332776 w 477625"/>
                <a:gd name="connsiteY12" fmla="*/ 19414 h 333314"/>
                <a:gd name="connsiteX13" fmla="*/ 330103 w 477625"/>
                <a:gd name="connsiteY13" fmla="*/ 21536 h 333314"/>
                <a:gd name="connsiteX14" fmla="*/ 315803 w 477625"/>
                <a:gd name="connsiteY14" fmla="*/ 35199 h 333314"/>
                <a:gd name="connsiteX15" fmla="*/ 307952 w 477625"/>
                <a:gd name="connsiteY15" fmla="*/ 45426 h 333314"/>
                <a:gd name="connsiteX16" fmla="*/ 325223 w 477625"/>
                <a:gd name="connsiteY16" fmla="*/ 80392 h 333314"/>
                <a:gd name="connsiteX17" fmla="*/ 325223 w 477625"/>
                <a:gd name="connsiteY17" fmla="*/ 80646 h 333314"/>
                <a:gd name="connsiteX18" fmla="*/ 308249 w 477625"/>
                <a:gd name="connsiteY18" fmla="*/ 80646 h 333314"/>
                <a:gd name="connsiteX19" fmla="*/ 298914 w 477625"/>
                <a:gd name="connsiteY19" fmla="*/ 61763 h 333314"/>
                <a:gd name="connsiteX20" fmla="*/ 292888 w 477625"/>
                <a:gd name="connsiteY20" fmla="*/ 80646 h 333314"/>
                <a:gd name="connsiteX21" fmla="*/ 277357 w 477625"/>
                <a:gd name="connsiteY21" fmla="*/ 80646 h 333314"/>
                <a:gd name="connsiteX22" fmla="*/ 318264 w 477625"/>
                <a:gd name="connsiteY22" fmla="*/ 14322 h 333314"/>
                <a:gd name="connsiteX23" fmla="*/ 292124 w 477625"/>
                <a:gd name="connsiteY23" fmla="*/ 6175 h 333314"/>
                <a:gd name="connsiteX24" fmla="*/ 245963 w 477625"/>
                <a:gd name="connsiteY24" fmla="*/ 51753 h 333314"/>
                <a:gd name="connsiteX25" fmla="*/ 255971 w 477625"/>
                <a:gd name="connsiteY25" fmla="*/ 80646 h 333314"/>
                <a:gd name="connsiteX26" fmla="*/ 218841 w 477625"/>
                <a:gd name="connsiteY26" fmla="*/ 80646 h 333314"/>
                <a:gd name="connsiteX27" fmla="*/ 228898 w 477625"/>
                <a:gd name="connsiteY27" fmla="*/ 60532 h 333314"/>
                <a:gd name="connsiteX28" fmla="*/ 217483 w 477625"/>
                <a:gd name="connsiteY28" fmla="*/ 43559 h 333314"/>
                <a:gd name="connsiteX29" fmla="*/ 212603 w 477625"/>
                <a:gd name="connsiteY29" fmla="*/ 38552 h 333314"/>
                <a:gd name="connsiteX30" fmla="*/ 195163 w 477625"/>
                <a:gd name="connsiteY30" fmla="*/ 72966 h 333314"/>
                <a:gd name="connsiteX31" fmla="*/ 202037 w 477625"/>
                <a:gd name="connsiteY31" fmla="*/ 80604 h 333314"/>
                <a:gd name="connsiteX32" fmla="*/ 184427 w 477625"/>
                <a:gd name="connsiteY32" fmla="*/ 80604 h 333314"/>
                <a:gd name="connsiteX33" fmla="*/ 178911 w 477625"/>
                <a:gd name="connsiteY33" fmla="*/ 74493 h 333314"/>
                <a:gd name="connsiteX34" fmla="*/ 161216 w 477625"/>
                <a:gd name="connsiteY34" fmla="*/ 80434 h 333314"/>
                <a:gd name="connsiteX35" fmla="*/ 104269 w 477625"/>
                <a:gd name="connsiteY35" fmla="*/ 80434 h 333314"/>
                <a:gd name="connsiteX36" fmla="*/ 80336 w 477625"/>
                <a:gd name="connsiteY36" fmla="*/ 10588 h 333314"/>
                <a:gd name="connsiteX37" fmla="*/ 68455 w 477625"/>
                <a:gd name="connsiteY37" fmla="*/ 64 h 333314"/>
                <a:gd name="connsiteX38" fmla="*/ 11296 w 477625"/>
                <a:gd name="connsiteY38" fmla="*/ 64 h 333314"/>
                <a:gd name="connsiteX39" fmla="*/ -34 w 477625"/>
                <a:gd name="connsiteY39" fmla="*/ 12540 h 333314"/>
                <a:gd name="connsiteX40" fmla="*/ 10532 w 477625"/>
                <a:gd name="connsiteY40" fmla="*/ 25270 h 333314"/>
                <a:gd name="connsiteX41" fmla="*/ 57931 w 477625"/>
                <a:gd name="connsiteY41" fmla="*/ 25482 h 333314"/>
                <a:gd name="connsiteX42" fmla="*/ 159136 w 477625"/>
                <a:gd name="connsiteY42" fmla="*/ 321756 h 333314"/>
                <a:gd name="connsiteX43" fmla="*/ 175601 w 477625"/>
                <a:gd name="connsiteY43" fmla="*/ 333256 h 333314"/>
                <a:gd name="connsiteX44" fmla="*/ 416074 w 477625"/>
                <a:gd name="connsiteY44" fmla="*/ 333256 h 333314"/>
                <a:gd name="connsiteX45" fmla="*/ 420699 w 477625"/>
                <a:gd name="connsiteY45" fmla="*/ 332959 h 333314"/>
                <a:gd name="connsiteX46" fmla="*/ 431478 w 477625"/>
                <a:gd name="connsiteY46" fmla="*/ 320228 h 333314"/>
                <a:gd name="connsiteX47" fmla="*/ 420572 w 477625"/>
                <a:gd name="connsiteY47" fmla="*/ 307710 h 333314"/>
                <a:gd name="connsiteX48" fmla="*/ 416329 w 477625"/>
                <a:gd name="connsiteY48" fmla="*/ 307710 h 333314"/>
                <a:gd name="connsiteX49" fmla="*/ 181499 w 477625"/>
                <a:gd name="connsiteY49" fmla="*/ 307710 h 333314"/>
                <a:gd name="connsiteX50" fmla="*/ 165459 w 477625"/>
                <a:gd name="connsiteY50" fmla="*/ 260481 h 333314"/>
                <a:gd name="connsiteX51" fmla="*/ 406060 w 477625"/>
                <a:gd name="connsiteY51" fmla="*/ 260481 h 333314"/>
                <a:gd name="connsiteX52" fmla="*/ 291488 w 477625"/>
                <a:gd name="connsiteY52" fmla="*/ 106658 h 333314"/>
                <a:gd name="connsiteX53" fmla="*/ 360019 w 477625"/>
                <a:gd name="connsiteY53" fmla="*/ 106658 h 333314"/>
                <a:gd name="connsiteX54" fmla="*/ 346695 w 477625"/>
                <a:gd name="connsiteY54" fmla="*/ 157579 h 333314"/>
                <a:gd name="connsiteX55" fmla="*/ 291530 w 477625"/>
                <a:gd name="connsiteY55" fmla="*/ 157579 h 333314"/>
                <a:gd name="connsiteX56" fmla="*/ 400458 w 477625"/>
                <a:gd name="connsiteY56" fmla="*/ 234597 h 333314"/>
                <a:gd name="connsiteX57" fmla="*/ 352932 w 477625"/>
                <a:gd name="connsiteY57" fmla="*/ 234597 h 333314"/>
                <a:gd name="connsiteX58" fmla="*/ 365662 w 477625"/>
                <a:gd name="connsiteY58" fmla="*/ 183930 h 333314"/>
                <a:gd name="connsiteX59" fmla="*/ 418578 w 477625"/>
                <a:gd name="connsiteY59" fmla="*/ 183930 h 333314"/>
                <a:gd name="connsiteX60" fmla="*/ 428210 w 477625"/>
                <a:gd name="connsiteY60" fmla="*/ 157494 h 333314"/>
                <a:gd name="connsiteX61" fmla="*/ 373385 w 477625"/>
                <a:gd name="connsiteY61" fmla="*/ 157494 h 333314"/>
                <a:gd name="connsiteX62" fmla="*/ 386752 w 477625"/>
                <a:gd name="connsiteY62" fmla="*/ 106573 h 333314"/>
                <a:gd name="connsiteX63" fmla="*/ 446796 w 477625"/>
                <a:gd name="connsiteY63" fmla="*/ 106573 h 333314"/>
                <a:gd name="connsiteX64" fmla="*/ 113011 w 477625"/>
                <a:gd name="connsiteY64" fmla="*/ 106786 h 333314"/>
                <a:gd name="connsiteX65" fmla="*/ 170127 w 477625"/>
                <a:gd name="connsiteY65" fmla="*/ 106786 h 333314"/>
                <a:gd name="connsiteX66" fmla="*/ 183409 w 477625"/>
                <a:gd name="connsiteY66" fmla="*/ 157409 h 333314"/>
                <a:gd name="connsiteX67" fmla="*/ 130324 w 477625"/>
                <a:gd name="connsiteY67" fmla="*/ 157409 h 333314"/>
                <a:gd name="connsiteX68" fmla="*/ 156505 w 477625"/>
                <a:gd name="connsiteY68" fmla="*/ 234639 h 333314"/>
                <a:gd name="connsiteX69" fmla="*/ 139532 w 477625"/>
                <a:gd name="connsiteY69" fmla="*/ 184100 h 333314"/>
                <a:gd name="connsiteX70" fmla="*/ 190453 w 477625"/>
                <a:gd name="connsiteY70" fmla="*/ 184100 h 333314"/>
                <a:gd name="connsiteX71" fmla="*/ 204159 w 477625"/>
                <a:gd name="connsiteY71" fmla="*/ 234639 h 333314"/>
                <a:gd name="connsiteX72" fmla="*/ 196563 w 477625"/>
                <a:gd name="connsiteY72" fmla="*/ 106828 h 333314"/>
                <a:gd name="connsiteX73" fmla="*/ 265179 w 477625"/>
                <a:gd name="connsiteY73" fmla="*/ 106828 h 333314"/>
                <a:gd name="connsiteX74" fmla="*/ 265179 w 477625"/>
                <a:gd name="connsiteY74" fmla="*/ 157367 h 333314"/>
                <a:gd name="connsiteX75" fmla="*/ 210015 w 477625"/>
                <a:gd name="connsiteY75" fmla="*/ 157367 h 333314"/>
                <a:gd name="connsiteX76" fmla="*/ 265433 w 477625"/>
                <a:gd name="connsiteY76" fmla="*/ 234512 h 333314"/>
                <a:gd name="connsiteX77" fmla="*/ 230128 w 477625"/>
                <a:gd name="connsiteY77" fmla="*/ 234512 h 333314"/>
                <a:gd name="connsiteX78" fmla="*/ 216889 w 477625"/>
                <a:gd name="connsiteY78" fmla="*/ 183888 h 333314"/>
                <a:gd name="connsiteX79" fmla="*/ 265433 w 477625"/>
                <a:gd name="connsiteY79" fmla="*/ 183888 h 333314"/>
                <a:gd name="connsiteX80" fmla="*/ 291233 w 477625"/>
                <a:gd name="connsiteY80" fmla="*/ 183803 h 333314"/>
                <a:gd name="connsiteX81" fmla="*/ 339778 w 477625"/>
                <a:gd name="connsiteY81" fmla="*/ 183803 h 333314"/>
                <a:gd name="connsiteX82" fmla="*/ 326411 w 477625"/>
                <a:gd name="connsiteY82" fmla="*/ 234724 h 333314"/>
                <a:gd name="connsiteX83" fmla="*/ 291233 w 477625"/>
                <a:gd name="connsiteY83" fmla="*/ 234724 h 333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477625" h="333314">
                  <a:moveTo>
                    <a:pt x="406060" y="260481"/>
                  </a:moveTo>
                  <a:cubicBezTo>
                    <a:pt x="416117" y="260481"/>
                    <a:pt x="419044" y="258360"/>
                    <a:pt x="422524" y="248854"/>
                  </a:cubicBezTo>
                  <a:cubicBezTo>
                    <a:pt x="424306" y="243975"/>
                    <a:pt x="471238" y="113999"/>
                    <a:pt x="476203" y="99869"/>
                  </a:cubicBezTo>
                  <a:cubicBezTo>
                    <a:pt x="478240" y="95470"/>
                    <a:pt x="478003" y="90354"/>
                    <a:pt x="475566" y="86163"/>
                  </a:cubicBezTo>
                  <a:cubicBezTo>
                    <a:pt x="472380" y="82318"/>
                    <a:pt x="467515" y="80275"/>
                    <a:pt x="462539" y="80689"/>
                  </a:cubicBezTo>
                  <a:lnTo>
                    <a:pt x="421633" y="80689"/>
                  </a:lnTo>
                  <a:cubicBezTo>
                    <a:pt x="424853" y="74232"/>
                    <a:pt x="427604" y="67553"/>
                    <a:pt x="429865" y="60702"/>
                  </a:cubicBezTo>
                  <a:lnTo>
                    <a:pt x="391887" y="47463"/>
                  </a:lnTo>
                  <a:lnTo>
                    <a:pt x="369906" y="72923"/>
                  </a:lnTo>
                  <a:lnTo>
                    <a:pt x="392014" y="80646"/>
                  </a:lnTo>
                  <a:lnTo>
                    <a:pt x="342196" y="80646"/>
                  </a:lnTo>
                  <a:lnTo>
                    <a:pt x="355436" y="65285"/>
                  </a:lnTo>
                  <a:lnTo>
                    <a:pt x="332776" y="19414"/>
                  </a:lnTo>
                  <a:cubicBezTo>
                    <a:pt x="331843" y="20093"/>
                    <a:pt x="330951" y="20814"/>
                    <a:pt x="330103" y="21536"/>
                  </a:cubicBezTo>
                  <a:cubicBezTo>
                    <a:pt x="324955" y="25674"/>
                    <a:pt x="320170" y="30245"/>
                    <a:pt x="315803" y="35199"/>
                  </a:cubicBezTo>
                  <a:cubicBezTo>
                    <a:pt x="312969" y="38436"/>
                    <a:pt x="310347" y="41852"/>
                    <a:pt x="307952" y="45426"/>
                  </a:cubicBezTo>
                  <a:lnTo>
                    <a:pt x="325223" y="80392"/>
                  </a:lnTo>
                  <a:lnTo>
                    <a:pt x="325223" y="80646"/>
                  </a:lnTo>
                  <a:lnTo>
                    <a:pt x="308249" y="80646"/>
                  </a:lnTo>
                  <a:lnTo>
                    <a:pt x="298914" y="61763"/>
                  </a:lnTo>
                  <a:cubicBezTo>
                    <a:pt x="296317" y="67854"/>
                    <a:pt x="294299" y="74177"/>
                    <a:pt x="292888" y="80646"/>
                  </a:cubicBezTo>
                  <a:lnTo>
                    <a:pt x="277357" y="80646"/>
                  </a:lnTo>
                  <a:cubicBezTo>
                    <a:pt x="282534" y="60745"/>
                    <a:pt x="291912" y="35454"/>
                    <a:pt x="318264" y="14322"/>
                  </a:cubicBezTo>
                  <a:cubicBezTo>
                    <a:pt x="310590" y="8994"/>
                    <a:pt x="301466" y="6150"/>
                    <a:pt x="292124" y="6175"/>
                  </a:cubicBezTo>
                  <a:cubicBezTo>
                    <a:pt x="266791" y="6014"/>
                    <a:pt x="246124" y="26420"/>
                    <a:pt x="245963" y="51753"/>
                  </a:cubicBezTo>
                  <a:cubicBezTo>
                    <a:pt x="245896" y="62246"/>
                    <a:pt x="249429" y="72443"/>
                    <a:pt x="255971" y="80646"/>
                  </a:cubicBezTo>
                  <a:lnTo>
                    <a:pt x="218841" y="80646"/>
                  </a:lnTo>
                  <a:lnTo>
                    <a:pt x="228898" y="60532"/>
                  </a:lnTo>
                  <a:cubicBezTo>
                    <a:pt x="225844" y="54404"/>
                    <a:pt x="222007" y="48699"/>
                    <a:pt x="217483" y="43559"/>
                  </a:cubicBezTo>
                  <a:cubicBezTo>
                    <a:pt x="215955" y="41862"/>
                    <a:pt x="214385" y="40207"/>
                    <a:pt x="212603" y="38552"/>
                  </a:cubicBezTo>
                  <a:lnTo>
                    <a:pt x="195163" y="72966"/>
                  </a:lnTo>
                  <a:lnTo>
                    <a:pt x="202037" y="80604"/>
                  </a:lnTo>
                  <a:lnTo>
                    <a:pt x="184427" y="80604"/>
                  </a:lnTo>
                  <a:lnTo>
                    <a:pt x="178911" y="74493"/>
                  </a:lnTo>
                  <a:lnTo>
                    <a:pt x="161216" y="80434"/>
                  </a:lnTo>
                  <a:lnTo>
                    <a:pt x="104269" y="80434"/>
                  </a:lnTo>
                  <a:cubicBezTo>
                    <a:pt x="104269" y="80434"/>
                    <a:pt x="85895" y="27094"/>
                    <a:pt x="80336" y="10588"/>
                  </a:cubicBezTo>
                  <a:cubicBezTo>
                    <a:pt x="78809" y="6090"/>
                    <a:pt x="76093" y="106"/>
                    <a:pt x="68455" y="64"/>
                  </a:cubicBezTo>
                  <a:cubicBezTo>
                    <a:pt x="46219" y="64"/>
                    <a:pt x="28058" y="-191"/>
                    <a:pt x="11296" y="64"/>
                  </a:cubicBezTo>
                  <a:cubicBezTo>
                    <a:pt x="4724" y="384"/>
                    <a:pt x="-346" y="5967"/>
                    <a:pt x="-34" y="12540"/>
                  </a:cubicBezTo>
                  <a:cubicBezTo>
                    <a:pt x="-125" y="18805"/>
                    <a:pt x="4357" y="24205"/>
                    <a:pt x="10532" y="25270"/>
                  </a:cubicBezTo>
                  <a:cubicBezTo>
                    <a:pt x="12315" y="25524"/>
                    <a:pt x="57931" y="25482"/>
                    <a:pt x="57931" y="25482"/>
                  </a:cubicBezTo>
                  <a:cubicBezTo>
                    <a:pt x="57931" y="25482"/>
                    <a:pt x="142799" y="274527"/>
                    <a:pt x="159136" y="321756"/>
                  </a:cubicBezTo>
                  <a:cubicBezTo>
                    <a:pt x="162319" y="331092"/>
                    <a:pt x="165417" y="333256"/>
                    <a:pt x="175601" y="333256"/>
                  </a:cubicBezTo>
                  <a:lnTo>
                    <a:pt x="416074" y="333256"/>
                  </a:lnTo>
                  <a:cubicBezTo>
                    <a:pt x="417622" y="333297"/>
                    <a:pt x="419170" y="333198"/>
                    <a:pt x="420699" y="332959"/>
                  </a:cubicBezTo>
                  <a:cubicBezTo>
                    <a:pt x="426959" y="331988"/>
                    <a:pt x="431552" y="326562"/>
                    <a:pt x="431478" y="320228"/>
                  </a:cubicBezTo>
                  <a:cubicBezTo>
                    <a:pt x="431438" y="313933"/>
                    <a:pt x="426802" y="308613"/>
                    <a:pt x="420572" y="307710"/>
                  </a:cubicBezTo>
                  <a:cubicBezTo>
                    <a:pt x="419160" y="307603"/>
                    <a:pt x="417741" y="307603"/>
                    <a:pt x="416329" y="307710"/>
                  </a:cubicBezTo>
                  <a:lnTo>
                    <a:pt x="181499" y="307710"/>
                  </a:lnTo>
                  <a:lnTo>
                    <a:pt x="165459" y="260481"/>
                  </a:lnTo>
                  <a:cubicBezTo>
                    <a:pt x="165459" y="260481"/>
                    <a:pt x="363413" y="260566"/>
                    <a:pt x="406060" y="260481"/>
                  </a:cubicBezTo>
                  <a:close/>
                  <a:moveTo>
                    <a:pt x="291488" y="106658"/>
                  </a:moveTo>
                  <a:lnTo>
                    <a:pt x="360019" y="106658"/>
                  </a:lnTo>
                  <a:lnTo>
                    <a:pt x="346695" y="157579"/>
                  </a:lnTo>
                  <a:lnTo>
                    <a:pt x="291530" y="157579"/>
                  </a:lnTo>
                  <a:close/>
                  <a:moveTo>
                    <a:pt x="400458" y="234597"/>
                  </a:moveTo>
                  <a:lnTo>
                    <a:pt x="352932" y="234597"/>
                  </a:lnTo>
                  <a:lnTo>
                    <a:pt x="365662" y="183930"/>
                  </a:lnTo>
                  <a:lnTo>
                    <a:pt x="418578" y="183930"/>
                  </a:lnTo>
                  <a:close/>
                  <a:moveTo>
                    <a:pt x="428210" y="157494"/>
                  </a:moveTo>
                  <a:lnTo>
                    <a:pt x="373385" y="157494"/>
                  </a:lnTo>
                  <a:lnTo>
                    <a:pt x="386752" y="106573"/>
                  </a:lnTo>
                  <a:lnTo>
                    <a:pt x="446796" y="106573"/>
                  </a:lnTo>
                  <a:close/>
                  <a:moveTo>
                    <a:pt x="113011" y="106786"/>
                  </a:moveTo>
                  <a:lnTo>
                    <a:pt x="170127" y="106786"/>
                  </a:lnTo>
                  <a:lnTo>
                    <a:pt x="183409" y="157409"/>
                  </a:lnTo>
                  <a:lnTo>
                    <a:pt x="130324" y="157409"/>
                  </a:lnTo>
                  <a:close/>
                  <a:moveTo>
                    <a:pt x="156505" y="234639"/>
                  </a:moveTo>
                  <a:lnTo>
                    <a:pt x="139532" y="184100"/>
                  </a:lnTo>
                  <a:lnTo>
                    <a:pt x="190453" y="184100"/>
                  </a:lnTo>
                  <a:lnTo>
                    <a:pt x="204159" y="234639"/>
                  </a:lnTo>
                  <a:close/>
                  <a:moveTo>
                    <a:pt x="196563" y="106828"/>
                  </a:moveTo>
                  <a:lnTo>
                    <a:pt x="265179" y="106828"/>
                  </a:lnTo>
                  <a:lnTo>
                    <a:pt x="265179" y="157367"/>
                  </a:lnTo>
                  <a:lnTo>
                    <a:pt x="210015" y="157367"/>
                  </a:lnTo>
                  <a:close/>
                  <a:moveTo>
                    <a:pt x="265433" y="234512"/>
                  </a:moveTo>
                  <a:lnTo>
                    <a:pt x="230128" y="234512"/>
                  </a:lnTo>
                  <a:lnTo>
                    <a:pt x="216889" y="183888"/>
                  </a:lnTo>
                  <a:lnTo>
                    <a:pt x="265433" y="183888"/>
                  </a:lnTo>
                  <a:close/>
                  <a:moveTo>
                    <a:pt x="291233" y="183803"/>
                  </a:moveTo>
                  <a:lnTo>
                    <a:pt x="339778" y="183803"/>
                  </a:lnTo>
                  <a:lnTo>
                    <a:pt x="326411" y="234724"/>
                  </a:lnTo>
                  <a:lnTo>
                    <a:pt x="291233" y="234724"/>
                  </a:lnTo>
                  <a:close/>
                </a:path>
              </a:pathLst>
            </a:custGeom>
            <a:solidFill>
              <a:srgbClr val="000000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5" name="Freihandform: Form 144">
              <a:extLst>
                <a:ext uri="{FF2B5EF4-FFF2-40B4-BE49-F238E27FC236}">
                  <a16:creationId xmlns:a16="http://schemas.microsoft.com/office/drawing/2014/main" id="{C539CDC2-2297-49CA-9906-4B0AAF29CDAE}"/>
                </a:ext>
              </a:extLst>
            </p:cNvPr>
            <p:cNvSpPr/>
            <p:nvPr/>
          </p:nvSpPr>
          <p:spPr>
            <a:xfrm>
              <a:off x="7456896" y="2717556"/>
              <a:ext cx="43367" cy="55673"/>
            </a:xfrm>
            <a:custGeom>
              <a:avLst/>
              <a:gdLst>
                <a:gd name="connsiteX0" fmla="*/ 43320 w 43367"/>
                <a:gd name="connsiteY0" fmla="*/ 29400 h 55673"/>
                <a:gd name="connsiteX1" fmla="*/ 28765 w 43367"/>
                <a:gd name="connsiteY1" fmla="*/ -49 h 55673"/>
                <a:gd name="connsiteX2" fmla="*/ -47 w 43367"/>
                <a:gd name="connsiteY2" fmla="*/ 13657 h 55673"/>
                <a:gd name="connsiteX3" fmla="*/ 20745 w 43367"/>
                <a:gd name="connsiteY3" fmla="*/ 55624 h 55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367" h="55673">
                  <a:moveTo>
                    <a:pt x="43320" y="29400"/>
                  </a:moveTo>
                  <a:lnTo>
                    <a:pt x="28765" y="-49"/>
                  </a:lnTo>
                  <a:cubicBezTo>
                    <a:pt x="18750" y="3600"/>
                    <a:pt x="9103" y="8189"/>
                    <a:pt x="-47" y="13657"/>
                  </a:cubicBezTo>
                  <a:lnTo>
                    <a:pt x="20745" y="55624"/>
                  </a:lnTo>
                  <a:close/>
                </a:path>
              </a:pathLst>
            </a:custGeom>
            <a:solidFill>
              <a:srgbClr val="000000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6" name="Freihandform: Form 145">
              <a:extLst>
                <a:ext uri="{FF2B5EF4-FFF2-40B4-BE49-F238E27FC236}">
                  <a16:creationId xmlns:a16="http://schemas.microsoft.com/office/drawing/2014/main" id="{38A8DA54-B1C8-4678-BFC9-0EADEAAA709E}"/>
                </a:ext>
              </a:extLst>
            </p:cNvPr>
            <p:cNvSpPr/>
            <p:nvPr/>
          </p:nvSpPr>
          <p:spPr>
            <a:xfrm>
              <a:off x="7281644" y="2739834"/>
              <a:ext cx="32207" cy="43579"/>
            </a:xfrm>
            <a:custGeom>
              <a:avLst/>
              <a:gdLst>
                <a:gd name="connsiteX0" fmla="*/ 15823 w 32207"/>
                <a:gd name="connsiteY0" fmla="*/ 43531 h 43579"/>
                <a:gd name="connsiteX1" fmla="*/ 32160 w 32207"/>
                <a:gd name="connsiteY1" fmla="*/ 10899 h 43579"/>
                <a:gd name="connsiteX2" fmla="*/ 12938 w 32207"/>
                <a:gd name="connsiteY2" fmla="*/ -49 h 43579"/>
                <a:gd name="connsiteX3" fmla="*/ -47 w 32207"/>
                <a:gd name="connsiteY3" fmla="*/ 25793 h 43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207" h="43579">
                  <a:moveTo>
                    <a:pt x="15823" y="43531"/>
                  </a:moveTo>
                  <a:lnTo>
                    <a:pt x="32160" y="10899"/>
                  </a:lnTo>
                  <a:cubicBezTo>
                    <a:pt x="26135" y="6616"/>
                    <a:pt x="19695" y="2949"/>
                    <a:pt x="12938" y="-49"/>
                  </a:cubicBezTo>
                  <a:lnTo>
                    <a:pt x="-47" y="25793"/>
                  </a:lnTo>
                  <a:close/>
                </a:path>
              </a:pathLst>
            </a:custGeom>
            <a:solidFill>
              <a:srgbClr val="000000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7" name="Freihandform: Form 146">
              <a:extLst>
                <a:ext uri="{FF2B5EF4-FFF2-40B4-BE49-F238E27FC236}">
                  <a16:creationId xmlns:a16="http://schemas.microsoft.com/office/drawing/2014/main" id="{4ABBBDD4-5C53-4B1E-8AD5-999DF4F4A5D8}"/>
                </a:ext>
              </a:extLst>
            </p:cNvPr>
            <p:cNvSpPr/>
            <p:nvPr/>
          </p:nvSpPr>
          <p:spPr>
            <a:xfrm>
              <a:off x="7500518" y="2705590"/>
              <a:ext cx="35389" cy="28727"/>
            </a:xfrm>
            <a:custGeom>
              <a:avLst/>
              <a:gdLst>
                <a:gd name="connsiteX0" fmla="*/ 35343 w 35389"/>
                <a:gd name="connsiteY0" fmla="*/ -49 h 28727"/>
                <a:gd name="connsiteX1" fmla="*/ 21679 w 35389"/>
                <a:gd name="connsiteY1" fmla="*/ 2030 h 28727"/>
                <a:gd name="connsiteX2" fmla="*/ -47 w 35389"/>
                <a:gd name="connsiteY2" fmla="*/ 7080 h 28727"/>
                <a:gd name="connsiteX3" fmla="*/ 10604 w 35389"/>
                <a:gd name="connsiteY3" fmla="*/ 28679 h 28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389" h="28727">
                  <a:moveTo>
                    <a:pt x="35343" y="-49"/>
                  </a:moveTo>
                  <a:cubicBezTo>
                    <a:pt x="31566" y="418"/>
                    <a:pt x="26856" y="1054"/>
                    <a:pt x="21679" y="2030"/>
                  </a:cubicBezTo>
                  <a:cubicBezTo>
                    <a:pt x="14357" y="3347"/>
                    <a:pt x="7105" y="5032"/>
                    <a:pt x="-47" y="7080"/>
                  </a:cubicBezTo>
                  <a:lnTo>
                    <a:pt x="10604" y="28679"/>
                  </a:lnTo>
                  <a:close/>
                </a:path>
              </a:pathLst>
            </a:custGeom>
            <a:solidFill>
              <a:srgbClr val="000000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" name="Freihandform: Form 147">
              <a:extLst>
                <a:ext uri="{FF2B5EF4-FFF2-40B4-BE49-F238E27FC236}">
                  <a16:creationId xmlns:a16="http://schemas.microsoft.com/office/drawing/2014/main" id="{E92BEAA3-4BF6-4EC4-A88B-FBCAF39AF7CD}"/>
                </a:ext>
              </a:extLst>
            </p:cNvPr>
            <p:cNvSpPr/>
            <p:nvPr/>
          </p:nvSpPr>
          <p:spPr>
            <a:xfrm>
              <a:off x="7513885" y="2714374"/>
              <a:ext cx="35508" cy="51811"/>
            </a:xfrm>
            <a:custGeom>
              <a:avLst/>
              <a:gdLst>
                <a:gd name="connsiteX0" fmla="*/ 31099 w 35508"/>
                <a:gd name="connsiteY0" fmla="*/ 51763 h 51811"/>
                <a:gd name="connsiteX1" fmla="*/ 35343 w 35508"/>
                <a:gd name="connsiteY1" fmla="*/ -49 h 51811"/>
                <a:gd name="connsiteX2" fmla="*/ -47 w 35508"/>
                <a:gd name="connsiteY2" fmla="*/ 40985 h 51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5508" h="51811">
                  <a:moveTo>
                    <a:pt x="31099" y="51763"/>
                  </a:moveTo>
                  <a:cubicBezTo>
                    <a:pt x="34478" y="34709"/>
                    <a:pt x="35901" y="17327"/>
                    <a:pt x="35343" y="-49"/>
                  </a:cubicBezTo>
                  <a:lnTo>
                    <a:pt x="-47" y="40985"/>
                  </a:lnTo>
                  <a:close/>
                </a:path>
              </a:pathLst>
            </a:custGeom>
            <a:solidFill>
              <a:srgbClr val="000000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" name="Freihandform: Form 148">
              <a:extLst>
                <a:ext uri="{FF2B5EF4-FFF2-40B4-BE49-F238E27FC236}">
                  <a16:creationId xmlns:a16="http://schemas.microsoft.com/office/drawing/2014/main" id="{BE5AB1BA-DB64-4B9C-8933-CABB3007F3CA}"/>
                </a:ext>
              </a:extLst>
            </p:cNvPr>
            <p:cNvSpPr/>
            <p:nvPr/>
          </p:nvSpPr>
          <p:spPr>
            <a:xfrm>
              <a:off x="7247230" y="2727274"/>
              <a:ext cx="35474" cy="28218"/>
            </a:xfrm>
            <a:custGeom>
              <a:avLst/>
              <a:gdLst>
                <a:gd name="connsiteX0" fmla="*/ 35428 w 35474"/>
                <a:gd name="connsiteY0" fmla="*/ 7801 h 28218"/>
                <a:gd name="connsiteX1" fmla="*/ -47 w 35474"/>
                <a:gd name="connsiteY1" fmla="*/ -49 h 28218"/>
                <a:gd name="connsiteX2" fmla="*/ 25413 w 35474"/>
                <a:gd name="connsiteY2" fmla="*/ 28169 h 28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5474" h="28218">
                  <a:moveTo>
                    <a:pt x="35428" y="7801"/>
                  </a:moveTo>
                  <a:cubicBezTo>
                    <a:pt x="23921" y="3911"/>
                    <a:pt x="12026" y="1279"/>
                    <a:pt x="-47" y="-49"/>
                  </a:cubicBezTo>
                  <a:lnTo>
                    <a:pt x="25413" y="28169"/>
                  </a:lnTo>
                  <a:close/>
                </a:path>
              </a:pathLst>
            </a:custGeom>
            <a:solidFill>
              <a:srgbClr val="000000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" name="Freihandform: Form 149">
              <a:extLst>
                <a:ext uri="{FF2B5EF4-FFF2-40B4-BE49-F238E27FC236}">
                  <a16:creationId xmlns:a16="http://schemas.microsoft.com/office/drawing/2014/main" id="{997F3216-3927-4ACE-84DE-0A13F4F33C68}"/>
                </a:ext>
              </a:extLst>
            </p:cNvPr>
            <p:cNvSpPr/>
            <p:nvPr/>
          </p:nvSpPr>
          <p:spPr>
            <a:xfrm>
              <a:off x="7242859" y="2766440"/>
              <a:ext cx="38572" cy="29067"/>
            </a:xfrm>
            <a:custGeom>
              <a:avLst/>
              <a:gdLst>
                <a:gd name="connsiteX0" fmla="*/ -47 w 38572"/>
                <a:gd name="connsiteY0" fmla="*/ 7801 h 29067"/>
                <a:gd name="connsiteX1" fmla="*/ 6954 w 38572"/>
                <a:gd name="connsiteY1" fmla="*/ 29018 h 29067"/>
                <a:gd name="connsiteX2" fmla="*/ 38525 w 38572"/>
                <a:gd name="connsiteY2" fmla="*/ 18197 h 29067"/>
                <a:gd name="connsiteX3" fmla="*/ 22188 w 38572"/>
                <a:gd name="connsiteY3" fmla="*/ -49 h 29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572" h="29067">
                  <a:moveTo>
                    <a:pt x="-47" y="7801"/>
                  </a:moveTo>
                  <a:cubicBezTo>
                    <a:pt x="1651" y="15068"/>
                    <a:pt x="3994" y="22168"/>
                    <a:pt x="6954" y="29018"/>
                  </a:cubicBezTo>
                  <a:lnTo>
                    <a:pt x="38525" y="18197"/>
                  </a:lnTo>
                  <a:lnTo>
                    <a:pt x="22188" y="-49"/>
                  </a:lnTo>
                  <a:close/>
                </a:path>
              </a:pathLst>
            </a:custGeom>
            <a:solidFill>
              <a:srgbClr val="000000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" name="Freihandform: Form 150">
              <a:extLst>
                <a:ext uri="{FF2B5EF4-FFF2-40B4-BE49-F238E27FC236}">
                  <a16:creationId xmlns:a16="http://schemas.microsoft.com/office/drawing/2014/main" id="{21272429-63C7-43F4-9F78-708E7A936F54}"/>
                </a:ext>
              </a:extLst>
            </p:cNvPr>
            <p:cNvSpPr/>
            <p:nvPr/>
          </p:nvSpPr>
          <p:spPr>
            <a:xfrm>
              <a:off x="7238616" y="2737415"/>
              <a:ext cx="17100" cy="24314"/>
            </a:xfrm>
            <a:custGeom>
              <a:avLst/>
              <a:gdLst>
                <a:gd name="connsiteX0" fmla="*/ 1650 w 17100"/>
                <a:gd name="connsiteY0" fmla="*/ 24266 h 24314"/>
                <a:gd name="connsiteX1" fmla="*/ 17054 w 17100"/>
                <a:gd name="connsiteY1" fmla="*/ 18961 h 24314"/>
                <a:gd name="connsiteX2" fmla="*/ -47 w 17100"/>
                <a:gd name="connsiteY2" fmla="*/ -49 h 24314"/>
                <a:gd name="connsiteX3" fmla="*/ 207 w 17100"/>
                <a:gd name="connsiteY3" fmla="*/ 8692 h 24314"/>
                <a:gd name="connsiteX4" fmla="*/ 1650 w 17100"/>
                <a:gd name="connsiteY4" fmla="*/ 24266 h 24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00" h="24314">
                  <a:moveTo>
                    <a:pt x="1650" y="24266"/>
                  </a:moveTo>
                  <a:lnTo>
                    <a:pt x="17054" y="18961"/>
                  </a:lnTo>
                  <a:lnTo>
                    <a:pt x="-47" y="-49"/>
                  </a:lnTo>
                  <a:cubicBezTo>
                    <a:pt x="-47" y="2454"/>
                    <a:pt x="-47" y="5425"/>
                    <a:pt x="207" y="8692"/>
                  </a:cubicBezTo>
                  <a:cubicBezTo>
                    <a:pt x="377" y="13742"/>
                    <a:pt x="886" y="19046"/>
                    <a:pt x="1650" y="24266"/>
                  </a:cubicBezTo>
                  <a:close/>
                </a:path>
              </a:pathLst>
            </a:custGeom>
            <a:solidFill>
              <a:srgbClr val="000000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56" name="Gruppieren 155">
            <a:extLst>
              <a:ext uri="{FF2B5EF4-FFF2-40B4-BE49-F238E27FC236}">
                <a16:creationId xmlns:a16="http://schemas.microsoft.com/office/drawing/2014/main" id="{A4D282A4-ED36-4022-98DD-739A8C8D952F}"/>
              </a:ext>
            </a:extLst>
          </p:cNvPr>
          <p:cNvGrpSpPr/>
          <p:nvPr/>
        </p:nvGrpSpPr>
        <p:grpSpPr>
          <a:xfrm>
            <a:off x="3181834" y="2500122"/>
            <a:ext cx="755830" cy="755976"/>
            <a:chOff x="3181834" y="2500122"/>
            <a:chExt cx="755830" cy="755976"/>
          </a:xfrm>
        </p:grpSpPr>
        <p:grpSp>
          <p:nvGrpSpPr>
            <p:cNvPr id="157" name="Grafik 89">
              <a:extLst>
                <a:ext uri="{FF2B5EF4-FFF2-40B4-BE49-F238E27FC236}">
                  <a16:creationId xmlns:a16="http://schemas.microsoft.com/office/drawing/2014/main" id="{532D940A-01E7-4239-809A-3EE1E398F8A6}"/>
                </a:ext>
              </a:extLst>
            </p:cNvPr>
            <p:cNvGrpSpPr/>
            <p:nvPr/>
          </p:nvGrpSpPr>
          <p:grpSpPr>
            <a:xfrm>
              <a:off x="3181834" y="2500122"/>
              <a:ext cx="755830" cy="755976"/>
              <a:chOff x="3181834" y="2500122"/>
              <a:chExt cx="755830" cy="755976"/>
            </a:xfrm>
          </p:grpSpPr>
          <p:sp>
            <p:nvSpPr>
              <p:cNvPr id="160" name="Freihandform: Form 159">
                <a:extLst>
                  <a:ext uri="{FF2B5EF4-FFF2-40B4-BE49-F238E27FC236}">
                    <a16:creationId xmlns:a16="http://schemas.microsoft.com/office/drawing/2014/main" id="{DF050640-2200-488A-B813-81CF78E1202E}"/>
                  </a:ext>
                </a:extLst>
              </p:cNvPr>
              <p:cNvSpPr/>
              <p:nvPr/>
            </p:nvSpPr>
            <p:spPr>
              <a:xfrm>
                <a:off x="3181834" y="2500122"/>
                <a:ext cx="683436" cy="466182"/>
              </a:xfrm>
              <a:custGeom>
                <a:avLst/>
                <a:gdLst>
                  <a:gd name="connsiteX0" fmla="*/ 10556 w 683436"/>
                  <a:gd name="connsiteY0" fmla="*/ 466133 h 466182"/>
                  <a:gd name="connsiteX1" fmla="*/ 289200 w 683436"/>
                  <a:gd name="connsiteY1" fmla="*/ 10485 h 466182"/>
                  <a:gd name="connsiteX2" fmla="*/ 683389 w 683436"/>
                  <a:gd name="connsiteY2" fmla="*/ 155856 h 466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36" h="466182">
                    <a:moveTo>
                      <a:pt x="10556" y="466133"/>
                    </a:moveTo>
                    <a:cubicBezTo>
                      <a:pt x="-38322" y="263364"/>
                      <a:pt x="86431" y="59364"/>
                      <a:pt x="289200" y="10485"/>
                    </a:cubicBezTo>
                    <a:cubicBezTo>
                      <a:pt x="437911" y="-25362"/>
                      <a:pt x="593560" y="32039"/>
                      <a:pt x="683389" y="155856"/>
                    </a:cubicBezTo>
                  </a:path>
                </a:pathLst>
              </a:custGeom>
              <a:noFill/>
              <a:ln w="33594" cap="flat">
                <a:solidFill>
                  <a:srgbClr val="1D1D1B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1" name="Freihandform: Form 160">
                <a:extLst>
                  <a:ext uri="{FF2B5EF4-FFF2-40B4-BE49-F238E27FC236}">
                    <a16:creationId xmlns:a16="http://schemas.microsoft.com/office/drawing/2014/main" id="{3E45A901-924D-4BC9-BB0F-F84957D75218}"/>
                  </a:ext>
                </a:extLst>
              </p:cNvPr>
              <p:cNvSpPr/>
              <p:nvPr/>
            </p:nvSpPr>
            <p:spPr>
              <a:xfrm>
                <a:off x="3813204" y="2617539"/>
                <a:ext cx="89068" cy="101502"/>
              </a:xfrm>
              <a:custGeom>
                <a:avLst/>
                <a:gdLst>
                  <a:gd name="connsiteX0" fmla="*/ 0 w 89068"/>
                  <a:gd name="connsiteY0" fmla="*/ 52788 h 101502"/>
                  <a:gd name="connsiteX1" fmla="*/ 89069 w 89068"/>
                  <a:gd name="connsiteY1" fmla="*/ 101502 h 101502"/>
                  <a:gd name="connsiteX2" fmla="*/ 86735 w 89068"/>
                  <a:gd name="connsiteY2" fmla="*/ 0 h 101502"/>
                  <a:gd name="connsiteX3" fmla="*/ 0 w 89068"/>
                  <a:gd name="connsiteY3" fmla="*/ 52788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0" y="52788"/>
                    </a:moveTo>
                    <a:lnTo>
                      <a:pt x="89069" y="101502"/>
                    </a:lnTo>
                    <a:lnTo>
                      <a:pt x="86735" y="0"/>
                    </a:lnTo>
                    <a:lnTo>
                      <a:pt x="0" y="52788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2" name="Freihandform: Form 161">
                <a:extLst>
                  <a:ext uri="{FF2B5EF4-FFF2-40B4-BE49-F238E27FC236}">
                    <a16:creationId xmlns:a16="http://schemas.microsoft.com/office/drawing/2014/main" id="{06BE6827-6943-4398-BF75-84AB68BB80F1}"/>
                  </a:ext>
                </a:extLst>
              </p:cNvPr>
              <p:cNvSpPr/>
              <p:nvPr/>
            </p:nvSpPr>
            <p:spPr>
              <a:xfrm>
                <a:off x="3254221" y="2790415"/>
                <a:ext cx="683443" cy="465683"/>
              </a:xfrm>
              <a:custGeom>
                <a:avLst/>
                <a:gdLst>
                  <a:gd name="connsiteX0" fmla="*/ 672913 w 683443"/>
                  <a:gd name="connsiteY0" fmla="*/ -49 h 465683"/>
                  <a:gd name="connsiteX1" fmla="*/ 393650 w 683443"/>
                  <a:gd name="connsiteY1" fmla="*/ 455220 h 465683"/>
                  <a:gd name="connsiteX2" fmla="*/ -47 w 683443"/>
                  <a:gd name="connsiteY2" fmla="*/ 309719 h 465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43" h="465683">
                    <a:moveTo>
                      <a:pt x="672913" y="-49"/>
                    </a:moveTo>
                    <a:cubicBezTo>
                      <a:pt x="721516" y="202786"/>
                      <a:pt x="596485" y="406617"/>
                      <a:pt x="393650" y="455220"/>
                    </a:cubicBezTo>
                    <a:cubicBezTo>
                      <a:pt x="245067" y="490822"/>
                      <a:pt x="89671" y="433392"/>
                      <a:pt x="-47" y="309719"/>
                    </a:cubicBezTo>
                  </a:path>
                </a:pathLst>
              </a:custGeom>
              <a:noFill/>
              <a:ln w="33594" cap="flat">
                <a:solidFill>
                  <a:srgbClr val="1D1D1B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3" name="Freihandform: Form 162">
                <a:extLst>
                  <a:ext uri="{FF2B5EF4-FFF2-40B4-BE49-F238E27FC236}">
                    <a16:creationId xmlns:a16="http://schemas.microsoft.com/office/drawing/2014/main" id="{58EEE97D-7560-4374-9B18-B4202C06312B}"/>
                  </a:ext>
                </a:extLst>
              </p:cNvPr>
              <p:cNvSpPr/>
              <p:nvPr/>
            </p:nvSpPr>
            <p:spPr>
              <a:xfrm>
                <a:off x="3217261" y="3037254"/>
                <a:ext cx="89068" cy="101502"/>
              </a:xfrm>
              <a:custGeom>
                <a:avLst/>
                <a:gdLst>
                  <a:gd name="connsiteX0" fmla="*/ 89069 w 89068"/>
                  <a:gd name="connsiteY0" fmla="*/ 48714 h 101502"/>
                  <a:gd name="connsiteX1" fmla="*/ 0 w 89068"/>
                  <a:gd name="connsiteY1" fmla="*/ 0 h 101502"/>
                  <a:gd name="connsiteX2" fmla="*/ 2334 w 89068"/>
                  <a:gd name="connsiteY2" fmla="*/ 101502 h 101502"/>
                  <a:gd name="connsiteX3" fmla="*/ 89069 w 89068"/>
                  <a:gd name="connsiteY3" fmla="*/ 48714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89069" y="48714"/>
                    </a:moveTo>
                    <a:lnTo>
                      <a:pt x="0" y="0"/>
                    </a:lnTo>
                    <a:lnTo>
                      <a:pt x="2334" y="101502"/>
                    </a:lnTo>
                    <a:lnTo>
                      <a:pt x="89069" y="48714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58" name="Freihandform: Form 157">
              <a:extLst>
                <a:ext uri="{FF2B5EF4-FFF2-40B4-BE49-F238E27FC236}">
                  <a16:creationId xmlns:a16="http://schemas.microsoft.com/office/drawing/2014/main" id="{CAAC4E06-72E1-4763-9074-EF12DC22E852}"/>
                </a:ext>
              </a:extLst>
            </p:cNvPr>
            <p:cNvSpPr/>
            <p:nvPr/>
          </p:nvSpPr>
          <p:spPr>
            <a:xfrm>
              <a:off x="3467057" y="2774927"/>
              <a:ext cx="327800" cy="326904"/>
            </a:xfrm>
            <a:custGeom>
              <a:avLst/>
              <a:gdLst>
                <a:gd name="connsiteX0" fmla="*/ 182728 w 327800"/>
                <a:gd name="connsiteY0" fmla="*/ 121439 h 326904"/>
                <a:gd name="connsiteX1" fmla="*/ 121848 w 327800"/>
                <a:gd name="connsiteY1" fmla="*/ 4291 h 326904"/>
                <a:gd name="connsiteX2" fmla="*/ 93617 w 327800"/>
                <a:gd name="connsiteY2" fmla="*/ -49 h 326904"/>
                <a:gd name="connsiteX3" fmla="*/ 90137 w 327800"/>
                <a:gd name="connsiteY3" fmla="*/ -49 h 326904"/>
                <a:gd name="connsiteX4" fmla="*/ 78095 w 327800"/>
                <a:gd name="connsiteY4" fmla="*/ 13333 h 326904"/>
                <a:gd name="connsiteX5" fmla="*/ 81651 w 327800"/>
                <a:gd name="connsiteY5" fmla="*/ 21507 h 326904"/>
                <a:gd name="connsiteX6" fmla="*/ 123533 w 327800"/>
                <a:gd name="connsiteY6" fmla="*/ 62923 h 326904"/>
                <a:gd name="connsiteX7" fmla="*/ 63744 w 327800"/>
                <a:gd name="connsiteY7" fmla="*/ 123349 h 326904"/>
                <a:gd name="connsiteX8" fmla="*/ 21607 w 327800"/>
                <a:gd name="connsiteY8" fmla="*/ 81636 h 326904"/>
                <a:gd name="connsiteX9" fmla="*/ 12738 w 327800"/>
                <a:gd name="connsiteY9" fmla="*/ 77987 h 326904"/>
                <a:gd name="connsiteX10" fmla="*/ 8 w 327800"/>
                <a:gd name="connsiteY10" fmla="*/ 90166 h 326904"/>
                <a:gd name="connsiteX11" fmla="*/ 90136 w 327800"/>
                <a:gd name="connsiteY11" fmla="*/ 186638 h 326904"/>
                <a:gd name="connsiteX12" fmla="*/ 122812 w 327800"/>
                <a:gd name="connsiteY12" fmla="*/ 181908 h 326904"/>
                <a:gd name="connsiteX13" fmla="*/ 259916 w 327800"/>
                <a:gd name="connsiteY13" fmla="*/ 318885 h 326904"/>
                <a:gd name="connsiteX14" fmla="*/ 298531 w 327800"/>
                <a:gd name="connsiteY14" fmla="*/ 318885 h 326904"/>
                <a:gd name="connsiteX15" fmla="*/ 319748 w 327800"/>
                <a:gd name="connsiteY15" fmla="*/ 297286 h 326904"/>
                <a:gd name="connsiteX16" fmla="*/ 319776 w 327800"/>
                <a:gd name="connsiteY16" fmla="*/ 258699 h 326904"/>
                <a:gd name="connsiteX17" fmla="*/ 319748 w 327800"/>
                <a:gd name="connsiteY17" fmla="*/ 258671 h 326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27800" h="326904">
                  <a:moveTo>
                    <a:pt x="182728" y="121439"/>
                  </a:moveTo>
                  <a:cubicBezTo>
                    <a:pt x="198266" y="72278"/>
                    <a:pt x="171009" y="19829"/>
                    <a:pt x="121848" y="4291"/>
                  </a:cubicBezTo>
                  <a:cubicBezTo>
                    <a:pt x="112716" y="1405"/>
                    <a:pt x="103194" y="-59"/>
                    <a:pt x="93617" y="-49"/>
                  </a:cubicBezTo>
                  <a:lnTo>
                    <a:pt x="90137" y="-49"/>
                  </a:lnTo>
                  <a:cubicBezTo>
                    <a:pt x="83116" y="321"/>
                    <a:pt x="77725" y="6312"/>
                    <a:pt x="78095" y="13333"/>
                  </a:cubicBezTo>
                  <a:cubicBezTo>
                    <a:pt x="78256" y="16397"/>
                    <a:pt x="79519" y="19300"/>
                    <a:pt x="81651" y="21507"/>
                  </a:cubicBezTo>
                  <a:lnTo>
                    <a:pt x="123533" y="62923"/>
                  </a:lnTo>
                  <a:lnTo>
                    <a:pt x="63744" y="123349"/>
                  </a:lnTo>
                  <a:lnTo>
                    <a:pt x="21607" y="81636"/>
                  </a:lnTo>
                  <a:cubicBezTo>
                    <a:pt x="19239" y="79310"/>
                    <a:pt x="16057" y="78001"/>
                    <a:pt x="12738" y="77987"/>
                  </a:cubicBezTo>
                  <a:cubicBezTo>
                    <a:pt x="5917" y="77981"/>
                    <a:pt x="303" y="83351"/>
                    <a:pt x="8" y="90166"/>
                  </a:cubicBezTo>
                  <a:cubicBezTo>
                    <a:pt x="-1744" y="141694"/>
                    <a:pt x="38608" y="184887"/>
                    <a:pt x="90136" y="186638"/>
                  </a:cubicBezTo>
                  <a:cubicBezTo>
                    <a:pt x="101223" y="187015"/>
                    <a:pt x="112287" y="185413"/>
                    <a:pt x="122812" y="181908"/>
                  </a:cubicBezTo>
                  <a:lnTo>
                    <a:pt x="259916" y="318885"/>
                  </a:lnTo>
                  <a:cubicBezTo>
                    <a:pt x="270594" y="329512"/>
                    <a:pt x="287853" y="329512"/>
                    <a:pt x="298531" y="318885"/>
                  </a:cubicBezTo>
                  <a:lnTo>
                    <a:pt x="319748" y="297286"/>
                  </a:lnTo>
                  <a:cubicBezTo>
                    <a:pt x="330411" y="286638"/>
                    <a:pt x="330423" y="269362"/>
                    <a:pt x="319776" y="258699"/>
                  </a:cubicBezTo>
                  <a:cubicBezTo>
                    <a:pt x="319766" y="258690"/>
                    <a:pt x="319757" y="258680"/>
                    <a:pt x="319748" y="258671"/>
                  </a:cubicBezTo>
                  <a:close/>
                </a:path>
              </a:pathLst>
            </a:custGeom>
            <a:solidFill>
              <a:srgbClr val="1D1D1B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9" name="Freihandform: Form 158">
              <a:extLst>
                <a:ext uri="{FF2B5EF4-FFF2-40B4-BE49-F238E27FC236}">
                  <a16:creationId xmlns:a16="http://schemas.microsoft.com/office/drawing/2014/main" id="{C10DE702-307E-4624-8558-ECCDE574DBA3}"/>
                </a:ext>
              </a:extLst>
            </p:cNvPr>
            <p:cNvSpPr/>
            <p:nvPr/>
          </p:nvSpPr>
          <p:spPr>
            <a:xfrm>
              <a:off x="3300601" y="2615162"/>
              <a:ext cx="518288" cy="518501"/>
            </a:xfrm>
            <a:custGeom>
              <a:avLst/>
              <a:gdLst>
                <a:gd name="connsiteX0" fmla="*/ 506530 w 518288"/>
                <a:gd name="connsiteY0" fmla="*/ 221499 h 518501"/>
                <a:gd name="connsiteX1" fmla="*/ 484634 w 518288"/>
                <a:gd name="connsiteY1" fmla="*/ 221499 h 518501"/>
                <a:gd name="connsiteX2" fmla="*/ 469273 w 518288"/>
                <a:gd name="connsiteY2" fmla="*/ 210042 h 518501"/>
                <a:gd name="connsiteX3" fmla="*/ 439569 w 518288"/>
                <a:gd name="connsiteY3" fmla="*/ 140535 h 518501"/>
                <a:gd name="connsiteX4" fmla="*/ 442030 w 518288"/>
                <a:gd name="connsiteY4" fmla="*/ 121780 h 518501"/>
                <a:gd name="connsiteX5" fmla="*/ 456882 w 518288"/>
                <a:gd name="connsiteY5" fmla="*/ 106970 h 518501"/>
                <a:gd name="connsiteX6" fmla="*/ 456993 w 518288"/>
                <a:gd name="connsiteY6" fmla="*/ 90107 h 518501"/>
                <a:gd name="connsiteX7" fmla="*/ 456882 w 518288"/>
                <a:gd name="connsiteY7" fmla="*/ 89996 h 518501"/>
                <a:gd name="connsiteX8" fmla="*/ 421195 w 518288"/>
                <a:gd name="connsiteY8" fmla="*/ 54309 h 518501"/>
                <a:gd name="connsiteX9" fmla="*/ 404221 w 518288"/>
                <a:gd name="connsiteY9" fmla="*/ 54309 h 518501"/>
                <a:gd name="connsiteX10" fmla="*/ 388181 w 518288"/>
                <a:gd name="connsiteY10" fmla="*/ 70434 h 518501"/>
                <a:gd name="connsiteX11" fmla="*/ 369128 w 518288"/>
                <a:gd name="connsiteY11" fmla="*/ 73320 h 518501"/>
                <a:gd name="connsiteX12" fmla="*/ 308872 w 518288"/>
                <a:gd name="connsiteY12" fmla="*/ 49302 h 518501"/>
                <a:gd name="connsiteX13" fmla="*/ 297373 w 518288"/>
                <a:gd name="connsiteY13" fmla="*/ 34068 h 518501"/>
                <a:gd name="connsiteX14" fmla="*/ 297373 w 518288"/>
                <a:gd name="connsiteY14" fmla="*/ 11875 h 518501"/>
                <a:gd name="connsiteX15" fmla="*/ 285491 w 518288"/>
                <a:gd name="connsiteY15" fmla="*/ -48 h 518501"/>
                <a:gd name="connsiteX16" fmla="*/ 234995 w 518288"/>
                <a:gd name="connsiteY16" fmla="*/ -48 h 518501"/>
                <a:gd name="connsiteX17" fmla="*/ 222859 w 518288"/>
                <a:gd name="connsiteY17" fmla="*/ 11832 h 518501"/>
                <a:gd name="connsiteX18" fmla="*/ 222859 w 518288"/>
                <a:gd name="connsiteY18" fmla="*/ 11876 h 518501"/>
                <a:gd name="connsiteX19" fmla="*/ 222859 w 518288"/>
                <a:gd name="connsiteY19" fmla="*/ 34281 h 518501"/>
                <a:gd name="connsiteX20" fmla="*/ 211486 w 518288"/>
                <a:gd name="connsiteY20" fmla="*/ 49727 h 518501"/>
                <a:gd name="connsiteX21" fmla="*/ 141343 w 518288"/>
                <a:gd name="connsiteY21" fmla="*/ 79727 h 518501"/>
                <a:gd name="connsiteX22" fmla="*/ 122672 w 518288"/>
                <a:gd name="connsiteY22" fmla="*/ 77309 h 518501"/>
                <a:gd name="connsiteX23" fmla="*/ 106929 w 518288"/>
                <a:gd name="connsiteY23" fmla="*/ 61566 h 518501"/>
                <a:gd name="connsiteX24" fmla="*/ 89955 w 518288"/>
                <a:gd name="connsiteY24" fmla="*/ 61566 h 518501"/>
                <a:gd name="connsiteX25" fmla="*/ 54268 w 518288"/>
                <a:gd name="connsiteY25" fmla="*/ 97040 h 518501"/>
                <a:gd name="connsiteX26" fmla="*/ 54097 w 518288"/>
                <a:gd name="connsiteY26" fmla="*/ 113843 h 518501"/>
                <a:gd name="connsiteX27" fmla="*/ 54268 w 518288"/>
                <a:gd name="connsiteY27" fmla="*/ 114014 h 518501"/>
                <a:gd name="connsiteX28" fmla="*/ 71242 w 518288"/>
                <a:gd name="connsiteY28" fmla="*/ 130988 h 518501"/>
                <a:gd name="connsiteX29" fmla="*/ 74170 w 518288"/>
                <a:gd name="connsiteY29" fmla="*/ 149998 h 518501"/>
                <a:gd name="connsiteX30" fmla="*/ 50322 w 518288"/>
                <a:gd name="connsiteY30" fmla="*/ 209872 h 518501"/>
                <a:gd name="connsiteX31" fmla="*/ 35131 w 518288"/>
                <a:gd name="connsiteY31" fmla="*/ 221415 h 518501"/>
                <a:gd name="connsiteX32" fmla="*/ 11834 w 518288"/>
                <a:gd name="connsiteY32" fmla="*/ 221415 h 518501"/>
                <a:gd name="connsiteX33" fmla="*/ -47 w 518288"/>
                <a:gd name="connsiteY33" fmla="*/ 233296 h 518501"/>
                <a:gd name="connsiteX34" fmla="*/ -47 w 518288"/>
                <a:gd name="connsiteY34" fmla="*/ 283750 h 518501"/>
                <a:gd name="connsiteX35" fmla="*/ 11834 w 518288"/>
                <a:gd name="connsiteY35" fmla="*/ 295716 h 518501"/>
                <a:gd name="connsiteX36" fmla="*/ 11834 w 518288"/>
                <a:gd name="connsiteY36" fmla="*/ 295716 h 518501"/>
                <a:gd name="connsiteX37" fmla="*/ 35597 w 518288"/>
                <a:gd name="connsiteY37" fmla="*/ 295716 h 518501"/>
                <a:gd name="connsiteX38" fmla="*/ 51043 w 518288"/>
                <a:gd name="connsiteY38" fmla="*/ 307089 h 518501"/>
                <a:gd name="connsiteX39" fmla="*/ 80280 w 518288"/>
                <a:gd name="connsiteY39" fmla="*/ 376086 h 518501"/>
                <a:gd name="connsiteX40" fmla="*/ 77946 w 518288"/>
                <a:gd name="connsiteY40" fmla="*/ 394842 h 518501"/>
                <a:gd name="connsiteX41" fmla="*/ 61482 w 518288"/>
                <a:gd name="connsiteY41" fmla="*/ 411179 h 518501"/>
                <a:gd name="connsiteX42" fmla="*/ 61431 w 518288"/>
                <a:gd name="connsiteY42" fmla="*/ 428102 h 518501"/>
                <a:gd name="connsiteX43" fmla="*/ 61482 w 518288"/>
                <a:gd name="connsiteY43" fmla="*/ 428153 h 518501"/>
                <a:gd name="connsiteX44" fmla="*/ 97212 w 518288"/>
                <a:gd name="connsiteY44" fmla="*/ 463755 h 518501"/>
                <a:gd name="connsiteX45" fmla="*/ 113831 w 518288"/>
                <a:gd name="connsiteY45" fmla="*/ 464109 h 518501"/>
                <a:gd name="connsiteX46" fmla="*/ 114185 w 518288"/>
                <a:gd name="connsiteY46" fmla="*/ 463755 h 518501"/>
                <a:gd name="connsiteX47" fmla="*/ 131753 w 518288"/>
                <a:gd name="connsiteY47" fmla="*/ 446399 h 518501"/>
                <a:gd name="connsiteX48" fmla="*/ 150636 w 518288"/>
                <a:gd name="connsiteY48" fmla="*/ 443599 h 518501"/>
                <a:gd name="connsiteX49" fmla="*/ 211826 w 518288"/>
                <a:gd name="connsiteY49" fmla="*/ 467998 h 518501"/>
                <a:gd name="connsiteX50" fmla="*/ 223198 w 518288"/>
                <a:gd name="connsiteY50" fmla="*/ 483190 h 518501"/>
                <a:gd name="connsiteX51" fmla="*/ 223198 w 518288"/>
                <a:gd name="connsiteY51" fmla="*/ 506571 h 518501"/>
                <a:gd name="connsiteX52" fmla="*/ 235122 w 518288"/>
                <a:gd name="connsiteY52" fmla="*/ 518452 h 518501"/>
                <a:gd name="connsiteX53" fmla="*/ 285618 w 518288"/>
                <a:gd name="connsiteY53" fmla="*/ 518452 h 518501"/>
                <a:gd name="connsiteX54" fmla="*/ 297500 w 518288"/>
                <a:gd name="connsiteY54" fmla="*/ 506571 h 518501"/>
                <a:gd name="connsiteX55" fmla="*/ 297500 w 518288"/>
                <a:gd name="connsiteY55" fmla="*/ 483190 h 518501"/>
                <a:gd name="connsiteX56" fmla="*/ 309000 w 518288"/>
                <a:gd name="connsiteY56" fmla="*/ 467871 h 518501"/>
                <a:gd name="connsiteX57" fmla="*/ 324445 w 518288"/>
                <a:gd name="connsiteY57" fmla="*/ 461336 h 518501"/>
                <a:gd name="connsiteX58" fmla="*/ 271021 w 518288"/>
                <a:gd name="connsiteY58" fmla="*/ 408209 h 518501"/>
                <a:gd name="connsiteX59" fmla="*/ 269154 w 518288"/>
                <a:gd name="connsiteY59" fmla="*/ 408209 h 518501"/>
                <a:gd name="connsiteX60" fmla="*/ 262492 w 518288"/>
                <a:gd name="connsiteY60" fmla="*/ 408463 h 518501"/>
                <a:gd name="connsiteX61" fmla="*/ 259946 w 518288"/>
                <a:gd name="connsiteY61" fmla="*/ 408463 h 518501"/>
                <a:gd name="connsiteX62" fmla="*/ 155516 w 518288"/>
                <a:gd name="connsiteY62" fmla="*/ 365520 h 518501"/>
                <a:gd name="connsiteX63" fmla="*/ 143677 w 518288"/>
                <a:gd name="connsiteY63" fmla="*/ 352238 h 518501"/>
                <a:gd name="connsiteX64" fmla="*/ 140537 w 518288"/>
                <a:gd name="connsiteY64" fmla="*/ 347995 h 518501"/>
                <a:gd name="connsiteX65" fmla="*/ 140155 w 518288"/>
                <a:gd name="connsiteY65" fmla="*/ 347486 h 518501"/>
                <a:gd name="connsiteX66" fmla="*/ 171783 w 518288"/>
                <a:gd name="connsiteY66" fmla="*/ 139843 h 518501"/>
                <a:gd name="connsiteX67" fmla="*/ 322196 w 518288"/>
                <a:gd name="connsiteY67" fmla="*/ 124707 h 518501"/>
                <a:gd name="connsiteX68" fmla="*/ 323512 w 518288"/>
                <a:gd name="connsiteY68" fmla="*/ 125302 h 518501"/>
                <a:gd name="connsiteX69" fmla="*/ 327755 w 518288"/>
                <a:gd name="connsiteY69" fmla="*/ 127466 h 518501"/>
                <a:gd name="connsiteX70" fmla="*/ 330004 w 518288"/>
                <a:gd name="connsiteY70" fmla="*/ 128654 h 518501"/>
                <a:gd name="connsiteX71" fmla="*/ 333526 w 518288"/>
                <a:gd name="connsiteY71" fmla="*/ 130606 h 518501"/>
                <a:gd name="connsiteX72" fmla="*/ 336412 w 518288"/>
                <a:gd name="connsiteY72" fmla="*/ 132261 h 518501"/>
                <a:gd name="connsiteX73" fmla="*/ 339382 w 518288"/>
                <a:gd name="connsiteY73" fmla="*/ 134128 h 518501"/>
                <a:gd name="connsiteX74" fmla="*/ 342480 w 518288"/>
                <a:gd name="connsiteY74" fmla="*/ 136122 h 518501"/>
                <a:gd name="connsiteX75" fmla="*/ 345323 w 518288"/>
                <a:gd name="connsiteY75" fmla="*/ 138117 h 518501"/>
                <a:gd name="connsiteX76" fmla="*/ 348378 w 518288"/>
                <a:gd name="connsiteY76" fmla="*/ 140281 h 518501"/>
                <a:gd name="connsiteX77" fmla="*/ 351221 w 518288"/>
                <a:gd name="connsiteY77" fmla="*/ 142487 h 518501"/>
                <a:gd name="connsiteX78" fmla="*/ 354022 w 518288"/>
                <a:gd name="connsiteY78" fmla="*/ 144694 h 518501"/>
                <a:gd name="connsiteX79" fmla="*/ 357035 w 518288"/>
                <a:gd name="connsiteY79" fmla="*/ 147282 h 518501"/>
                <a:gd name="connsiteX80" fmla="*/ 359454 w 518288"/>
                <a:gd name="connsiteY80" fmla="*/ 149362 h 518501"/>
                <a:gd name="connsiteX81" fmla="*/ 362551 w 518288"/>
                <a:gd name="connsiteY81" fmla="*/ 152247 h 518501"/>
                <a:gd name="connsiteX82" fmla="*/ 364503 w 518288"/>
                <a:gd name="connsiteY82" fmla="*/ 154114 h 518501"/>
                <a:gd name="connsiteX83" fmla="*/ 364715 w 518288"/>
                <a:gd name="connsiteY83" fmla="*/ 154369 h 518501"/>
                <a:gd name="connsiteX84" fmla="*/ 369935 w 518288"/>
                <a:gd name="connsiteY84" fmla="*/ 159758 h 518501"/>
                <a:gd name="connsiteX85" fmla="*/ 372608 w 518288"/>
                <a:gd name="connsiteY85" fmla="*/ 162898 h 518501"/>
                <a:gd name="connsiteX86" fmla="*/ 374772 w 518288"/>
                <a:gd name="connsiteY86" fmla="*/ 165359 h 518501"/>
                <a:gd name="connsiteX87" fmla="*/ 377997 w 518288"/>
                <a:gd name="connsiteY87" fmla="*/ 169603 h 518501"/>
                <a:gd name="connsiteX88" fmla="*/ 379228 w 518288"/>
                <a:gd name="connsiteY88" fmla="*/ 171258 h 518501"/>
                <a:gd name="connsiteX89" fmla="*/ 382580 w 518288"/>
                <a:gd name="connsiteY89" fmla="*/ 175925 h 518501"/>
                <a:gd name="connsiteX90" fmla="*/ 383386 w 518288"/>
                <a:gd name="connsiteY90" fmla="*/ 177113 h 518501"/>
                <a:gd name="connsiteX91" fmla="*/ 386739 w 518288"/>
                <a:gd name="connsiteY91" fmla="*/ 182333 h 518501"/>
                <a:gd name="connsiteX92" fmla="*/ 387205 w 518288"/>
                <a:gd name="connsiteY92" fmla="*/ 183097 h 518501"/>
                <a:gd name="connsiteX93" fmla="*/ 390515 w 518288"/>
                <a:gd name="connsiteY93" fmla="*/ 188868 h 518501"/>
                <a:gd name="connsiteX94" fmla="*/ 390515 w 518288"/>
                <a:gd name="connsiteY94" fmla="*/ 188868 h 518501"/>
                <a:gd name="connsiteX95" fmla="*/ 408168 w 518288"/>
                <a:gd name="connsiteY95" fmla="*/ 268983 h 518501"/>
                <a:gd name="connsiteX96" fmla="*/ 462483 w 518288"/>
                <a:gd name="connsiteY96" fmla="*/ 323298 h 518501"/>
                <a:gd name="connsiteX97" fmla="*/ 469103 w 518288"/>
                <a:gd name="connsiteY97" fmla="*/ 306834 h 518501"/>
                <a:gd name="connsiteX98" fmla="*/ 484422 w 518288"/>
                <a:gd name="connsiteY98" fmla="*/ 295334 h 518501"/>
                <a:gd name="connsiteX99" fmla="*/ 506318 w 518288"/>
                <a:gd name="connsiteY99" fmla="*/ 295334 h 518501"/>
                <a:gd name="connsiteX100" fmla="*/ 518241 w 518288"/>
                <a:gd name="connsiteY100" fmla="*/ 283411 h 518501"/>
                <a:gd name="connsiteX101" fmla="*/ 518241 w 518288"/>
                <a:gd name="connsiteY101" fmla="*/ 233381 h 518501"/>
                <a:gd name="connsiteX102" fmla="*/ 506530 w 518288"/>
                <a:gd name="connsiteY102" fmla="*/ 221499 h 518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518288" h="518501">
                  <a:moveTo>
                    <a:pt x="506530" y="221499"/>
                  </a:moveTo>
                  <a:lnTo>
                    <a:pt x="484634" y="221499"/>
                  </a:lnTo>
                  <a:cubicBezTo>
                    <a:pt x="477641" y="221212"/>
                    <a:pt x="471541" y="216663"/>
                    <a:pt x="469273" y="210042"/>
                  </a:cubicBezTo>
                  <a:lnTo>
                    <a:pt x="439569" y="140535"/>
                  </a:lnTo>
                  <a:cubicBezTo>
                    <a:pt x="436434" y="134376"/>
                    <a:pt x="437412" y="126922"/>
                    <a:pt x="442030" y="121780"/>
                  </a:cubicBezTo>
                  <a:lnTo>
                    <a:pt x="456882" y="106970"/>
                  </a:lnTo>
                  <a:cubicBezTo>
                    <a:pt x="461569" y="102344"/>
                    <a:pt x="461619" y="94795"/>
                    <a:pt x="456993" y="90107"/>
                  </a:cubicBezTo>
                  <a:cubicBezTo>
                    <a:pt x="456956" y="90070"/>
                    <a:pt x="456919" y="90033"/>
                    <a:pt x="456882" y="89996"/>
                  </a:cubicBezTo>
                  <a:lnTo>
                    <a:pt x="421195" y="54309"/>
                  </a:lnTo>
                  <a:cubicBezTo>
                    <a:pt x="416497" y="49649"/>
                    <a:pt x="408920" y="49649"/>
                    <a:pt x="404221" y="54309"/>
                  </a:cubicBezTo>
                  <a:lnTo>
                    <a:pt x="388181" y="70434"/>
                  </a:lnTo>
                  <a:cubicBezTo>
                    <a:pt x="382987" y="75136"/>
                    <a:pt x="375482" y="76273"/>
                    <a:pt x="369128" y="73320"/>
                  </a:cubicBezTo>
                  <a:lnTo>
                    <a:pt x="308872" y="49302"/>
                  </a:lnTo>
                  <a:cubicBezTo>
                    <a:pt x="302277" y="47065"/>
                    <a:pt x="297717" y="41025"/>
                    <a:pt x="297373" y="34068"/>
                  </a:cubicBezTo>
                  <a:lnTo>
                    <a:pt x="297373" y="11875"/>
                  </a:lnTo>
                  <a:cubicBezTo>
                    <a:pt x="297349" y="5316"/>
                    <a:pt x="292050" y="-2"/>
                    <a:pt x="285491" y="-48"/>
                  </a:cubicBezTo>
                  <a:lnTo>
                    <a:pt x="234995" y="-48"/>
                  </a:lnTo>
                  <a:cubicBezTo>
                    <a:pt x="228363" y="-119"/>
                    <a:pt x="222929" y="5200"/>
                    <a:pt x="222859" y="11832"/>
                  </a:cubicBezTo>
                  <a:cubicBezTo>
                    <a:pt x="222859" y="11847"/>
                    <a:pt x="222859" y="11861"/>
                    <a:pt x="222859" y="11876"/>
                  </a:cubicBezTo>
                  <a:lnTo>
                    <a:pt x="222859" y="34281"/>
                  </a:lnTo>
                  <a:cubicBezTo>
                    <a:pt x="222516" y="41247"/>
                    <a:pt x="218036" y="47331"/>
                    <a:pt x="211486" y="49727"/>
                  </a:cubicBezTo>
                  <a:lnTo>
                    <a:pt x="141343" y="79727"/>
                  </a:lnTo>
                  <a:cubicBezTo>
                    <a:pt x="135229" y="82923"/>
                    <a:pt x="127770" y="81957"/>
                    <a:pt x="122672" y="77309"/>
                  </a:cubicBezTo>
                  <a:lnTo>
                    <a:pt x="106929" y="61566"/>
                  </a:lnTo>
                  <a:cubicBezTo>
                    <a:pt x="102240" y="56882"/>
                    <a:pt x="94644" y="56882"/>
                    <a:pt x="89955" y="61566"/>
                  </a:cubicBezTo>
                  <a:lnTo>
                    <a:pt x="54268" y="97040"/>
                  </a:lnTo>
                  <a:cubicBezTo>
                    <a:pt x="49581" y="101633"/>
                    <a:pt x="49504" y="109155"/>
                    <a:pt x="54097" y="113843"/>
                  </a:cubicBezTo>
                  <a:cubicBezTo>
                    <a:pt x="54153" y="113900"/>
                    <a:pt x="54211" y="113958"/>
                    <a:pt x="54268" y="114014"/>
                  </a:cubicBezTo>
                  <a:lnTo>
                    <a:pt x="71242" y="130988"/>
                  </a:lnTo>
                  <a:cubicBezTo>
                    <a:pt x="75972" y="136150"/>
                    <a:pt x="77128" y="143652"/>
                    <a:pt x="74170" y="149998"/>
                  </a:cubicBezTo>
                  <a:lnTo>
                    <a:pt x="50322" y="209872"/>
                  </a:lnTo>
                  <a:cubicBezTo>
                    <a:pt x="48219" y="216553"/>
                    <a:pt x="42130" y="221179"/>
                    <a:pt x="35131" y="221415"/>
                  </a:cubicBezTo>
                  <a:lnTo>
                    <a:pt x="11834" y="221415"/>
                  </a:lnTo>
                  <a:cubicBezTo>
                    <a:pt x="5272" y="221415"/>
                    <a:pt x="-47" y="226734"/>
                    <a:pt x="-47" y="233296"/>
                  </a:cubicBezTo>
                  <a:lnTo>
                    <a:pt x="-47" y="283750"/>
                  </a:lnTo>
                  <a:cubicBezTo>
                    <a:pt x="-71" y="290335"/>
                    <a:pt x="5249" y="295693"/>
                    <a:pt x="11834" y="295716"/>
                  </a:cubicBezTo>
                  <a:cubicBezTo>
                    <a:pt x="11834" y="295716"/>
                    <a:pt x="11834" y="295716"/>
                    <a:pt x="11834" y="295716"/>
                  </a:cubicBezTo>
                  <a:lnTo>
                    <a:pt x="35597" y="295716"/>
                  </a:lnTo>
                  <a:cubicBezTo>
                    <a:pt x="42600" y="295956"/>
                    <a:pt x="48735" y="300473"/>
                    <a:pt x="51043" y="307089"/>
                  </a:cubicBezTo>
                  <a:lnTo>
                    <a:pt x="80280" y="376086"/>
                  </a:lnTo>
                  <a:cubicBezTo>
                    <a:pt x="83500" y="382211"/>
                    <a:pt x="82569" y="389693"/>
                    <a:pt x="77946" y="394842"/>
                  </a:cubicBezTo>
                  <a:lnTo>
                    <a:pt x="61482" y="411179"/>
                  </a:lnTo>
                  <a:cubicBezTo>
                    <a:pt x="56795" y="415838"/>
                    <a:pt x="56772" y="423415"/>
                    <a:pt x="61431" y="428102"/>
                  </a:cubicBezTo>
                  <a:cubicBezTo>
                    <a:pt x="61448" y="428119"/>
                    <a:pt x="61465" y="428136"/>
                    <a:pt x="61482" y="428153"/>
                  </a:cubicBezTo>
                  <a:lnTo>
                    <a:pt x="97212" y="463755"/>
                  </a:lnTo>
                  <a:cubicBezTo>
                    <a:pt x="101703" y="468442"/>
                    <a:pt x="109144" y="468601"/>
                    <a:pt x="113831" y="464109"/>
                  </a:cubicBezTo>
                  <a:cubicBezTo>
                    <a:pt x="113951" y="463994"/>
                    <a:pt x="114070" y="463876"/>
                    <a:pt x="114185" y="463755"/>
                  </a:cubicBezTo>
                  <a:lnTo>
                    <a:pt x="131753" y="446399"/>
                  </a:lnTo>
                  <a:cubicBezTo>
                    <a:pt x="136876" y="441679"/>
                    <a:pt x="144363" y="440569"/>
                    <a:pt x="150636" y="443599"/>
                  </a:cubicBezTo>
                  <a:lnTo>
                    <a:pt x="211826" y="467998"/>
                  </a:lnTo>
                  <a:cubicBezTo>
                    <a:pt x="218357" y="470272"/>
                    <a:pt x="222856" y="476282"/>
                    <a:pt x="223198" y="483190"/>
                  </a:cubicBezTo>
                  <a:lnTo>
                    <a:pt x="223198" y="506571"/>
                  </a:lnTo>
                  <a:cubicBezTo>
                    <a:pt x="223244" y="513130"/>
                    <a:pt x="228563" y="518429"/>
                    <a:pt x="235122" y="518452"/>
                  </a:cubicBezTo>
                  <a:lnTo>
                    <a:pt x="285618" y="518452"/>
                  </a:lnTo>
                  <a:cubicBezTo>
                    <a:pt x="292171" y="518429"/>
                    <a:pt x="297477" y="513123"/>
                    <a:pt x="297500" y="506571"/>
                  </a:cubicBezTo>
                  <a:lnTo>
                    <a:pt x="297500" y="483190"/>
                  </a:lnTo>
                  <a:cubicBezTo>
                    <a:pt x="297811" y="476202"/>
                    <a:pt x="302376" y="470120"/>
                    <a:pt x="309000" y="467871"/>
                  </a:cubicBezTo>
                  <a:lnTo>
                    <a:pt x="324445" y="461336"/>
                  </a:lnTo>
                  <a:lnTo>
                    <a:pt x="271021" y="408209"/>
                  </a:lnTo>
                  <a:lnTo>
                    <a:pt x="269154" y="408209"/>
                  </a:lnTo>
                  <a:cubicBezTo>
                    <a:pt x="266947" y="408209"/>
                    <a:pt x="264911" y="408421"/>
                    <a:pt x="262492" y="408463"/>
                  </a:cubicBezTo>
                  <a:lnTo>
                    <a:pt x="259946" y="408463"/>
                  </a:lnTo>
                  <a:cubicBezTo>
                    <a:pt x="220816" y="408576"/>
                    <a:pt x="183247" y="393127"/>
                    <a:pt x="155516" y="365520"/>
                  </a:cubicBezTo>
                  <a:cubicBezTo>
                    <a:pt x="151302" y="361339"/>
                    <a:pt x="147348" y="356903"/>
                    <a:pt x="143677" y="352238"/>
                  </a:cubicBezTo>
                  <a:cubicBezTo>
                    <a:pt x="142616" y="350923"/>
                    <a:pt x="141555" y="349565"/>
                    <a:pt x="140537" y="347995"/>
                  </a:cubicBezTo>
                  <a:lnTo>
                    <a:pt x="140155" y="347486"/>
                  </a:lnTo>
                  <a:cubicBezTo>
                    <a:pt x="91550" y="281413"/>
                    <a:pt x="105710" y="188448"/>
                    <a:pt x="171783" y="139843"/>
                  </a:cubicBezTo>
                  <a:cubicBezTo>
                    <a:pt x="215411" y="107750"/>
                    <a:pt x="273049" y="101950"/>
                    <a:pt x="322196" y="124707"/>
                  </a:cubicBezTo>
                  <a:lnTo>
                    <a:pt x="323512" y="125302"/>
                  </a:lnTo>
                  <a:cubicBezTo>
                    <a:pt x="324955" y="125980"/>
                    <a:pt x="326397" y="126744"/>
                    <a:pt x="327755" y="127466"/>
                  </a:cubicBezTo>
                  <a:cubicBezTo>
                    <a:pt x="328519" y="127848"/>
                    <a:pt x="329283" y="128229"/>
                    <a:pt x="330004" y="128654"/>
                  </a:cubicBezTo>
                  <a:cubicBezTo>
                    <a:pt x="330726" y="129078"/>
                    <a:pt x="332381" y="129927"/>
                    <a:pt x="333526" y="130606"/>
                  </a:cubicBezTo>
                  <a:lnTo>
                    <a:pt x="336412" y="132261"/>
                  </a:lnTo>
                  <a:lnTo>
                    <a:pt x="339382" y="134128"/>
                  </a:lnTo>
                  <a:lnTo>
                    <a:pt x="342480" y="136122"/>
                  </a:lnTo>
                  <a:cubicBezTo>
                    <a:pt x="343456" y="136759"/>
                    <a:pt x="344389" y="137438"/>
                    <a:pt x="345323" y="138117"/>
                  </a:cubicBezTo>
                  <a:cubicBezTo>
                    <a:pt x="346257" y="138796"/>
                    <a:pt x="347360" y="139517"/>
                    <a:pt x="348378" y="140281"/>
                  </a:cubicBezTo>
                  <a:lnTo>
                    <a:pt x="351221" y="142487"/>
                  </a:lnTo>
                  <a:lnTo>
                    <a:pt x="354022" y="144694"/>
                  </a:lnTo>
                  <a:cubicBezTo>
                    <a:pt x="355040" y="145500"/>
                    <a:pt x="356059" y="146391"/>
                    <a:pt x="357035" y="147282"/>
                  </a:cubicBezTo>
                  <a:cubicBezTo>
                    <a:pt x="358011" y="148173"/>
                    <a:pt x="358690" y="148640"/>
                    <a:pt x="359454" y="149362"/>
                  </a:cubicBezTo>
                  <a:cubicBezTo>
                    <a:pt x="360217" y="150083"/>
                    <a:pt x="361533" y="151271"/>
                    <a:pt x="362551" y="152247"/>
                  </a:cubicBezTo>
                  <a:lnTo>
                    <a:pt x="364503" y="154114"/>
                  </a:lnTo>
                  <a:lnTo>
                    <a:pt x="364715" y="154369"/>
                  </a:lnTo>
                  <a:cubicBezTo>
                    <a:pt x="366498" y="156109"/>
                    <a:pt x="368237" y="157933"/>
                    <a:pt x="369935" y="159758"/>
                  </a:cubicBezTo>
                  <a:cubicBezTo>
                    <a:pt x="370868" y="160776"/>
                    <a:pt x="371717" y="161837"/>
                    <a:pt x="372608" y="162898"/>
                  </a:cubicBezTo>
                  <a:lnTo>
                    <a:pt x="374772" y="165359"/>
                  </a:lnTo>
                  <a:cubicBezTo>
                    <a:pt x="375875" y="166717"/>
                    <a:pt x="376936" y="168117"/>
                    <a:pt x="377997" y="169603"/>
                  </a:cubicBezTo>
                  <a:lnTo>
                    <a:pt x="379228" y="171258"/>
                  </a:lnTo>
                  <a:cubicBezTo>
                    <a:pt x="380373" y="172785"/>
                    <a:pt x="381477" y="174355"/>
                    <a:pt x="382580" y="175925"/>
                  </a:cubicBezTo>
                  <a:cubicBezTo>
                    <a:pt x="382835" y="176350"/>
                    <a:pt x="383132" y="176731"/>
                    <a:pt x="383386" y="177113"/>
                  </a:cubicBezTo>
                  <a:cubicBezTo>
                    <a:pt x="384532" y="178853"/>
                    <a:pt x="385678" y="180593"/>
                    <a:pt x="386739" y="182333"/>
                  </a:cubicBezTo>
                  <a:lnTo>
                    <a:pt x="387205" y="183097"/>
                  </a:lnTo>
                  <a:cubicBezTo>
                    <a:pt x="388351" y="185006"/>
                    <a:pt x="389454" y="186916"/>
                    <a:pt x="390515" y="188868"/>
                  </a:cubicBezTo>
                  <a:lnTo>
                    <a:pt x="390515" y="188868"/>
                  </a:lnTo>
                  <a:cubicBezTo>
                    <a:pt x="403835" y="213374"/>
                    <a:pt x="409955" y="241148"/>
                    <a:pt x="408168" y="268983"/>
                  </a:cubicBezTo>
                  <a:lnTo>
                    <a:pt x="462483" y="323298"/>
                  </a:lnTo>
                  <a:lnTo>
                    <a:pt x="469103" y="306834"/>
                  </a:lnTo>
                  <a:cubicBezTo>
                    <a:pt x="471352" y="300211"/>
                    <a:pt x="477434" y="295645"/>
                    <a:pt x="484422" y="295334"/>
                  </a:cubicBezTo>
                  <a:lnTo>
                    <a:pt x="506318" y="295334"/>
                  </a:lnTo>
                  <a:cubicBezTo>
                    <a:pt x="512884" y="295288"/>
                    <a:pt x="518195" y="289977"/>
                    <a:pt x="518241" y="283411"/>
                  </a:cubicBezTo>
                  <a:lnTo>
                    <a:pt x="518241" y="233381"/>
                  </a:lnTo>
                  <a:cubicBezTo>
                    <a:pt x="518197" y="226903"/>
                    <a:pt x="513006" y="221637"/>
                    <a:pt x="506530" y="221499"/>
                  </a:cubicBezTo>
                  <a:close/>
                </a:path>
              </a:pathLst>
            </a:custGeom>
            <a:solidFill>
              <a:srgbClr val="1D1D1B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64" name="Gruppieren 163">
            <a:extLst>
              <a:ext uri="{FF2B5EF4-FFF2-40B4-BE49-F238E27FC236}">
                <a16:creationId xmlns:a16="http://schemas.microsoft.com/office/drawing/2014/main" id="{67CB725F-0DBA-4266-8D24-36F92AA1F995}"/>
              </a:ext>
            </a:extLst>
          </p:cNvPr>
          <p:cNvGrpSpPr/>
          <p:nvPr/>
        </p:nvGrpSpPr>
        <p:grpSpPr>
          <a:xfrm>
            <a:off x="8258237" y="2500034"/>
            <a:ext cx="755851" cy="756064"/>
            <a:chOff x="8258237" y="2500034"/>
            <a:chExt cx="755851" cy="756064"/>
          </a:xfrm>
        </p:grpSpPr>
        <p:grpSp>
          <p:nvGrpSpPr>
            <p:cNvPr id="165" name="Grafik 91">
              <a:extLst>
                <a:ext uri="{FF2B5EF4-FFF2-40B4-BE49-F238E27FC236}">
                  <a16:creationId xmlns:a16="http://schemas.microsoft.com/office/drawing/2014/main" id="{CB5B7F16-86C9-4050-A6C5-892BB0FD4ADF}"/>
                </a:ext>
              </a:extLst>
            </p:cNvPr>
            <p:cNvGrpSpPr/>
            <p:nvPr/>
          </p:nvGrpSpPr>
          <p:grpSpPr>
            <a:xfrm>
              <a:off x="8258237" y="2500034"/>
              <a:ext cx="755851" cy="756064"/>
              <a:chOff x="8258237" y="2500034"/>
              <a:chExt cx="755851" cy="756064"/>
            </a:xfrm>
          </p:grpSpPr>
          <p:sp>
            <p:nvSpPr>
              <p:cNvPr id="167" name="Freihandform: Form 166">
                <a:extLst>
                  <a:ext uri="{FF2B5EF4-FFF2-40B4-BE49-F238E27FC236}">
                    <a16:creationId xmlns:a16="http://schemas.microsoft.com/office/drawing/2014/main" id="{EC0B34D2-0E0E-47AA-88F5-5ED510B8FBFF}"/>
                  </a:ext>
                </a:extLst>
              </p:cNvPr>
              <p:cNvSpPr/>
              <p:nvPr/>
            </p:nvSpPr>
            <p:spPr>
              <a:xfrm>
                <a:off x="8258237" y="2500034"/>
                <a:ext cx="683499" cy="466270"/>
              </a:xfrm>
              <a:custGeom>
                <a:avLst/>
                <a:gdLst>
                  <a:gd name="connsiteX0" fmla="*/ 10573 w 683499"/>
                  <a:gd name="connsiteY0" fmla="*/ 466221 h 466270"/>
                  <a:gd name="connsiteX1" fmla="*/ 289109 w 683499"/>
                  <a:gd name="connsiteY1" fmla="*/ 10507 h 466270"/>
                  <a:gd name="connsiteX2" fmla="*/ 683449 w 683499"/>
                  <a:gd name="connsiteY2" fmla="*/ 155944 h 466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99" h="466270">
                    <a:moveTo>
                      <a:pt x="10573" y="466221"/>
                    </a:moveTo>
                    <a:cubicBezTo>
                      <a:pt x="-38354" y="263463"/>
                      <a:pt x="86351" y="59433"/>
                      <a:pt x="289109" y="10507"/>
                    </a:cubicBezTo>
                    <a:cubicBezTo>
                      <a:pt x="437882" y="-25393"/>
                      <a:pt x="593612" y="32042"/>
                      <a:pt x="683449" y="155944"/>
                    </a:cubicBezTo>
                  </a:path>
                </a:pathLst>
              </a:custGeom>
              <a:noFill/>
              <a:ln w="33594" cap="flat">
                <a:solidFill>
                  <a:srgbClr val="1D1D1B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8" name="Freihandform: Form 167">
                <a:extLst>
                  <a:ext uri="{FF2B5EF4-FFF2-40B4-BE49-F238E27FC236}">
                    <a16:creationId xmlns:a16="http://schemas.microsoft.com/office/drawing/2014/main" id="{4397832E-8E92-4301-B35A-C8E32524B663}"/>
                  </a:ext>
                </a:extLst>
              </p:cNvPr>
              <p:cNvSpPr/>
              <p:nvPr/>
            </p:nvSpPr>
            <p:spPr>
              <a:xfrm>
                <a:off x="8889628" y="2617539"/>
                <a:ext cx="89068" cy="101502"/>
              </a:xfrm>
              <a:custGeom>
                <a:avLst/>
                <a:gdLst>
                  <a:gd name="connsiteX0" fmla="*/ 0 w 89068"/>
                  <a:gd name="connsiteY0" fmla="*/ 52788 h 101502"/>
                  <a:gd name="connsiteX1" fmla="*/ 89069 w 89068"/>
                  <a:gd name="connsiteY1" fmla="*/ 101502 h 101502"/>
                  <a:gd name="connsiteX2" fmla="*/ 86735 w 89068"/>
                  <a:gd name="connsiteY2" fmla="*/ 0 h 101502"/>
                  <a:gd name="connsiteX3" fmla="*/ 0 w 89068"/>
                  <a:gd name="connsiteY3" fmla="*/ 52788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0" y="52788"/>
                    </a:moveTo>
                    <a:lnTo>
                      <a:pt x="89069" y="101502"/>
                    </a:lnTo>
                    <a:lnTo>
                      <a:pt x="86735" y="0"/>
                    </a:lnTo>
                    <a:lnTo>
                      <a:pt x="0" y="52788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9" name="Freihandform: Form 168">
                <a:extLst>
                  <a:ext uri="{FF2B5EF4-FFF2-40B4-BE49-F238E27FC236}">
                    <a16:creationId xmlns:a16="http://schemas.microsoft.com/office/drawing/2014/main" id="{33144FE5-C56E-44F9-A475-2AD5E242B540}"/>
                  </a:ext>
                </a:extLst>
              </p:cNvPr>
              <p:cNvSpPr/>
              <p:nvPr/>
            </p:nvSpPr>
            <p:spPr>
              <a:xfrm>
                <a:off x="8330645" y="2790415"/>
                <a:ext cx="683443" cy="465683"/>
              </a:xfrm>
              <a:custGeom>
                <a:avLst/>
                <a:gdLst>
                  <a:gd name="connsiteX0" fmla="*/ 672909 w 683443"/>
                  <a:gd name="connsiteY0" fmla="*/ -49 h 465683"/>
                  <a:gd name="connsiteX1" fmla="*/ 393646 w 683443"/>
                  <a:gd name="connsiteY1" fmla="*/ 455220 h 465683"/>
                  <a:gd name="connsiteX2" fmla="*/ -51 w 683443"/>
                  <a:gd name="connsiteY2" fmla="*/ 309719 h 465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43" h="465683">
                    <a:moveTo>
                      <a:pt x="672909" y="-49"/>
                    </a:moveTo>
                    <a:cubicBezTo>
                      <a:pt x="721512" y="202786"/>
                      <a:pt x="596481" y="406617"/>
                      <a:pt x="393646" y="455220"/>
                    </a:cubicBezTo>
                    <a:cubicBezTo>
                      <a:pt x="245063" y="490822"/>
                      <a:pt x="89667" y="433392"/>
                      <a:pt x="-51" y="309719"/>
                    </a:cubicBezTo>
                  </a:path>
                </a:pathLst>
              </a:custGeom>
              <a:noFill/>
              <a:ln w="33594" cap="flat">
                <a:solidFill>
                  <a:srgbClr val="1D1D1B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0" name="Freihandform: Form 169">
                <a:extLst>
                  <a:ext uri="{FF2B5EF4-FFF2-40B4-BE49-F238E27FC236}">
                    <a16:creationId xmlns:a16="http://schemas.microsoft.com/office/drawing/2014/main" id="{6357060F-19DF-4B26-B9BC-2807911FBFFD}"/>
                  </a:ext>
                </a:extLst>
              </p:cNvPr>
              <p:cNvSpPr/>
              <p:nvPr/>
            </p:nvSpPr>
            <p:spPr>
              <a:xfrm>
                <a:off x="8293685" y="3037254"/>
                <a:ext cx="89068" cy="101502"/>
              </a:xfrm>
              <a:custGeom>
                <a:avLst/>
                <a:gdLst>
                  <a:gd name="connsiteX0" fmla="*/ 89069 w 89068"/>
                  <a:gd name="connsiteY0" fmla="*/ 48714 h 101502"/>
                  <a:gd name="connsiteX1" fmla="*/ 0 w 89068"/>
                  <a:gd name="connsiteY1" fmla="*/ 0 h 101502"/>
                  <a:gd name="connsiteX2" fmla="*/ 2334 w 89068"/>
                  <a:gd name="connsiteY2" fmla="*/ 101502 h 101502"/>
                  <a:gd name="connsiteX3" fmla="*/ 89069 w 89068"/>
                  <a:gd name="connsiteY3" fmla="*/ 48714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89069" y="48714"/>
                    </a:moveTo>
                    <a:lnTo>
                      <a:pt x="0" y="0"/>
                    </a:lnTo>
                    <a:lnTo>
                      <a:pt x="2334" y="101502"/>
                    </a:lnTo>
                    <a:lnTo>
                      <a:pt x="89069" y="48714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66" name="Freihandform: Form 165">
              <a:extLst>
                <a:ext uri="{FF2B5EF4-FFF2-40B4-BE49-F238E27FC236}">
                  <a16:creationId xmlns:a16="http://schemas.microsoft.com/office/drawing/2014/main" id="{AF9BDBAB-28F1-4EC0-BCD0-4C2DC5E7C86C}"/>
                </a:ext>
              </a:extLst>
            </p:cNvPr>
            <p:cNvSpPr/>
            <p:nvPr/>
          </p:nvSpPr>
          <p:spPr>
            <a:xfrm>
              <a:off x="8509249" y="2595092"/>
              <a:ext cx="267291" cy="588219"/>
            </a:xfrm>
            <a:custGeom>
              <a:avLst/>
              <a:gdLst>
                <a:gd name="connsiteX0" fmla="*/ 267292 w 267291"/>
                <a:gd name="connsiteY0" fmla="*/ 232750 h 588219"/>
                <a:gd name="connsiteX1" fmla="*/ 138674 w 267291"/>
                <a:gd name="connsiteY1" fmla="*/ 232750 h 588219"/>
                <a:gd name="connsiteX2" fmla="*/ 239370 w 267291"/>
                <a:gd name="connsiteY2" fmla="*/ 0 h 588219"/>
                <a:gd name="connsiteX3" fmla="*/ 99805 w 267291"/>
                <a:gd name="connsiteY3" fmla="*/ 0 h 588219"/>
                <a:gd name="connsiteX4" fmla="*/ 0 w 267291"/>
                <a:gd name="connsiteY4" fmla="*/ 310405 h 588219"/>
                <a:gd name="connsiteX5" fmla="*/ 109946 w 267291"/>
                <a:gd name="connsiteY5" fmla="*/ 310405 h 588219"/>
                <a:gd name="connsiteX6" fmla="*/ 10863 w 267291"/>
                <a:gd name="connsiteY6" fmla="*/ 587414 h 588219"/>
                <a:gd name="connsiteX7" fmla="*/ 11797 w 267291"/>
                <a:gd name="connsiteY7" fmla="*/ 588220 h 588219"/>
                <a:gd name="connsiteX8" fmla="*/ 267292 w 267291"/>
                <a:gd name="connsiteY8" fmla="*/ 232750 h 588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7291" h="588219">
                  <a:moveTo>
                    <a:pt x="267292" y="232750"/>
                  </a:moveTo>
                  <a:lnTo>
                    <a:pt x="138674" y="232750"/>
                  </a:lnTo>
                  <a:lnTo>
                    <a:pt x="239370" y="0"/>
                  </a:lnTo>
                  <a:lnTo>
                    <a:pt x="99805" y="0"/>
                  </a:lnTo>
                  <a:lnTo>
                    <a:pt x="0" y="310405"/>
                  </a:lnTo>
                  <a:lnTo>
                    <a:pt x="109946" y="310405"/>
                  </a:lnTo>
                  <a:lnTo>
                    <a:pt x="10863" y="587414"/>
                  </a:lnTo>
                  <a:lnTo>
                    <a:pt x="11797" y="588220"/>
                  </a:lnTo>
                  <a:lnTo>
                    <a:pt x="267292" y="232750"/>
                  </a:lnTo>
                  <a:close/>
                </a:path>
              </a:pathLst>
            </a:custGeom>
            <a:solidFill>
              <a:srgbClr val="1D1D1B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71" name="Gruppieren 170">
            <a:extLst>
              <a:ext uri="{FF2B5EF4-FFF2-40B4-BE49-F238E27FC236}">
                <a16:creationId xmlns:a16="http://schemas.microsoft.com/office/drawing/2014/main" id="{5514EA57-DC34-494F-9439-29BA73546F53}"/>
              </a:ext>
            </a:extLst>
          </p:cNvPr>
          <p:cNvGrpSpPr/>
          <p:nvPr/>
        </p:nvGrpSpPr>
        <p:grpSpPr>
          <a:xfrm>
            <a:off x="10796447" y="2500034"/>
            <a:ext cx="755851" cy="756064"/>
            <a:chOff x="10796447" y="2500034"/>
            <a:chExt cx="755851" cy="756064"/>
          </a:xfrm>
        </p:grpSpPr>
        <p:grpSp>
          <p:nvGrpSpPr>
            <p:cNvPr id="172" name="Grafik 96">
              <a:extLst>
                <a:ext uri="{FF2B5EF4-FFF2-40B4-BE49-F238E27FC236}">
                  <a16:creationId xmlns:a16="http://schemas.microsoft.com/office/drawing/2014/main" id="{CB439022-65EF-4DAA-84F2-81A27F55A04A}"/>
                </a:ext>
              </a:extLst>
            </p:cNvPr>
            <p:cNvGrpSpPr/>
            <p:nvPr/>
          </p:nvGrpSpPr>
          <p:grpSpPr>
            <a:xfrm>
              <a:off x="10796447" y="2500034"/>
              <a:ext cx="755851" cy="756064"/>
              <a:chOff x="10796447" y="2500034"/>
              <a:chExt cx="755851" cy="756064"/>
            </a:xfrm>
          </p:grpSpPr>
          <p:sp>
            <p:nvSpPr>
              <p:cNvPr id="180" name="Freihandform: Form 179">
                <a:extLst>
                  <a:ext uri="{FF2B5EF4-FFF2-40B4-BE49-F238E27FC236}">
                    <a16:creationId xmlns:a16="http://schemas.microsoft.com/office/drawing/2014/main" id="{CE202E5C-8D89-4981-BB45-586AED83F5F5}"/>
                  </a:ext>
                </a:extLst>
              </p:cNvPr>
              <p:cNvSpPr/>
              <p:nvPr/>
            </p:nvSpPr>
            <p:spPr>
              <a:xfrm>
                <a:off x="10796447" y="2500034"/>
                <a:ext cx="683499" cy="466270"/>
              </a:xfrm>
              <a:custGeom>
                <a:avLst/>
                <a:gdLst>
                  <a:gd name="connsiteX0" fmla="*/ 10573 w 683499"/>
                  <a:gd name="connsiteY0" fmla="*/ 466221 h 466270"/>
                  <a:gd name="connsiteX1" fmla="*/ 289109 w 683499"/>
                  <a:gd name="connsiteY1" fmla="*/ 10507 h 466270"/>
                  <a:gd name="connsiteX2" fmla="*/ 683449 w 683499"/>
                  <a:gd name="connsiteY2" fmla="*/ 155944 h 466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99" h="466270">
                    <a:moveTo>
                      <a:pt x="10573" y="466221"/>
                    </a:moveTo>
                    <a:cubicBezTo>
                      <a:pt x="-38354" y="263463"/>
                      <a:pt x="86351" y="59433"/>
                      <a:pt x="289109" y="10507"/>
                    </a:cubicBezTo>
                    <a:cubicBezTo>
                      <a:pt x="437882" y="-25393"/>
                      <a:pt x="593612" y="32042"/>
                      <a:pt x="683449" y="155944"/>
                    </a:cubicBezTo>
                  </a:path>
                </a:pathLst>
              </a:custGeom>
              <a:noFill/>
              <a:ln w="33594" cap="flat">
                <a:solidFill>
                  <a:srgbClr val="1D1D1B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1" name="Freihandform: Form 180">
                <a:extLst>
                  <a:ext uri="{FF2B5EF4-FFF2-40B4-BE49-F238E27FC236}">
                    <a16:creationId xmlns:a16="http://schemas.microsoft.com/office/drawing/2014/main" id="{AB5F2616-C13F-4226-852F-67C9A4088913}"/>
                  </a:ext>
                </a:extLst>
              </p:cNvPr>
              <p:cNvSpPr/>
              <p:nvPr/>
            </p:nvSpPr>
            <p:spPr>
              <a:xfrm>
                <a:off x="11427838" y="2617539"/>
                <a:ext cx="89068" cy="101502"/>
              </a:xfrm>
              <a:custGeom>
                <a:avLst/>
                <a:gdLst>
                  <a:gd name="connsiteX0" fmla="*/ 0 w 89068"/>
                  <a:gd name="connsiteY0" fmla="*/ 52788 h 101502"/>
                  <a:gd name="connsiteX1" fmla="*/ 89069 w 89068"/>
                  <a:gd name="connsiteY1" fmla="*/ 101502 h 101502"/>
                  <a:gd name="connsiteX2" fmla="*/ 86735 w 89068"/>
                  <a:gd name="connsiteY2" fmla="*/ 0 h 101502"/>
                  <a:gd name="connsiteX3" fmla="*/ 0 w 89068"/>
                  <a:gd name="connsiteY3" fmla="*/ 52788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0" y="52788"/>
                    </a:moveTo>
                    <a:lnTo>
                      <a:pt x="89069" y="101502"/>
                    </a:lnTo>
                    <a:lnTo>
                      <a:pt x="86735" y="0"/>
                    </a:lnTo>
                    <a:lnTo>
                      <a:pt x="0" y="52788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2" name="Freihandform: Form 181">
                <a:extLst>
                  <a:ext uri="{FF2B5EF4-FFF2-40B4-BE49-F238E27FC236}">
                    <a16:creationId xmlns:a16="http://schemas.microsoft.com/office/drawing/2014/main" id="{47670F18-292B-4A8F-A11B-111016B16E00}"/>
                  </a:ext>
                </a:extLst>
              </p:cNvPr>
              <p:cNvSpPr/>
              <p:nvPr/>
            </p:nvSpPr>
            <p:spPr>
              <a:xfrm>
                <a:off x="10868855" y="2790415"/>
                <a:ext cx="683443" cy="465683"/>
              </a:xfrm>
              <a:custGeom>
                <a:avLst/>
                <a:gdLst>
                  <a:gd name="connsiteX0" fmla="*/ 672909 w 683443"/>
                  <a:gd name="connsiteY0" fmla="*/ -49 h 465683"/>
                  <a:gd name="connsiteX1" fmla="*/ 393646 w 683443"/>
                  <a:gd name="connsiteY1" fmla="*/ 455220 h 465683"/>
                  <a:gd name="connsiteX2" fmla="*/ -51 w 683443"/>
                  <a:gd name="connsiteY2" fmla="*/ 309719 h 465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43" h="465683">
                    <a:moveTo>
                      <a:pt x="672909" y="-49"/>
                    </a:moveTo>
                    <a:cubicBezTo>
                      <a:pt x="721512" y="202786"/>
                      <a:pt x="596481" y="406617"/>
                      <a:pt x="393646" y="455220"/>
                    </a:cubicBezTo>
                    <a:cubicBezTo>
                      <a:pt x="245063" y="490822"/>
                      <a:pt x="89667" y="433392"/>
                      <a:pt x="-51" y="309719"/>
                    </a:cubicBezTo>
                  </a:path>
                </a:pathLst>
              </a:custGeom>
              <a:noFill/>
              <a:ln w="33594" cap="flat">
                <a:solidFill>
                  <a:srgbClr val="1D1D1B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3" name="Freihandform: Form 182">
                <a:extLst>
                  <a:ext uri="{FF2B5EF4-FFF2-40B4-BE49-F238E27FC236}">
                    <a16:creationId xmlns:a16="http://schemas.microsoft.com/office/drawing/2014/main" id="{0E1DEBC8-99F8-4B96-ABC6-8FD64725BB2C}"/>
                  </a:ext>
                </a:extLst>
              </p:cNvPr>
              <p:cNvSpPr/>
              <p:nvPr/>
            </p:nvSpPr>
            <p:spPr>
              <a:xfrm>
                <a:off x="10831895" y="3037254"/>
                <a:ext cx="89068" cy="101502"/>
              </a:xfrm>
              <a:custGeom>
                <a:avLst/>
                <a:gdLst>
                  <a:gd name="connsiteX0" fmla="*/ 89069 w 89068"/>
                  <a:gd name="connsiteY0" fmla="*/ 48714 h 101502"/>
                  <a:gd name="connsiteX1" fmla="*/ 0 w 89068"/>
                  <a:gd name="connsiteY1" fmla="*/ 0 h 101502"/>
                  <a:gd name="connsiteX2" fmla="*/ 2334 w 89068"/>
                  <a:gd name="connsiteY2" fmla="*/ 101502 h 101502"/>
                  <a:gd name="connsiteX3" fmla="*/ 89069 w 89068"/>
                  <a:gd name="connsiteY3" fmla="*/ 48714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89069" y="48714"/>
                    </a:moveTo>
                    <a:lnTo>
                      <a:pt x="0" y="0"/>
                    </a:lnTo>
                    <a:lnTo>
                      <a:pt x="2334" y="101502"/>
                    </a:lnTo>
                    <a:lnTo>
                      <a:pt x="89069" y="48714"/>
                    </a:lnTo>
                    <a:close/>
                  </a:path>
                </a:pathLst>
              </a:custGeom>
              <a:solidFill>
                <a:srgbClr val="1D1D1B"/>
              </a:solidFill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73" name="Freihandform: Form 172">
              <a:extLst>
                <a:ext uri="{FF2B5EF4-FFF2-40B4-BE49-F238E27FC236}">
                  <a16:creationId xmlns:a16="http://schemas.microsoft.com/office/drawing/2014/main" id="{0F75092A-E7AE-4663-8BBE-B7BD51358ED2}"/>
                </a:ext>
              </a:extLst>
            </p:cNvPr>
            <p:cNvSpPr/>
            <p:nvPr/>
          </p:nvSpPr>
          <p:spPr>
            <a:xfrm>
              <a:off x="11222754" y="2914917"/>
              <a:ext cx="37991" cy="59831"/>
            </a:xfrm>
            <a:custGeom>
              <a:avLst/>
              <a:gdLst>
                <a:gd name="connsiteX0" fmla="*/ 32156 w 37991"/>
                <a:gd name="connsiteY0" fmla="*/ 59783 h 59831"/>
                <a:gd name="connsiteX1" fmla="*/ 37927 w 37991"/>
                <a:gd name="connsiteY1" fmla="*/ 37250 h 59831"/>
                <a:gd name="connsiteX2" fmla="*/ 36357 w 37991"/>
                <a:gd name="connsiteY2" fmla="*/ 31607 h 59831"/>
                <a:gd name="connsiteX3" fmla="*/ 15946 w 37991"/>
                <a:gd name="connsiteY3" fmla="*/ -49 h 59831"/>
                <a:gd name="connsiteX4" fmla="*/ -51 w 37991"/>
                <a:gd name="connsiteY4" fmla="*/ 22738 h 59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91" h="59831">
                  <a:moveTo>
                    <a:pt x="32156" y="59783"/>
                  </a:moveTo>
                  <a:cubicBezTo>
                    <a:pt x="32156" y="59783"/>
                    <a:pt x="36951" y="43828"/>
                    <a:pt x="37927" y="37250"/>
                  </a:cubicBezTo>
                  <a:cubicBezTo>
                    <a:pt x="38035" y="35248"/>
                    <a:pt x="37484" y="33265"/>
                    <a:pt x="36357" y="31607"/>
                  </a:cubicBezTo>
                  <a:cubicBezTo>
                    <a:pt x="29596" y="20998"/>
                    <a:pt x="22792" y="10446"/>
                    <a:pt x="15946" y="-49"/>
                  </a:cubicBezTo>
                  <a:lnTo>
                    <a:pt x="-51" y="22738"/>
                  </a:lnTo>
                  <a:close/>
                </a:path>
              </a:pathLst>
            </a:custGeom>
            <a:solidFill>
              <a:srgbClr val="000000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4" name="Freihandform: Form 173">
              <a:extLst>
                <a:ext uri="{FF2B5EF4-FFF2-40B4-BE49-F238E27FC236}">
                  <a16:creationId xmlns:a16="http://schemas.microsoft.com/office/drawing/2014/main" id="{3F922319-D604-4A6F-9A97-426448221669}"/>
                </a:ext>
              </a:extLst>
            </p:cNvPr>
            <p:cNvSpPr/>
            <p:nvPr/>
          </p:nvSpPr>
          <p:spPr>
            <a:xfrm>
              <a:off x="11292401" y="2777515"/>
              <a:ext cx="166710" cy="197445"/>
            </a:xfrm>
            <a:custGeom>
              <a:avLst/>
              <a:gdLst>
                <a:gd name="connsiteX0" fmla="*/ 164367 w 166710"/>
                <a:gd name="connsiteY0" fmla="*/ 154453 h 197445"/>
                <a:gd name="connsiteX1" fmla="*/ 157366 w 166710"/>
                <a:gd name="connsiteY1" fmla="*/ 145287 h 197445"/>
                <a:gd name="connsiteX2" fmla="*/ 132542 w 166710"/>
                <a:gd name="connsiteY2" fmla="*/ 114056 h 197445"/>
                <a:gd name="connsiteX3" fmla="*/ 88580 w 166710"/>
                <a:gd name="connsiteY3" fmla="*/ 57576 h 197445"/>
                <a:gd name="connsiteX4" fmla="*/ 51620 w 166710"/>
                <a:gd name="connsiteY4" fmla="*/ 10220 h 197445"/>
                <a:gd name="connsiteX5" fmla="*/ 42836 w 166710"/>
                <a:gd name="connsiteY5" fmla="*/ -49 h 197445"/>
                <a:gd name="connsiteX6" fmla="*/ 39187 w 166710"/>
                <a:gd name="connsiteY6" fmla="*/ 4194 h 197445"/>
                <a:gd name="connsiteX7" fmla="*/ 2354 w 166710"/>
                <a:gd name="connsiteY7" fmla="*/ 56940 h 197445"/>
                <a:gd name="connsiteX8" fmla="*/ 3458 w 166710"/>
                <a:gd name="connsiteY8" fmla="*/ 65427 h 197445"/>
                <a:gd name="connsiteX9" fmla="*/ 73262 w 166710"/>
                <a:gd name="connsiteY9" fmla="*/ 122500 h 197445"/>
                <a:gd name="connsiteX10" fmla="*/ 161779 w 166710"/>
                <a:gd name="connsiteY10" fmla="*/ 194638 h 197445"/>
                <a:gd name="connsiteX11" fmla="*/ 165089 w 166710"/>
                <a:gd name="connsiteY11" fmla="*/ 197396 h 197445"/>
                <a:gd name="connsiteX12" fmla="*/ 165513 w 166710"/>
                <a:gd name="connsiteY12" fmla="*/ 191371 h 197445"/>
                <a:gd name="connsiteX13" fmla="*/ 166659 w 166710"/>
                <a:gd name="connsiteY13" fmla="*/ 160945 h 197445"/>
                <a:gd name="connsiteX14" fmla="*/ 164367 w 166710"/>
                <a:gd name="connsiteY14" fmla="*/ 154453 h 197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66710" h="197445">
                  <a:moveTo>
                    <a:pt x="164367" y="154453"/>
                  </a:moveTo>
                  <a:cubicBezTo>
                    <a:pt x="162193" y="151279"/>
                    <a:pt x="159856" y="148219"/>
                    <a:pt x="157366" y="145287"/>
                  </a:cubicBezTo>
                  <a:cubicBezTo>
                    <a:pt x="149091" y="134891"/>
                    <a:pt x="140732" y="124537"/>
                    <a:pt x="132542" y="114056"/>
                  </a:cubicBezTo>
                  <a:cubicBezTo>
                    <a:pt x="117860" y="95258"/>
                    <a:pt x="103262" y="76417"/>
                    <a:pt x="88580" y="57576"/>
                  </a:cubicBezTo>
                  <a:cubicBezTo>
                    <a:pt x="76274" y="41791"/>
                    <a:pt x="64011" y="25963"/>
                    <a:pt x="51620" y="10220"/>
                  </a:cubicBezTo>
                  <a:cubicBezTo>
                    <a:pt x="48989" y="6825"/>
                    <a:pt x="46019" y="3643"/>
                    <a:pt x="42836" y="-49"/>
                  </a:cubicBezTo>
                  <a:cubicBezTo>
                    <a:pt x="41547" y="1301"/>
                    <a:pt x="40329" y="2717"/>
                    <a:pt x="39187" y="4194"/>
                  </a:cubicBezTo>
                  <a:cubicBezTo>
                    <a:pt x="26881" y="21762"/>
                    <a:pt x="14660" y="39372"/>
                    <a:pt x="2354" y="56940"/>
                  </a:cubicBezTo>
                  <a:cubicBezTo>
                    <a:pt x="-998" y="61692"/>
                    <a:pt x="-1040" y="61947"/>
                    <a:pt x="3458" y="65427"/>
                  </a:cubicBezTo>
                  <a:lnTo>
                    <a:pt x="73262" y="122500"/>
                  </a:lnTo>
                  <a:cubicBezTo>
                    <a:pt x="102767" y="146631"/>
                    <a:pt x="132273" y="170677"/>
                    <a:pt x="161779" y="194638"/>
                  </a:cubicBezTo>
                  <a:cubicBezTo>
                    <a:pt x="162797" y="195487"/>
                    <a:pt x="163391" y="195826"/>
                    <a:pt x="165089" y="197396"/>
                  </a:cubicBezTo>
                  <a:cubicBezTo>
                    <a:pt x="165089" y="195105"/>
                    <a:pt x="165386" y="192941"/>
                    <a:pt x="165513" y="191371"/>
                  </a:cubicBezTo>
                  <a:cubicBezTo>
                    <a:pt x="166234" y="180635"/>
                    <a:pt x="166532" y="172360"/>
                    <a:pt x="166659" y="160945"/>
                  </a:cubicBezTo>
                  <a:cubicBezTo>
                    <a:pt x="166449" y="158624"/>
                    <a:pt x="165661" y="156392"/>
                    <a:pt x="164367" y="154453"/>
                  </a:cubicBezTo>
                  <a:close/>
                </a:path>
              </a:pathLst>
            </a:custGeom>
            <a:solidFill>
              <a:srgbClr val="000000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5" name="Freihandform: Form 174">
              <a:extLst>
                <a:ext uri="{FF2B5EF4-FFF2-40B4-BE49-F238E27FC236}">
                  <a16:creationId xmlns:a16="http://schemas.microsoft.com/office/drawing/2014/main" id="{E74DCFDB-5943-41EB-BD1A-EDE1259BB301}"/>
                </a:ext>
              </a:extLst>
            </p:cNvPr>
            <p:cNvSpPr/>
            <p:nvPr/>
          </p:nvSpPr>
          <p:spPr>
            <a:xfrm>
              <a:off x="10871486" y="2838154"/>
              <a:ext cx="108461" cy="98192"/>
            </a:xfrm>
            <a:custGeom>
              <a:avLst/>
              <a:gdLst>
                <a:gd name="connsiteX0" fmla="*/ 6908 w 108461"/>
                <a:gd name="connsiteY0" fmla="*/ 80193 h 98192"/>
                <a:gd name="connsiteX1" fmla="*/ 49342 w 108461"/>
                <a:gd name="connsiteY1" fmla="*/ 98143 h 98192"/>
                <a:gd name="connsiteX2" fmla="*/ 108410 w 108461"/>
                <a:gd name="connsiteY2" fmla="*/ -49 h 98192"/>
                <a:gd name="connsiteX3" fmla="*/ 64406 w 108461"/>
                <a:gd name="connsiteY3" fmla="*/ 24563 h 98192"/>
                <a:gd name="connsiteX4" fmla="*/ 4234 w 108461"/>
                <a:gd name="connsiteY4" fmla="*/ 64790 h 98192"/>
                <a:gd name="connsiteX5" fmla="*/ 6908 w 108461"/>
                <a:gd name="connsiteY5" fmla="*/ 80193 h 98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8461" h="98192">
                  <a:moveTo>
                    <a:pt x="6908" y="80193"/>
                  </a:moveTo>
                  <a:cubicBezTo>
                    <a:pt x="20996" y="86431"/>
                    <a:pt x="35254" y="92160"/>
                    <a:pt x="49342" y="98143"/>
                  </a:cubicBezTo>
                  <a:lnTo>
                    <a:pt x="108410" y="-49"/>
                  </a:lnTo>
                  <a:cubicBezTo>
                    <a:pt x="94392" y="9267"/>
                    <a:pt x="79681" y="17495"/>
                    <a:pt x="64406" y="24563"/>
                  </a:cubicBezTo>
                  <a:cubicBezTo>
                    <a:pt x="42298" y="34874"/>
                    <a:pt x="21123" y="46543"/>
                    <a:pt x="4234" y="64790"/>
                  </a:cubicBezTo>
                  <a:cubicBezTo>
                    <a:pt x="-1961" y="71537"/>
                    <a:pt x="-1749" y="76374"/>
                    <a:pt x="6908" y="80193"/>
                  </a:cubicBezTo>
                  <a:close/>
                </a:path>
              </a:pathLst>
            </a:custGeom>
            <a:solidFill>
              <a:srgbClr val="000000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6" name="Freihandform: Form 175">
              <a:extLst>
                <a:ext uri="{FF2B5EF4-FFF2-40B4-BE49-F238E27FC236}">
                  <a16:creationId xmlns:a16="http://schemas.microsoft.com/office/drawing/2014/main" id="{B909FAEA-0DF8-478A-A8D3-99544DA1D758}"/>
                </a:ext>
              </a:extLst>
            </p:cNvPr>
            <p:cNvSpPr/>
            <p:nvPr/>
          </p:nvSpPr>
          <p:spPr>
            <a:xfrm>
              <a:off x="10963228" y="2894845"/>
              <a:ext cx="84867" cy="120371"/>
            </a:xfrm>
            <a:custGeom>
              <a:avLst/>
              <a:gdLst>
                <a:gd name="connsiteX0" fmla="*/ 24603 w 84867"/>
                <a:gd name="connsiteY0" fmla="*/ 113462 h 120371"/>
                <a:gd name="connsiteX1" fmla="*/ 45480 w 84867"/>
                <a:gd name="connsiteY1" fmla="*/ 109430 h 120371"/>
                <a:gd name="connsiteX2" fmla="*/ 59187 w 84867"/>
                <a:gd name="connsiteY2" fmla="*/ 81297 h 120371"/>
                <a:gd name="connsiteX3" fmla="*/ 74845 w 84867"/>
                <a:gd name="connsiteY3" fmla="*/ 28933 h 120371"/>
                <a:gd name="connsiteX4" fmla="*/ 84817 w 84867"/>
                <a:gd name="connsiteY4" fmla="*/ -49 h 120371"/>
                <a:gd name="connsiteX5" fmla="*/ -51 w 84867"/>
                <a:gd name="connsiteY5" fmla="*/ 76332 h 120371"/>
                <a:gd name="connsiteX6" fmla="*/ 24603 w 84867"/>
                <a:gd name="connsiteY6" fmla="*/ 113462 h 120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4867" h="120371">
                  <a:moveTo>
                    <a:pt x="24603" y="113462"/>
                  </a:moveTo>
                  <a:cubicBezTo>
                    <a:pt x="31520" y="123349"/>
                    <a:pt x="34660" y="123009"/>
                    <a:pt x="45480" y="109430"/>
                  </a:cubicBezTo>
                  <a:cubicBezTo>
                    <a:pt x="50809" y="100442"/>
                    <a:pt x="55393" y="91033"/>
                    <a:pt x="59187" y="81297"/>
                  </a:cubicBezTo>
                  <a:cubicBezTo>
                    <a:pt x="65849" y="64323"/>
                    <a:pt x="69753" y="46416"/>
                    <a:pt x="74845" y="28933"/>
                  </a:cubicBezTo>
                  <a:cubicBezTo>
                    <a:pt x="77730" y="19089"/>
                    <a:pt x="80998" y="9371"/>
                    <a:pt x="84817" y="-49"/>
                  </a:cubicBezTo>
                  <a:lnTo>
                    <a:pt x="-51" y="76332"/>
                  </a:lnTo>
                  <a:cubicBezTo>
                    <a:pt x="8138" y="88638"/>
                    <a:pt x="16074" y="101368"/>
                    <a:pt x="24603" y="113462"/>
                  </a:cubicBezTo>
                  <a:close/>
                </a:path>
              </a:pathLst>
            </a:custGeom>
            <a:solidFill>
              <a:srgbClr val="000000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" name="Freihandform: Form 176">
              <a:extLst>
                <a:ext uri="{FF2B5EF4-FFF2-40B4-BE49-F238E27FC236}">
                  <a16:creationId xmlns:a16="http://schemas.microsoft.com/office/drawing/2014/main" id="{C1040FE6-4097-4294-9901-9D6DAA334655}"/>
                </a:ext>
              </a:extLst>
            </p:cNvPr>
            <p:cNvSpPr/>
            <p:nvPr/>
          </p:nvSpPr>
          <p:spPr>
            <a:xfrm>
              <a:off x="11066342" y="2652585"/>
              <a:ext cx="319704" cy="270520"/>
            </a:xfrm>
            <a:custGeom>
              <a:avLst/>
              <a:gdLst>
                <a:gd name="connsiteX0" fmla="*/ 318501 w 319704"/>
                <a:gd name="connsiteY0" fmla="*/ 1186 h 270520"/>
                <a:gd name="connsiteX1" fmla="*/ 312348 w 319704"/>
                <a:gd name="connsiteY1" fmla="*/ 422 h 270520"/>
                <a:gd name="connsiteX2" fmla="*/ 308444 w 319704"/>
                <a:gd name="connsiteY2" fmla="*/ 2544 h 270520"/>
                <a:gd name="connsiteX3" fmla="*/ 294780 w 319704"/>
                <a:gd name="connsiteY3" fmla="*/ 14807 h 270520"/>
                <a:gd name="connsiteX4" fmla="*/ 239107 w 319704"/>
                <a:gd name="connsiteY4" fmla="*/ 81853 h 270520"/>
                <a:gd name="connsiteX5" fmla="*/ 224424 w 319704"/>
                <a:gd name="connsiteY5" fmla="*/ 86096 h 270520"/>
                <a:gd name="connsiteX6" fmla="*/ 74505 w 319704"/>
                <a:gd name="connsiteY6" fmla="*/ 36024 h 270520"/>
                <a:gd name="connsiteX7" fmla="*/ 42552 w 319704"/>
                <a:gd name="connsiteY7" fmla="*/ 24864 h 270520"/>
                <a:gd name="connsiteX8" fmla="*/ 34575 w 319704"/>
                <a:gd name="connsiteY8" fmla="*/ 24143 h 270520"/>
                <a:gd name="connsiteX9" fmla="*/ 8436 w 319704"/>
                <a:gd name="connsiteY9" fmla="*/ 33648 h 270520"/>
                <a:gd name="connsiteX10" fmla="*/ -51 w 319704"/>
                <a:gd name="connsiteY10" fmla="*/ 37255 h 270520"/>
                <a:gd name="connsiteX11" fmla="*/ 3938 w 319704"/>
                <a:gd name="connsiteY11" fmla="*/ 39886 h 270520"/>
                <a:gd name="connsiteX12" fmla="*/ 32326 w 319704"/>
                <a:gd name="connsiteY12" fmla="*/ 57156 h 270520"/>
                <a:gd name="connsiteX13" fmla="*/ 110447 w 319704"/>
                <a:gd name="connsiteY13" fmla="*/ 104555 h 270520"/>
                <a:gd name="connsiteX14" fmla="*/ 150123 w 319704"/>
                <a:gd name="connsiteY14" fmla="*/ 128445 h 270520"/>
                <a:gd name="connsiteX15" fmla="*/ 180166 w 319704"/>
                <a:gd name="connsiteY15" fmla="*/ 146692 h 270520"/>
                <a:gd name="connsiteX16" fmla="*/ 182288 w 319704"/>
                <a:gd name="connsiteY16" fmla="*/ 153057 h 270520"/>
                <a:gd name="connsiteX17" fmla="*/ 181566 w 319704"/>
                <a:gd name="connsiteY17" fmla="*/ 154160 h 270520"/>
                <a:gd name="connsiteX18" fmla="*/ 161537 w 319704"/>
                <a:gd name="connsiteY18" fmla="*/ 182506 h 270520"/>
                <a:gd name="connsiteX19" fmla="*/ 127972 w 319704"/>
                <a:gd name="connsiteY19" fmla="*/ 226001 h 270520"/>
                <a:gd name="connsiteX20" fmla="*/ 73784 w 319704"/>
                <a:gd name="connsiteY20" fmla="*/ 214289 h 270520"/>
                <a:gd name="connsiteX21" fmla="*/ 67546 w 319704"/>
                <a:gd name="connsiteY21" fmla="*/ 214841 h 270520"/>
                <a:gd name="connsiteX22" fmla="*/ 48536 w 319704"/>
                <a:gd name="connsiteY22" fmla="*/ 226510 h 270520"/>
                <a:gd name="connsiteX23" fmla="*/ 106925 w 319704"/>
                <a:gd name="connsiteY23" fmla="*/ 253498 h 270520"/>
                <a:gd name="connsiteX24" fmla="*/ 144182 w 319704"/>
                <a:gd name="connsiteY24" fmla="*/ 270472 h 270520"/>
                <a:gd name="connsiteX25" fmla="*/ 162853 w 319704"/>
                <a:gd name="connsiteY25" fmla="*/ 245605 h 270520"/>
                <a:gd name="connsiteX26" fmla="*/ 202571 w 319704"/>
                <a:gd name="connsiteY26" fmla="*/ 187344 h 270520"/>
                <a:gd name="connsiteX27" fmla="*/ 249248 w 319704"/>
                <a:gd name="connsiteY27" fmla="*/ 118431 h 270520"/>
                <a:gd name="connsiteX28" fmla="*/ 301994 w 319704"/>
                <a:gd name="connsiteY28" fmla="*/ 42050 h 270520"/>
                <a:gd name="connsiteX29" fmla="*/ 309547 w 319704"/>
                <a:gd name="connsiteY29" fmla="*/ 30550 h 270520"/>
                <a:gd name="connsiteX30" fmla="*/ 319222 w 319704"/>
                <a:gd name="connsiteY30" fmla="*/ 9036 h 270520"/>
                <a:gd name="connsiteX31" fmla="*/ 318501 w 319704"/>
                <a:gd name="connsiteY31" fmla="*/ 1186 h 270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19704" h="270520">
                  <a:moveTo>
                    <a:pt x="318501" y="1186"/>
                  </a:moveTo>
                  <a:cubicBezTo>
                    <a:pt x="317737" y="-172"/>
                    <a:pt x="315488" y="-384"/>
                    <a:pt x="312348" y="422"/>
                  </a:cubicBezTo>
                  <a:cubicBezTo>
                    <a:pt x="310946" y="926"/>
                    <a:pt x="309629" y="1641"/>
                    <a:pt x="308444" y="2544"/>
                  </a:cubicBezTo>
                  <a:cubicBezTo>
                    <a:pt x="303334" y="5967"/>
                    <a:pt x="298734" y="10095"/>
                    <a:pt x="294780" y="14807"/>
                  </a:cubicBezTo>
                  <a:cubicBezTo>
                    <a:pt x="276024" y="37000"/>
                    <a:pt x="257565" y="59448"/>
                    <a:pt x="239107" y="81853"/>
                  </a:cubicBezTo>
                  <a:cubicBezTo>
                    <a:pt x="233845" y="88218"/>
                    <a:pt x="232190" y="88770"/>
                    <a:pt x="224424" y="86096"/>
                  </a:cubicBezTo>
                  <a:cubicBezTo>
                    <a:pt x="219332" y="84229"/>
                    <a:pt x="87787" y="40480"/>
                    <a:pt x="74505" y="36024"/>
                  </a:cubicBezTo>
                  <a:cubicBezTo>
                    <a:pt x="63812" y="32417"/>
                    <a:pt x="53288" y="28428"/>
                    <a:pt x="42552" y="24864"/>
                  </a:cubicBezTo>
                  <a:cubicBezTo>
                    <a:pt x="40020" y="23854"/>
                    <a:pt x="37248" y="23604"/>
                    <a:pt x="34575" y="24143"/>
                  </a:cubicBezTo>
                  <a:cubicBezTo>
                    <a:pt x="25579" y="26943"/>
                    <a:pt x="17601" y="29998"/>
                    <a:pt x="8436" y="33648"/>
                  </a:cubicBezTo>
                  <a:cubicBezTo>
                    <a:pt x="6017" y="34624"/>
                    <a:pt x="3004" y="35982"/>
                    <a:pt x="-51" y="37255"/>
                  </a:cubicBezTo>
                  <a:cubicBezTo>
                    <a:pt x="2283" y="38825"/>
                    <a:pt x="2707" y="39164"/>
                    <a:pt x="3938" y="39886"/>
                  </a:cubicBezTo>
                  <a:lnTo>
                    <a:pt x="32326" y="57156"/>
                  </a:lnTo>
                  <a:lnTo>
                    <a:pt x="110447" y="104555"/>
                  </a:lnTo>
                  <a:lnTo>
                    <a:pt x="150123" y="128445"/>
                  </a:lnTo>
                  <a:cubicBezTo>
                    <a:pt x="160137" y="134513"/>
                    <a:pt x="170194" y="140539"/>
                    <a:pt x="180166" y="146692"/>
                  </a:cubicBezTo>
                  <a:cubicBezTo>
                    <a:pt x="183688" y="148856"/>
                    <a:pt x="184155" y="150087"/>
                    <a:pt x="182288" y="153057"/>
                  </a:cubicBezTo>
                  <a:lnTo>
                    <a:pt x="181566" y="154160"/>
                  </a:lnTo>
                  <a:cubicBezTo>
                    <a:pt x="174862" y="163581"/>
                    <a:pt x="161537" y="182506"/>
                    <a:pt x="161537" y="182506"/>
                  </a:cubicBezTo>
                  <a:lnTo>
                    <a:pt x="127972" y="226001"/>
                  </a:lnTo>
                  <a:cubicBezTo>
                    <a:pt x="109895" y="222097"/>
                    <a:pt x="91861" y="218108"/>
                    <a:pt x="73784" y="214289"/>
                  </a:cubicBezTo>
                  <a:cubicBezTo>
                    <a:pt x="71701" y="213780"/>
                    <a:pt x="69507" y="213974"/>
                    <a:pt x="67546" y="214841"/>
                  </a:cubicBezTo>
                  <a:cubicBezTo>
                    <a:pt x="61308" y="218363"/>
                    <a:pt x="55325" y="222309"/>
                    <a:pt x="48536" y="226510"/>
                  </a:cubicBezTo>
                  <a:cubicBezTo>
                    <a:pt x="49936" y="227656"/>
                    <a:pt x="80658" y="241617"/>
                    <a:pt x="106925" y="253498"/>
                  </a:cubicBezTo>
                  <a:cubicBezTo>
                    <a:pt x="126826" y="262494"/>
                    <a:pt x="144182" y="270472"/>
                    <a:pt x="144182" y="270472"/>
                  </a:cubicBezTo>
                  <a:cubicBezTo>
                    <a:pt x="144182" y="270472"/>
                    <a:pt x="162259" y="246454"/>
                    <a:pt x="162853" y="245605"/>
                  </a:cubicBezTo>
                  <a:cubicBezTo>
                    <a:pt x="176177" y="226256"/>
                    <a:pt x="189374" y="206778"/>
                    <a:pt x="202571" y="187344"/>
                  </a:cubicBezTo>
                  <a:cubicBezTo>
                    <a:pt x="218187" y="164387"/>
                    <a:pt x="233675" y="141345"/>
                    <a:pt x="249248" y="118431"/>
                  </a:cubicBezTo>
                  <a:cubicBezTo>
                    <a:pt x="266731" y="92970"/>
                    <a:pt x="284511" y="67510"/>
                    <a:pt x="301994" y="42050"/>
                  </a:cubicBezTo>
                  <a:cubicBezTo>
                    <a:pt x="304582" y="38273"/>
                    <a:pt x="307128" y="34454"/>
                    <a:pt x="309547" y="30550"/>
                  </a:cubicBezTo>
                  <a:cubicBezTo>
                    <a:pt x="313726" y="23847"/>
                    <a:pt x="316980" y="16610"/>
                    <a:pt x="319222" y="9036"/>
                  </a:cubicBezTo>
                  <a:cubicBezTo>
                    <a:pt x="319986" y="6422"/>
                    <a:pt x="319728" y="3616"/>
                    <a:pt x="318501" y="1186"/>
                  </a:cubicBezTo>
                  <a:close/>
                </a:path>
              </a:pathLst>
            </a:custGeom>
            <a:solidFill>
              <a:srgbClr val="000000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" name="Freihandform: Form 177">
              <a:extLst>
                <a:ext uri="{FF2B5EF4-FFF2-40B4-BE49-F238E27FC236}">
                  <a16:creationId xmlns:a16="http://schemas.microsoft.com/office/drawing/2014/main" id="{AD0CCA9A-7EEE-49AA-808D-A083250EB3BC}"/>
                </a:ext>
              </a:extLst>
            </p:cNvPr>
            <p:cNvSpPr/>
            <p:nvPr/>
          </p:nvSpPr>
          <p:spPr>
            <a:xfrm>
              <a:off x="11005238" y="2923191"/>
              <a:ext cx="197954" cy="242085"/>
            </a:xfrm>
            <a:custGeom>
              <a:avLst/>
              <a:gdLst>
                <a:gd name="connsiteX0" fmla="*/ 193999 w 197954"/>
                <a:gd name="connsiteY0" fmla="*/ 18452 h 242085"/>
                <a:gd name="connsiteX1" fmla="*/ 197903 w 197954"/>
                <a:gd name="connsiteY1" fmla="*/ 12681 h 242085"/>
                <a:gd name="connsiteX2" fmla="*/ 169685 w 197954"/>
                <a:gd name="connsiteY2" fmla="*/ -49 h 242085"/>
                <a:gd name="connsiteX3" fmla="*/ -51 w 197954"/>
                <a:gd name="connsiteY3" fmla="*/ 218825 h 242085"/>
                <a:gd name="connsiteX4" fmla="*/ 42383 w 197954"/>
                <a:gd name="connsiteY4" fmla="*/ 242037 h 242085"/>
                <a:gd name="connsiteX5" fmla="*/ 192854 w 197954"/>
                <a:gd name="connsiteY5" fmla="*/ 19937 h 242085"/>
                <a:gd name="connsiteX6" fmla="*/ 193999 w 197954"/>
                <a:gd name="connsiteY6" fmla="*/ 18452 h 242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7954" h="242085">
                  <a:moveTo>
                    <a:pt x="193999" y="18452"/>
                  </a:moveTo>
                  <a:lnTo>
                    <a:pt x="197903" y="12681"/>
                  </a:lnTo>
                  <a:lnTo>
                    <a:pt x="169685" y="-49"/>
                  </a:lnTo>
                  <a:lnTo>
                    <a:pt x="-51" y="218825"/>
                  </a:lnTo>
                  <a:cubicBezTo>
                    <a:pt x="13497" y="227607"/>
                    <a:pt x="27681" y="235366"/>
                    <a:pt x="42383" y="242037"/>
                  </a:cubicBezTo>
                  <a:cubicBezTo>
                    <a:pt x="116939" y="131708"/>
                    <a:pt x="186191" y="29655"/>
                    <a:pt x="192854" y="19937"/>
                  </a:cubicBezTo>
                  <a:cubicBezTo>
                    <a:pt x="193210" y="19423"/>
                    <a:pt x="193593" y="18928"/>
                    <a:pt x="193999" y="18452"/>
                  </a:cubicBezTo>
                  <a:close/>
                </a:path>
              </a:pathLst>
            </a:custGeom>
            <a:solidFill>
              <a:srgbClr val="000000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" name="Freihandform: Form 178">
              <a:extLst>
                <a:ext uri="{FF2B5EF4-FFF2-40B4-BE49-F238E27FC236}">
                  <a16:creationId xmlns:a16="http://schemas.microsoft.com/office/drawing/2014/main" id="{A9947D86-C2C9-46EA-9B9F-60D82F2CA6BD}"/>
                </a:ext>
              </a:extLst>
            </p:cNvPr>
            <p:cNvSpPr/>
            <p:nvPr/>
          </p:nvSpPr>
          <p:spPr>
            <a:xfrm>
              <a:off x="10933185" y="2771873"/>
              <a:ext cx="160151" cy="189848"/>
            </a:xfrm>
            <a:custGeom>
              <a:avLst/>
              <a:gdLst>
                <a:gd name="connsiteX0" fmla="*/ 154154 w 160151"/>
                <a:gd name="connsiteY0" fmla="*/ 289 h 189848"/>
                <a:gd name="connsiteX1" fmla="*/ 131070 w 160151"/>
                <a:gd name="connsiteY1" fmla="*/ 7461 h 189848"/>
                <a:gd name="connsiteX2" fmla="*/ 86429 w 160151"/>
                <a:gd name="connsiteY2" fmla="*/ 34873 h 189848"/>
                <a:gd name="connsiteX3" fmla="*/ 82186 w 160151"/>
                <a:gd name="connsiteY3" fmla="*/ 39116 h 189848"/>
                <a:gd name="connsiteX4" fmla="*/ 19850 w 160151"/>
                <a:gd name="connsiteY4" fmla="*/ 142189 h 189848"/>
                <a:gd name="connsiteX5" fmla="*/ -51 w 160151"/>
                <a:gd name="connsiteY5" fmla="*/ 174438 h 189848"/>
                <a:gd name="connsiteX6" fmla="*/ 19256 w 160151"/>
                <a:gd name="connsiteY6" fmla="*/ 189799 h 189848"/>
                <a:gd name="connsiteX7" fmla="*/ 44123 w 160151"/>
                <a:gd name="connsiteY7" fmla="*/ 165357 h 189848"/>
                <a:gd name="connsiteX8" fmla="*/ 136968 w 160151"/>
                <a:gd name="connsiteY8" fmla="*/ 81805 h 189848"/>
                <a:gd name="connsiteX9" fmla="*/ 160095 w 160151"/>
                <a:gd name="connsiteY9" fmla="*/ 5424 h 189848"/>
                <a:gd name="connsiteX10" fmla="*/ 154154 w 160151"/>
                <a:gd name="connsiteY10" fmla="*/ 289 h 189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0151" h="189848">
                  <a:moveTo>
                    <a:pt x="154154" y="289"/>
                  </a:moveTo>
                  <a:cubicBezTo>
                    <a:pt x="146310" y="2172"/>
                    <a:pt x="138599" y="4568"/>
                    <a:pt x="131070" y="7461"/>
                  </a:cubicBezTo>
                  <a:cubicBezTo>
                    <a:pt x="114545" y="13600"/>
                    <a:pt x="99380" y="22912"/>
                    <a:pt x="86429" y="34873"/>
                  </a:cubicBezTo>
                  <a:lnTo>
                    <a:pt x="82186" y="39116"/>
                  </a:lnTo>
                  <a:lnTo>
                    <a:pt x="19850" y="142189"/>
                  </a:lnTo>
                  <a:lnTo>
                    <a:pt x="-51" y="174438"/>
                  </a:lnTo>
                  <a:cubicBezTo>
                    <a:pt x="2703" y="182980"/>
                    <a:pt x="10314" y="189036"/>
                    <a:pt x="19256" y="189799"/>
                  </a:cubicBezTo>
                  <a:lnTo>
                    <a:pt x="44123" y="165357"/>
                  </a:lnTo>
                  <a:lnTo>
                    <a:pt x="136968" y="81805"/>
                  </a:lnTo>
                  <a:cubicBezTo>
                    <a:pt x="150709" y="58576"/>
                    <a:pt x="158643" y="32374"/>
                    <a:pt x="160095" y="5424"/>
                  </a:cubicBezTo>
                  <a:cubicBezTo>
                    <a:pt x="160179" y="1096"/>
                    <a:pt x="159288" y="-899"/>
                    <a:pt x="154154" y="289"/>
                  </a:cubicBezTo>
                  <a:close/>
                </a:path>
              </a:pathLst>
            </a:custGeom>
            <a:solidFill>
              <a:srgbClr val="000000"/>
            </a:solidFill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84" name="Freihandform: Form 183">
            <a:extLst>
              <a:ext uri="{FF2B5EF4-FFF2-40B4-BE49-F238E27FC236}">
                <a16:creationId xmlns:a16="http://schemas.microsoft.com/office/drawing/2014/main" id="{EF9DB659-845D-4511-99E8-E4DD41BF2082}"/>
              </a:ext>
            </a:extLst>
          </p:cNvPr>
          <p:cNvSpPr/>
          <p:nvPr/>
        </p:nvSpPr>
        <p:spPr>
          <a:xfrm>
            <a:off x="607757" y="4963667"/>
            <a:ext cx="828109" cy="828109"/>
          </a:xfrm>
          <a:custGeom>
            <a:avLst/>
            <a:gdLst>
              <a:gd name="connsiteX0" fmla="*/ 828109 w 828109"/>
              <a:gd name="connsiteY0" fmla="*/ 414055 h 828109"/>
              <a:gd name="connsiteX1" fmla="*/ 414055 w 828109"/>
              <a:gd name="connsiteY1" fmla="*/ 828109 h 828109"/>
              <a:gd name="connsiteX2" fmla="*/ 0 w 828109"/>
              <a:gd name="connsiteY2" fmla="*/ 414055 h 828109"/>
              <a:gd name="connsiteX3" fmla="*/ 414055 w 828109"/>
              <a:gd name="connsiteY3" fmla="*/ 0 h 828109"/>
              <a:gd name="connsiteX4" fmla="*/ 828109 w 828109"/>
              <a:gd name="connsiteY4" fmla="*/ 414055 h 8281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8109" h="828109">
                <a:moveTo>
                  <a:pt x="828109" y="414055"/>
                </a:moveTo>
                <a:cubicBezTo>
                  <a:pt x="828109" y="642731"/>
                  <a:pt x="642731" y="828109"/>
                  <a:pt x="414055" y="828109"/>
                </a:cubicBezTo>
                <a:cubicBezTo>
                  <a:pt x="185379" y="828109"/>
                  <a:pt x="0" y="642731"/>
                  <a:pt x="0" y="414055"/>
                </a:cubicBezTo>
                <a:cubicBezTo>
                  <a:pt x="0" y="185379"/>
                  <a:pt x="185379" y="0"/>
                  <a:pt x="414055" y="0"/>
                </a:cubicBezTo>
                <a:cubicBezTo>
                  <a:pt x="642731" y="0"/>
                  <a:pt x="828109" y="185379"/>
                  <a:pt x="828109" y="414055"/>
                </a:cubicBezTo>
                <a:close/>
              </a:path>
            </a:pathLst>
          </a:custGeom>
          <a:solidFill>
            <a:srgbClr val="B5B9BC"/>
          </a:solidFill>
          <a:ln w="3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85" name="Freihandform: Form 184">
            <a:extLst>
              <a:ext uri="{FF2B5EF4-FFF2-40B4-BE49-F238E27FC236}">
                <a16:creationId xmlns:a16="http://schemas.microsoft.com/office/drawing/2014/main" id="{76834726-F151-4EF6-9D4D-F142D794B1CB}"/>
              </a:ext>
            </a:extLst>
          </p:cNvPr>
          <p:cNvSpPr/>
          <p:nvPr/>
        </p:nvSpPr>
        <p:spPr>
          <a:xfrm>
            <a:off x="1876863" y="4963667"/>
            <a:ext cx="828109" cy="828109"/>
          </a:xfrm>
          <a:custGeom>
            <a:avLst/>
            <a:gdLst>
              <a:gd name="connsiteX0" fmla="*/ 828109 w 828109"/>
              <a:gd name="connsiteY0" fmla="*/ 414055 h 828109"/>
              <a:gd name="connsiteX1" fmla="*/ 414055 w 828109"/>
              <a:gd name="connsiteY1" fmla="*/ 828109 h 828109"/>
              <a:gd name="connsiteX2" fmla="*/ 0 w 828109"/>
              <a:gd name="connsiteY2" fmla="*/ 414055 h 828109"/>
              <a:gd name="connsiteX3" fmla="*/ 414055 w 828109"/>
              <a:gd name="connsiteY3" fmla="*/ 0 h 828109"/>
              <a:gd name="connsiteX4" fmla="*/ 828109 w 828109"/>
              <a:gd name="connsiteY4" fmla="*/ 414055 h 8281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8109" h="828109">
                <a:moveTo>
                  <a:pt x="828109" y="414055"/>
                </a:moveTo>
                <a:cubicBezTo>
                  <a:pt x="828109" y="642731"/>
                  <a:pt x="642731" y="828109"/>
                  <a:pt x="414055" y="828109"/>
                </a:cubicBezTo>
                <a:cubicBezTo>
                  <a:pt x="185379" y="828109"/>
                  <a:pt x="0" y="642731"/>
                  <a:pt x="0" y="414055"/>
                </a:cubicBezTo>
                <a:cubicBezTo>
                  <a:pt x="0" y="185379"/>
                  <a:pt x="185379" y="0"/>
                  <a:pt x="414055" y="0"/>
                </a:cubicBezTo>
                <a:cubicBezTo>
                  <a:pt x="642731" y="0"/>
                  <a:pt x="828109" y="185379"/>
                  <a:pt x="828109" y="414055"/>
                </a:cubicBezTo>
                <a:close/>
              </a:path>
            </a:pathLst>
          </a:custGeom>
          <a:solidFill>
            <a:srgbClr val="B5B9BC"/>
          </a:solidFill>
          <a:ln w="3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86" name="Freihandform: Form 185">
            <a:extLst>
              <a:ext uri="{FF2B5EF4-FFF2-40B4-BE49-F238E27FC236}">
                <a16:creationId xmlns:a16="http://schemas.microsoft.com/office/drawing/2014/main" id="{E5467336-AFFC-45E7-A6E6-3C983BE88BFA}"/>
              </a:ext>
            </a:extLst>
          </p:cNvPr>
          <p:cNvSpPr/>
          <p:nvPr/>
        </p:nvSpPr>
        <p:spPr>
          <a:xfrm>
            <a:off x="5684181" y="4963667"/>
            <a:ext cx="828109" cy="828109"/>
          </a:xfrm>
          <a:custGeom>
            <a:avLst/>
            <a:gdLst>
              <a:gd name="connsiteX0" fmla="*/ 828109 w 828109"/>
              <a:gd name="connsiteY0" fmla="*/ 414055 h 828109"/>
              <a:gd name="connsiteX1" fmla="*/ 414055 w 828109"/>
              <a:gd name="connsiteY1" fmla="*/ 828109 h 828109"/>
              <a:gd name="connsiteX2" fmla="*/ 0 w 828109"/>
              <a:gd name="connsiteY2" fmla="*/ 414055 h 828109"/>
              <a:gd name="connsiteX3" fmla="*/ 414055 w 828109"/>
              <a:gd name="connsiteY3" fmla="*/ 0 h 828109"/>
              <a:gd name="connsiteX4" fmla="*/ 828109 w 828109"/>
              <a:gd name="connsiteY4" fmla="*/ 414055 h 8281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8109" h="828109">
                <a:moveTo>
                  <a:pt x="828109" y="414055"/>
                </a:moveTo>
                <a:cubicBezTo>
                  <a:pt x="828109" y="642731"/>
                  <a:pt x="642731" y="828109"/>
                  <a:pt x="414055" y="828109"/>
                </a:cubicBezTo>
                <a:cubicBezTo>
                  <a:pt x="185379" y="828109"/>
                  <a:pt x="0" y="642731"/>
                  <a:pt x="0" y="414055"/>
                </a:cubicBezTo>
                <a:cubicBezTo>
                  <a:pt x="0" y="185379"/>
                  <a:pt x="185379" y="0"/>
                  <a:pt x="414055" y="0"/>
                </a:cubicBezTo>
                <a:cubicBezTo>
                  <a:pt x="642731" y="0"/>
                  <a:pt x="828109" y="185379"/>
                  <a:pt x="828109" y="414055"/>
                </a:cubicBezTo>
                <a:close/>
              </a:path>
            </a:pathLst>
          </a:custGeom>
          <a:solidFill>
            <a:srgbClr val="B5B9BC"/>
          </a:solidFill>
          <a:ln w="3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87" name="Freihandform: Form 186">
            <a:extLst>
              <a:ext uri="{FF2B5EF4-FFF2-40B4-BE49-F238E27FC236}">
                <a16:creationId xmlns:a16="http://schemas.microsoft.com/office/drawing/2014/main" id="{90EAAECF-7154-46CE-8579-B6E5DAAAAED4}"/>
              </a:ext>
            </a:extLst>
          </p:cNvPr>
          <p:cNvSpPr/>
          <p:nvPr/>
        </p:nvSpPr>
        <p:spPr>
          <a:xfrm>
            <a:off x="9491499" y="4963667"/>
            <a:ext cx="828109" cy="828109"/>
          </a:xfrm>
          <a:custGeom>
            <a:avLst/>
            <a:gdLst>
              <a:gd name="connsiteX0" fmla="*/ 828109 w 828109"/>
              <a:gd name="connsiteY0" fmla="*/ 414055 h 828109"/>
              <a:gd name="connsiteX1" fmla="*/ 414055 w 828109"/>
              <a:gd name="connsiteY1" fmla="*/ 828109 h 828109"/>
              <a:gd name="connsiteX2" fmla="*/ 0 w 828109"/>
              <a:gd name="connsiteY2" fmla="*/ 414055 h 828109"/>
              <a:gd name="connsiteX3" fmla="*/ 414055 w 828109"/>
              <a:gd name="connsiteY3" fmla="*/ 0 h 828109"/>
              <a:gd name="connsiteX4" fmla="*/ 828109 w 828109"/>
              <a:gd name="connsiteY4" fmla="*/ 414055 h 8281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8109" h="828109">
                <a:moveTo>
                  <a:pt x="828109" y="414055"/>
                </a:moveTo>
                <a:cubicBezTo>
                  <a:pt x="828109" y="642731"/>
                  <a:pt x="642731" y="828109"/>
                  <a:pt x="414055" y="828109"/>
                </a:cubicBezTo>
                <a:cubicBezTo>
                  <a:pt x="185379" y="828109"/>
                  <a:pt x="0" y="642731"/>
                  <a:pt x="0" y="414055"/>
                </a:cubicBezTo>
                <a:cubicBezTo>
                  <a:pt x="0" y="185379"/>
                  <a:pt x="185379" y="0"/>
                  <a:pt x="414055" y="0"/>
                </a:cubicBezTo>
                <a:cubicBezTo>
                  <a:pt x="642731" y="0"/>
                  <a:pt x="828109" y="185379"/>
                  <a:pt x="828109" y="414055"/>
                </a:cubicBezTo>
                <a:close/>
              </a:path>
            </a:pathLst>
          </a:custGeom>
          <a:solidFill>
            <a:srgbClr val="B5B9BC"/>
          </a:solidFill>
          <a:ln w="3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88" name="Freihandform: Form 187">
            <a:extLst>
              <a:ext uri="{FF2B5EF4-FFF2-40B4-BE49-F238E27FC236}">
                <a16:creationId xmlns:a16="http://schemas.microsoft.com/office/drawing/2014/main" id="{2B2AB1F5-BF27-49D2-8FB3-B9B975AEF910}"/>
              </a:ext>
            </a:extLst>
          </p:cNvPr>
          <p:cNvSpPr/>
          <p:nvPr/>
        </p:nvSpPr>
        <p:spPr>
          <a:xfrm>
            <a:off x="4415075" y="4963667"/>
            <a:ext cx="828109" cy="828109"/>
          </a:xfrm>
          <a:custGeom>
            <a:avLst/>
            <a:gdLst>
              <a:gd name="connsiteX0" fmla="*/ 828109 w 828109"/>
              <a:gd name="connsiteY0" fmla="*/ 414055 h 828109"/>
              <a:gd name="connsiteX1" fmla="*/ 414055 w 828109"/>
              <a:gd name="connsiteY1" fmla="*/ 828109 h 828109"/>
              <a:gd name="connsiteX2" fmla="*/ 0 w 828109"/>
              <a:gd name="connsiteY2" fmla="*/ 414055 h 828109"/>
              <a:gd name="connsiteX3" fmla="*/ 414055 w 828109"/>
              <a:gd name="connsiteY3" fmla="*/ 0 h 828109"/>
              <a:gd name="connsiteX4" fmla="*/ 828109 w 828109"/>
              <a:gd name="connsiteY4" fmla="*/ 414055 h 8281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8109" h="828109">
                <a:moveTo>
                  <a:pt x="828109" y="414055"/>
                </a:moveTo>
                <a:cubicBezTo>
                  <a:pt x="828109" y="642731"/>
                  <a:pt x="642731" y="828109"/>
                  <a:pt x="414055" y="828109"/>
                </a:cubicBezTo>
                <a:cubicBezTo>
                  <a:pt x="185379" y="828109"/>
                  <a:pt x="0" y="642731"/>
                  <a:pt x="0" y="414055"/>
                </a:cubicBezTo>
                <a:cubicBezTo>
                  <a:pt x="0" y="185379"/>
                  <a:pt x="185379" y="0"/>
                  <a:pt x="414055" y="0"/>
                </a:cubicBezTo>
                <a:cubicBezTo>
                  <a:pt x="642731" y="0"/>
                  <a:pt x="828109" y="185379"/>
                  <a:pt x="828109" y="414055"/>
                </a:cubicBezTo>
                <a:close/>
              </a:path>
            </a:pathLst>
          </a:custGeom>
          <a:solidFill>
            <a:srgbClr val="B5B9BC"/>
          </a:solidFill>
          <a:ln w="3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89" name="Freihandform: Form 188">
            <a:extLst>
              <a:ext uri="{FF2B5EF4-FFF2-40B4-BE49-F238E27FC236}">
                <a16:creationId xmlns:a16="http://schemas.microsoft.com/office/drawing/2014/main" id="{2A9662DD-A364-4EA1-89F3-6FFAFC941446}"/>
              </a:ext>
            </a:extLst>
          </p:cNvPr>
          <p:cNvSpPr/>
          <p:nvPr/>
        </p:nvSpPr>
        <p:spPr>
          <a:xfrm>
            <a:off x="6953287" y="4963667"/>
            <a:ext cx="828109" cy="828109"/>
          </a:xfrm>
          <a:custGeom>
            <a:avLst/>
            <a:gdLst>
              <a:gd name="connsiteX0" fmla="*/ 828109 w 828109"/>
              <a:gd name="connsiteY0" fmla="*/ 414055 h 828109"/>
              <a:gd name="connsiteX1" fmla="*/ 414055 w 828109"/>
              <a:gd name="connsiteY1" fmla="*/ 828109 h 828109"/>
              <a:gd name="connsiteX2" fmla="*/ 0 w 828109"/>
              <a:gd name="connsiteY2" fmla="*/ 414055 h 828109"/>
              <a:gd name="connsiteX3" fmla="*/ 414055 w 828109"/>
              <a:gd name="connsiteY3" fmla="*/ 0 h 828109"/>
              <a:gd name="connsiteX4" fmla="*/ 828109 w 828109"/>
              <a:gd name="connsiteY4" fmla="*/ 414055 h 8281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8109" h="828109">
                <a:moveTo>
                  <a:pt x="828109" y="414055"/>
                </a:moveTo>
                <a:cubicBezTo>
                  <a:pt x="828109" y="642731"/>
                  <a:pt x="642731" y="828109"/>
                  <a:pt x="414055" y="828109"/>
                </a:cubicBezTo>
                <a:cubicBezTo>
                  <a:pt x="185379" y="828109"/>
                  <a:pt x="0" y="642731"/>
                  <a:pt x="0" y="414055"/>
                </a:cubicBezTo>
                <a:cubicBezTo>
                  <a:pt x="0" y="185379"/>
                  <a:pt x="185379" y="0"/>
                  <a:pt x="414055" y="0"/>
                </a:cubicBezTo>
                <a:cubicBezTo>
                  <a:pt x="642731" y="0"/>
                  <a:pt x="828109" y="185379"/>
                  <a:pt x="828109" y="414055"/>
                </a:cubicBezTo>
                <a:close/>
              </a:path>
            </a:pathLst>
          </a:custGeom>
          <a:solidFill>
            <a:srgbClr val="B5B9BC"/>
          </a:solidFill>
          <a:ln w="3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90" name="Freihandform: Form 189">
            <a:extLst>
              <a:ext uri="{FF2B5EF4-FFF2-40B4-BE49-F238E27FC236}">
                <a16:creationId xmlns:a16="http://schemas.microsoft.com/office/drawing/2014/main" id="{9BDC927D-1D84-42DA-B00C-45D38B215BF2}"/>
              </a:ext>
            </a:extLst>
          </p:cNvPr>
          <p:cNvSpPr/>
          <p:nvPr/>
        </p:nvSpPr>
        <p:spPr>
          <a:xfrm>
            <a:off x="3145969" y="4963667"/>
            <a:ext cx="828109" cy="828109"/>
          </a:xfrm>
          <a:custGeom>
            <a:avLst/>
            <a:gdLst>
              <a:gd name="connsiteX0" fmla="*/ 828109 w 828109"/>
              <a:gd name="connsiteY0" fmla="*/ 414055 h 828109"/>
              <a:gd name="connsiteX1" fmla="*/ 414055 w 828109"/>
              <a:gd name="connsiteY1" fmla="*/ 828109 h 828109"/>
              <a:gd name="connsiteX2" fmla="*/ 0 w 828109"/>
              <a:gd name="connsiteY2" fmla="*/ 414055 h 828109"/>
              <a:gd name="connsiteX3" fmla="*/ 414055 w 828109"/>
              <a:gd name="connsiteY3" fmla="*/ 0 h 828109"/>
              <a:gd name="connsiteX4" fmla="*/ 828109 w 828109"/>
              <a:gd name="connsiteY4" fmla="*/ 414055 h 8281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8109" h="828109">
                <a:moveTo>
                  <a:pt x="828109" y="414055"/>
                </a:moveTo>
                <a:cubicBezTo>
                  <a:pt x="828109" y="642731"/>
                  <a:pt x="642731" y="828109"/>
                  <a:pt x="414055" y="828109"/>
                </a:cubicBezTo>
                <a:cubicBezTo>
                  <a:pt x="185379" y="828109"/>
                  <a:pt x="0" y="642731"/>
                  <a:pt x="0" y="414055"/>
                </a:cubicBezTo>
                <a:cubicBezTo>
                  <a:pt x="0" y="185379"/>
                  <a:pt x="185379" y="0"/>
                  <a:pt x="414055" y="0"/>
                </a:cubicBezTo>
                <a:cubicBezTo>
                  <a:pt x="642731" y="0"/>
                  <a:pt x="828109" y="185379"/>
                  <a:pt x="828109" y="414055"/>
                </a:cubicBezTo>
                <a:close/>
              </a:path>
            </a:pathLst>
          </a:custGeom>
          <a:solidFill>
            <a:srgbClr val="B5B9BC"/>
          </a:solidFill>
          <a:ln w="3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91" name="Freihandform: Form 190">
            <a:extLst>
              <a:ext uri="{FF2B5EF4-FFF2-40B4-BE49-F238E27FC236}">
                <a16:creationId xmlns:a16="http://schemas.microsoft.com/office/drawing/2014/main" id="{6AD0FB7F-7AEA-467E-818E-000B9265D9CD}"/>
              </a:ext>
            </a:extLst>
          </p:cNvPr>
          <p:cNvSpPr/>
          <p:nvPr/>
        </p:nvSpPr>
        <p:spPr>
          <a:xfrm>
            <a:off x="8222393" y="4963667"/>
            <a:ext cx="828109" cy="828109"/>
          </a:xfrm>
          <a:custGeom>
            <a:avLst/>
            <a:gdLst>
              <a:gd name="connsiteX0" fmla="*/ 828109 w 828109"/>
              <a:gd name="connsiteY0" fmla="*/ 414055 h 828109"/>
              <a:gd name="connsiteX1" fmla="*/ 414055 w 828109"/>
              <a:gd name="connsiteY1" fmla="*/ 828109 h 828109"/>
              <a:gd name="connsiteX2" fmla="*/ 0 w 828109"/>
              <a:gd name="connsiteY2" fmla="*/ 414055 h 828109"/>
              <a:gd name="connsiteX3" fmla="*/ 414055 w 828109"/>
              <a:gd name="connsiteY3" fmla="*/ 0 h 828109"/>
              <a:gd name="connsiteX4" fmla="*/ 828109 w 828109"/>
              <a:gd name="connsiteY4" fmla="*/ 414055 h 8281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8109" h="828109">
                <a:moveTo>
                  <a:pt x="828109" y="414055"/>
                </a:moveTo>
                <a:cubicBezTo>
                  <a:pt x="828109" y="642731"/>
                  <a:pt x="642731" y="828109"/>
                  <a:pt x="414055" y="828109"/>
                </a:cubicBezTo>
                <a:cubicBezTo>
                  <a:pt x="185379" y="828109"/>
                  <a:pt x="0" y="642731"/>
                  <a:pt x="0" y="414055"/>
                </a:cubicBezTo>
                <a:cubicBezTo>
                  <a:pt x="0" y="185379"/>
                  <a:pt x="185379" y="0"/>
                  <a:pt x="414055" y="0"/>
                </a:cubicBezTo>
                <a:cubicBezTo>
                  <a:pt x="642731" y="0"/>
                  <a:pt x="828109" y="185379"/>
                  <a:pt x="828109" y="414055"/>
                </a:cubicBezTo>
                <a:close/>
              </a:path>
            </a:pathLst>
          </a:custGeom>
          <a:solidFill>
            <a:srgbClr val="B5B9BC"/>
          </a:solidFill>
          <a:ln w="3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92" name="Freihandform: Form 191">
            <a:extLst>
              <a:ext uri="{FF2B5EF4-FFF2-40B4-BE49-F238E27FC236}">
                <a16:creationId xmlns:a16="http://schemas.microsoft.com/office/drawing/2014/main" id="{843484D3-A222-4FD7-B8BF-850D914290D5}"/>
              </a:ext>
            </a:extLst>
          </p:cNvPr>
          <p:cNvSpPr/>
          <p:nvPr/>
        </p:nvSpPr>
        <p:spPr>
          <a:xfrm>
            <a:off x="10760603" y="4963667"/>
            <a:ext cx="828109" cy="828109"/>
          </a:xfrm>
          <a:custGeom>
            <a:avLst/>
            <a:gdLst>
              <a:gd name="connsiteX0" fmla="*/ 828109 w 828109"/>
              <a:gd name="connsiteY0" fmla="*/ 414055 h 828109"/>
              <a:gd name="connsiteX1" fmla="*/ 414055 w 828109"/>
              <a:gd name="connsiteY1" fmla="*/ 828109 h 828109"/>
              <a:gd name="connsiteX2" fmla="*/ 0 w 828109"/>
              <a:gd name="connsiteY2" fmla="*/ 414055 h 828109"/>
              <a:gd name="connsiteX3" fmla="*/ 414055 w 828109"/>
              <a:gd name="connsiteY3" fmla="*/ 0 h 828109"/>
              <a:gd name="connsiteX4" fmla="*/ 828109 w 828109"/>
              <a:gd name="connsiteY4" fmla="*/ 414055 h 8281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8109" h="828109">
                <a:moveTo>
                  <a:pt x="828109" y="414055"/>
                </a:moveTo>
                <a:cubicBezTo>
                  <a:pt x="828109" y="642731"/>
                  <a:pt x="642731" y="828109"/>
                  <a:pt x="414055" y="828109"/>
                </a:cubicBezTo>
                <a:cubicBezTo>
                  <a:pt x="185379" y="828109"/>
                  <a:pt x="0" y="642731"/>
                  <a:pt x="0" y="414055"/>
                </a:cubicBezTo>
                <a:cubicBezTo>
                  <a:pt x="0" y="185379"/>
                  <a:pt x="185379" y="0"/>
                  <a:pt x="414055" y="0"/>
                </a:cubicBezTo>
                <a:cubicBezTo>
                  <a:pt x="642731" y="0"/>
                  <a:pt x="828109" y="185379"/>
                  <a:pt x="828109" y="414055"/>
                </a:cubicBezTo>
                <a:close/>
              </a:path>
            </a:pathLst>
          </a:custGeom>
          <a:solidFill>
            <a:srgbClr val="B5B9BC"/>
          </a:solidFill>
          <a:ln w="326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193" name="Gruppieren 192">
            <a:extLst>
              <a:ext uri="{FF2B5EF4-FFF2-40B4-BE49-F238E27FC236}">
                <a16:creationId xmlns:a16="http://schemas.microsoft.com/office/drawing/2014/main" id="{84CE7087-6FD8-41FC-8ACC-7B5A44FE1C6D}"/>
              </a:ext>
            </a:extLst>
          </p:cNvPr>
          <p:cNvGrpSpPr/>
          <p:nvPr/>
        </p:nvGrpSpPr>
        <p:grpSpPr>
          <a:xfrm>
            <a:off x="643601" y="3717396"/>
            <a:ext cx="755851" cy="756064"/>
            <a:chOff x="643601" y="2500034"/>
            <a:chExt cx="755851" cy="756064"/>
          </a:xfrm>
          <a:solidFill>
            <a:schemeClr val="bg1"/>
          </a:solidFill>
        </p:grpSpPr>
        <p:grpSp>
          <p:nvGrpSpPr>
            <p:cNvPr id="194" name="Grafik 77">
              <a:extLst>
                <a:ext uri="{FF2B5EF4-FFF2-40B4-BE49-F238E27FC236}">
                  <a16:creationId xmlns:a16="http://schemas.microsoft.com/office/drawing/2014/main" id="{196658A3-AD7E-42A5-979A-8B3F6215DE70}"/>
                </a:ext>
              </a:extLst>
            </p:cNvPr>
            <p:cNvGrpSpPr/>
            <p:nvPr/>
          </p:nvGrpSpPr>
          <p:grpSpPr>
            <a:xfrm>
              <a:off x="679049" y="2617539"/>
              <a:ext cx="720403" cy="638559"/>
              <a:chOff x="679049" y="2617539"/>
              <a:chExt cx="720403" cy="638559"/>
            </a:xfrm>
            <a:grpFill/>
          </p:grpSpPr>
          <p:sp>
            <p:nvSpPr>
              <p:cNvPr id="203" name="Freihandform: Form 202">
                <a:extLst>
                  <a:ext uri="{FF2B5EF4-FFF2-40B4-BE49-F238E27FC236}">
                    <a16:creationId xmlns:a16="http://schemas.microsoft.com/office/drawing/2014/main" id="{8D3CC411-19DE-4203-AE91-848A1079FAC3}"/>
                  </a:ext>
                </a:extLst>
              </p:cNvPr>
              <p:cNvSpPr/>
              <p:nvPr/>
            </p:nvSpPr>
            <p:spPr>
              <a:xfrm>
                <a:off x="1274992" y="2617539"/>
                <a:ext cx="89068" cy="101502"/>
              </a:xfrm>
              <a:custGeom>
                <a:avLst/>
                <a:gdLst>
                  <a:gd name="connsiteX0" fmla="*/ 0 w 89068"/>
                  <a:gd name="connsiteY0" fmla="*/ 52788 h 101502"/>
                  <a:gd name="connsiteX1" fmla="*/ 89069 w 89068"/>
                  <a:gd name="connsiteY1" fmla="*/ 101502 h 101502"/>
                  <a:gd name="connsiteX2" fmla="*/ 86735 w 89068"/>
                  <a:gd name="connsiteY2" fmla="*/ 0 h 101502"/>
                  <a:gd name="connsiteX3" fmla="*/ 0 w 89068"/>
                  <a:gd name="connsiteY3" fmla="*/ 52788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0" y="52788"/>
                    </a:moveTo>
                    <a:lnTo>
                      <a:pt x="89069" y="101502"/>
                    </a:lnTo>
                    <a:lnTo>
                      <a:pt x="86735" y="0"/>
                    </a:lnTo>
                    <a:lnTo>
                      <a:pt x="0" y="52788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4" name="Freihandform: Form 203">
                <a:extLst>
                  <a:ext uri="{FF2B5EF4-FFF2-40B4-BE49-F238E27FC236}">
                    <a16:creationId xmlns:a16="http://schemas.microsoft.com/office/drawing/2014/main" id="{270EDC7D-22C1-4C9E-A5EC-298C022613AE}"/>
                  </a:ext>
                </a:extLst>
              </p:cNvPr>
              <p:cNvSpPr/>
              <p:nvPr/>
            </p:nvSpPr>
            <p:spPr>
              <a:xfrm>
                <a:off x="716009" y="2790415"/>
                <a:ext cx="683443" cy="465683"/>
              </a:xfrm>
              <a:custGeom>
                <a:avLst/>
                <a:gdLst>
                  <a:gd name="connsiteX0" fmla="*/ 672909 w 683443"/>
                  <a:gd name="connsiteY0" fmla="*/ -49 h 465683"/>
                  <a:gd name="connsiteX1" fmla="*/ 393646 w 683443"/>
                  <a:gd name="connsiteY1" fmla="*/ 455220 h 465683"/>
                  <a:gd name="connsiteX2" fmla="*/ -51 w 683443"/>
                  <a:gd name="connsiteY2" fmla="*/ 309719 h 465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43" h="465683">
                    <a:moveTo>
                      <a:pt x="672909" y="-49"/>
                    </a:moveTo>
                    <a:cubicBezTo>
                      <a:pt x="721512" y="202786"/>
                      <a:pt x="596481" y="406617"/>
                      <a:pt x="393646" y="455220"/>
                    </a:cubicBezTo>
                    <a:cubicBezTo>
                      <a:pt x="245063" y="490822"/>
                      <a:pt x="89667" y="433392"/>
                      <a:pt x="-51" y="309719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5" name="Freihandform: Form 204">
                <a:extLst>
                  <a:ext uri="{FF2B5EF4-FFF2-40B4-BE49-F238E27FC236}">
                    <a16:creationId xmlns:a16="http://schemas.microsoft.com/office/drawing/2014/main" id="{A611F2C1-1119-4EB6-B810-449360465CAA}"/>
                  </a:ext>
                </a:extLst>
              </p:cNvPr>
              <p:cNvSpPr/>
              <p:nvPr/>
            </p:nvSpPr>
            <p:spPr>
              <a:xfrm>
                <a:off x="679049" y="3037254"/>
                <a:ext cx="89068" cy="101502"/>
              </a:xfrm>
              <a:custGeom>
                <a:avLst/>
                <a:gdLst>
                  <a:gd name="connsiteX0" fmla="*/ 89069 w 89068"/>
                  <a:gd name="connsiteY0" fmla="*/ 48714 h 101502"/>
                  <a:gd name="connsiteX1" fmla="*/ 0 w 89068"/>
                  <a:gd name="connsiteY1" fmla="*/ 0 h 101502"/>
                  <a:gd name="connsiteX2" fmla="*/ 2334 w 89068"/>
                  <a:gd name="connsiteY2" fmla="*/ 101502 h 101502"/>
                  <a:gd name="connsiteX3" fmla="*/ 89069 w 89068"/>
                  <a:gd name="connsiteY3" fmla="*/ 48714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89069" y="48714"/>
                    </a:moveTo>
                    <a:lnTo>
                      <a:pt x="0" y="0"/>
                    </a:lnTo>
                    <a:lnTo>
                      <a:pt x="2334" y="101502"/>
                    </a:lnTo>
                    <a:lnTo>
                      <a:pt x="89069" y="48714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95" name="Freihandform: Form 194">
              <a:extLst>
                <a:ext uri="{FF2B5EF4-FFF2-40B4-BE49-F238E27FC236}">
                  <a16:creationId xmlns:a16="http://schemas.microsoft.com/office/drawing/2014/main" id="{38666B4C-1813-43F2-AD6D-68166DACB621}"/>
                </a:ext>
              </a:extLst>
            </p:cNvPr>
            <p:cNvSpPr/>
            <p:nvPr/>
          </p:nvSpPr>
          <p:spPr>
            <a:xfrm>
              <a:off x="643601" y="2500034"/>
              <a:ext cx="683499" cy="466270"/>
            </a:xfrm>
            <a:custGeom>
              <a:avLst/>
              <a:gdLst>
                <a:gd name="connsiteX0" fmla="*/ 10573 w 683499"/>
                <a:gd name="connsiteY0" fmla="*/ 466221 h 466270"/>
                <a:gd name="connsiteX1" fmla="*/ 289109 w 683499"/>
                <a:gd name="connsiteY1" fmla="*/ 10507 h 466270"/>
                <a:gd name="connsiteX2" fmla="*/ 683449 w 683499"/>
                <a:gd name="connsiteY2" fmla="*/ 155944 h 466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3499" h="466270">
                  <a:moveTo>
                    <a:pt x="10573" y="466221"/>
                  </a:moveTo>
                  <a:cubicBezTo>
                    <a:pt x="-38354" y="263463"/>
                    <a:pt x="86351" y="59433"/>
                    <a:pt x="289109" y="10507"/>
                  </a:cubicBezTo>
                  <a:cubicBezTo>
                    <a:pt x="437882" y="-25393"/>
                    <a:pt x="593612" y="32042"/>
                    <a:pt x="683449" y="155944"/>
                  </a:cubicBezTo>
                </a:path>
              </a:pathLst>
            </a:custGeom>
            <a:noFill/>
            <a:ln w="33594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6" name="Freihandform: Form 195">
              <a:extLst>
                <a:ext uri="{FF2B5EF4-FFF2-40B4-BE49-F238E27FC236}">
                  <a16:creationId xmlns:a16="http://schemas.microsoft.com/office/drawing/2014/main" id="{58FCEF09-7B08-416A-891B-C8DDAE8601F6}"/>
                </a:ext>
              </a:extLst>
            </p:cNvPr>
            <p:cNvSpPr/>
            <p:nvPr/>
          </p:nvSpPr>
          <p:spPr>
            <a:xfrm>
              <a:off x="1274992" y="2617539"/>
              <a:ext cx="89068" cy="101502"/>
            </a:xfrm>
            <a:custGeom>
              <a:avLst/>
              <a:gdLst>
                <a:gd name="connsiteX0" fmla="*/ 0 w 89068"/>
                <a:gd name="connsiteY0" fmla="*/ 52788 h 101502"/>
                <a:gd name="connsiteX1" fmla="*/ 89069 w 89068"/>
                <a:gd name="connsiteY1" fmla="*/ 101502 h 101502"/>
                <a:gd name="connsiteX2" fmla="*/ 86735 w 89068"/>
                <a:gd name="connsiteY2" fmla="*/ 0 h 101502"/>
                <a:gd name="connsiteX3" fmla="*/ 0 w 89068"/>
                <a:gd name="connsiteY3" fmla="*/ 52788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0" y="52788"/>
                  </a:moveTo>
                  <a:lnTo>
                    <a:pt x="89069" y="101502"/>
                  </a:lnTo>
                  <a:lnTo>
                    <a:pt x="86735" y="0"/>
                  </a:lnTo>
                  <a:lnTo>
                    <a:pt x="0" y="52788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7" name="Freihandform: Form 196">
              <a:extLst>
                <a:ext uri="{FF2B5EF4-FFF2-40B4-BE49-F238E27FC236}">
                  <a16:creationId xmlns:a16="http://schemas.microsoft.com/office/drawing/2014/main" id="{C96CE174-9081-416B-9559-8713B74C34D7}"/>
                </a:ext>
              </a:extLst>
            </p:cNvPr>
            <p:cNvSpPr/>
            <p:nvPr/>
          </p:nvSpPr>
          <p:spPr>
            <a:xfrm>
              <a:off x="679049" y="3037254"/>
              <a:ext cx="89068" cy="101502"/>
            </a:xfrm>
            <a:custGeom>
              <a:avLst/>
              <a:gdLst>
                <a:gd name="connsiteX0" fmla="*/ 89069 w 89068"/>
                <a:gd name="connsiteY0" fmla="*/ 48714 h 101502"/>
                <a:gd name="connsiteX1" fmla="*/ 0 w 89068"/>
                <a:gd name="connsiteY1" fmla="*/ 0 h 101502"/>
                <a:gd name="connsiteX2" fmla="*/ 2334 w 89068"/>
                <a:gd name="connsiteY2" fmla="*/ 101502 h 101502"/>
                <a:gd name="connsiteX3" fmla="*/ 89069 w 89068"/>
                <a:gd name="connsiteY3" fmla="*/ 48714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89069" y="48714"/>
                  </a:moveTo>
                  <a:lnTo>
                    <a:pt x="0" y="0"/>
                  </a:lnTo>
                  <a:lnTo>
                    <a:pt x="2334" y="101502"/>
                  </a:lnTo>
                  <a:lnTo>
                    <a:pt x="89069" y="48714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98" name="Grafik 77">
              <a:extLst>
                <a:ext uri="{FF2B5EF4-FFF2-40B4-BE49-F238E27FC236}">
                  <a16:creationId xmlns:a16="http://schemas.microsoft.com/office/drawing/2014/main" id="{E64065A6-653A-4535-9135-8E8F616E6EC7}"/>
                </a:ext>
              </a:extLst>
            </p:cNvPr>
            <p:cNvGrpSpPr/>
            <p:nvPr/>
          </p:nvGrpSpPr>
          <p:grpSpPr>
            <a:xfrm>
              <a:off x="725166" y="2579807"/>
              <a:ext cx="594423" cy="595447"/>
              <a:chOff x="725166" y="2579807"/>
              <a:chExt cx="594423" cy="595447"/>
            </a:xfrm>
            <a:grpFill/>
          </p:grpSpPr>
          <p:sp>
            <p:nvSpPr>
              <p:cNvPr id="201" name="Freihandform: Form 200">
                <a:extLst>
                  <a:ext uri="{FF2B5EF4-FFF2-40B4-BE49-F238E27FC236}">
                    <a16:creationId xmlns:a16="http://schemas.microsoft.com/office/drawing/2014/main" id="{AF544D20-4F5B-4919-B127-7F69C2FBC043}"/>
                  </a:ext>
                </a:extLst>
              </p:cNvPr>
              <p:cNvSpPr/>
              <p:nvPr/>
            </p:nvSpPr>
            <p:spPr>
              <a:xfrm>
                <a:off x="982367" y="2843331"/>
                <a:ext cx="68530" cy="68530"/>
              </a:xfrm>
              <a:custGeom>
                <a:avLst/>
                <a:gdLst>
                  <a:gd name="connsiteX0" fmla="*/ 0 w 68530"/>
                  <a:gd name="connsiteY0" fmla="*/ 0 h 68530"/>
                  <a:gd name="connsiteX1" fmla="*/ 68531 w 68530"/>
                  <a:gd name="connsiteY1" fmla="*/ 0 h 68530"/>
                  <a:gd name="connsiteX2" fmla="*/ 68531 w 68530"/>
                  <a:gd name="connsiteY2" fmla="*/ 68531 h 68530"/>
                  <a:gd name="connsiteX3" fmla="*/ 0 w 68530"/>
                  <a:gd name="connsiteY3" fmla="*/ 68531 h 68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530" h="68530">
                    <a:moveTo>
                      <a:pt x="0" y="0"/>
                    </a:moveTo>
                    <a:lnTo>
                      <a:pt x="68531" y="0"/>
                    </a:lnTo>
                    <a:lnTo>
                      <a:pt x="68531" y="68531"/>
                    </a:lnTo>
                    <a:lnTo>
                      <a:pt x="0" y="68531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2" name="Freihandform: Form 201">
                <a:extLst>
                  <a:ext uri="{FF2B5EF4-FFF2-40B4-BE49-F238E27FC236}">
                    <a16:creationId xmlns:a16="http://schemas.microsoft.com/office/drawing/2014/main" id="{5087DD4E-B3FB-435F-91ED-D25745A32A88}"/>
                  </a:ext>
                </a:extLst>
              </p:cNvPr>
              <p:cNvSpPr/>
              <p:nvPr/>
            </p:nvSpPr>
            <p:spPr>
              <a:xfrm>
                <a:off x="725166" y="2579807"/>
                <a:ext cx="594423" cy="595447"/>
              </a:xfrm>
              <a:custGeom>
                <a:avLst/>
                <a:gdLst>
                  <a:gd name="connsiteX0" fmla="*/ 594373 w 594423"/>
                  <a:gd name="connsiteY0" fmla="*/ 301241 h 595447"/>
                  <a:gd name="connsiteX1" fmla="*/ 559639 w 594423"/>
                  <a:gd name="connsiteY1" fmla="*/ 267321 h 595447"/>
                  <a:gd name="connsiteX2" fmla="*/ 528473 w 594423"/>
                  <a:gd name="connsiteY2" fmla="*/ 288171 h 595447"/>
                  <a:gd name="connsiteX3" fmla="*/ 528261 w 594423"/>
                  <a:gd name="connsiteY3" fmla="*/ 288723 h 595447"/>
                  <a:gd name="connsiteX4" fmla="*/ 381227 w 594423"/>
                  <a:gd name="connsiteY4" fmla="*/ 288723 h 595447"/>
                  <a:gd name="connsiteX5" fmla="*/ 381227 w 594423"/>
                  <a:gd name="connsiteY5" fmla="*/ 267888 h 595447"/>
                  <a:gd name="connsiteX6" fmla="*/ 441483 w 594423"/>
                  <a:gd name="connsiteY6" fmla="*/ 267888 h 595447"/>
                  <a:gd name="connsiteX7" fmla="*/ 450352 w 594423"/>
                  <a:gd name="connsiteY7" fmla="*/ 264238 h 595447"/>
                  <a:gd name="connsiteX8" fmla="*/ 467877 w 594423"/>
                  <a:gd name="connsiteY8" fmla="*/ 246713 h 595447"/>
                  <a:gd name="connsiteX9" fmla="*/ 468429 w 594423"/>
                  <a:gd name="connsiteY9" fmla="*/ 246968 h 595447"/>
                  <a:gd name="connsiteX10" fmla="*/ 483196 w 594423"/>
                  <a:gd name="connsiteY10" fmla="*/ 250363 h 595447"/>
                  <a:gd name="connsiteX11" fmla="*/ 517738 w 594423"/>
                  <a:gd name="connsiteY11" fmla="*/ 216077 h 595447"/>
                  <a:gd name="connsiteX12" fmla="*/ 483453 w 594423"/>
                  <a:gd name="connsiteY12" fmla="*/ 181535 h 595447"/>
                  <a:gd name="connsiteX13" fmla="*/ 448910 w 594423"/>
                  <a:gd name="connsiteY13" fmla="*/ 215820 h 595447"/>
                  <a:gd name="connsiteX14" fmla="*/ 450903 w 594423"/>
                  <a:gd name="connsiteY14" fmla="*/ 227491 h 595447"/>
                  <a:gd name="connsiteX15" fmla="*/ 450903 w 594423"/>
                  <a:gd name="connsiteY15" fmla="*/ 228000 h 595447"/>
                  <a:gd name="connsiteX16" fmla="*/ 436136 w 594423"/>
                  <a:gd name="connsiteY16" fmla="*/ 242809 h 595447"/>
                  <a:gd name="connsiteX17" fmla="*/ 380972 w 594423"/>
                  <a:gd name="connsiteY17" fmla="*/ 242809 h 595447"/>
                  <a:gd name="connsiteX18" fmla="*/ 380972 w 594423"/>
                  <a:gd name="connsiteY18" fmla="*/ 208098 h 595447"/>
                  <a:gd name="connsiteX19" fmla="*/ 350250 w 594423"/>
                  <a:gd name="connsiteY19" fmla="*/ 208098 h 595447"/>
                  <a:gd name="connsiteX20" fmla="*/ 350250 w 594423"/>
                  <a:gd name="connsiteY20" fmla="*/ 200418 h 595447"/>
                  <a:gd name="connsiteX21" fmla="*/ 365781 w 594423"/>
                  <a:gd name="connsiteY21" fmla="*/ 184887 h 595447"/>
                  <a:gd name="connsiteX22" fmla="*/ 366290 w 594423"/>
                  <a:gd name="connsiteY22" fmla="*/ 184887 h 595447"/>
                  <a:gd name="connsiteX23" fmla="*/ 379529 w 594423"/>
                  <a:gd name="connsiteY23" fmla="*/ 187560 h 595447"/>
                  <a:gd name="connsiteX24" fmla="*/ 413816 w 594423"/>
                  <a:gd name="connsiteY24" fmla="*/ 153274 h 595447"/>
                  <a:gd name="connsiteX25" fmla="*/ 379529 w 594423"/>
                  <a:gd name="connsiteY25" fmla="*/ 118987 h 595447"/>
                  <a:gd name="connsiteX26" fmla="*/ 345243 w 594423"/>
                  <a:gd name="connsiteY26" fmla="*/ 153274 h 595447"/>
                  <a:gd name="connsiteX27" fmla="*/ 347831 w 594423"/>
                  <a:gd name="connsiteY27" fmla="*/ 166386 h 595447"/>
                  <a:gd name="connsiteX28" fmla="*/ 348086 w 594423"/>
                  <a:gd name="connsiteY28" fmla="*/ 166895 h 595447"/>
                  <a:gd name="connsiteX29" fmla="*/ 328863 w 594423"/>
                  <a:gd name="connsiteY29" fmla="*/ 186117 h 595447"/>
                  <a:gd name="connsiteX30" fmla="*/ 325172 w 594423"/>
                  <a:gd name="connsiteY30" fmla="*/ 194986 h 595447"/>
                  <a:gd name="connsiteX31" fmla="*/ 325171 w 594423"/>
                  <a:gd name="connsiteY31" fmla="*/ 207716 h 595447"/>
                  <a:gd name="connsiteX32" fmla="*/ 304167 w 594423"/>
                  <a:gd name="connsiteY32" fmla="*/ 207716 h 595447"/>
                  <a:gd name="connsiteX33" fmla="*/ 304167 w 594423"/>
                  <a:gd name="connsiteY33" fmla="*/ 65944 h 595447"/>
                  <a:gd name="connsiteX34" fmla="*/ 304718 w 594423"/>
                  <a:gd name="connsiteY34" fmla="*/ 65944 h 595447"/>
                  <a:gd name="connsiteX35" fmla="*/ 323347 w 594423"/>
                  <a:gd name="connsiteY35" fmla="*/ 21177 h 595447"/>
                  <a:gd name="connsiteX36" fmla="*/ 278579 w 594423"/>
                  <a:gd name="connsiteY36" fmla="*/ 2549 h 595447"/>
                  <a:gd name="connsiteX37" fmla="*/ 259951 w 594423"/>
                  <a:gd name="connsiteY37" fmla="*/ 47316 h 595447"/>
                  <a:gd name="connsiteX38" fmla="*/ 278579 w 594423"/>
                  <a:gd name="connsiteY38" fmla="*/ 65944 h 595447"/>
                  <a:gd name="connsiteX39" fmla="*/ 279088 w 594423"/>
                  <a:gd name="connsiteY39" fmla="*/ 65944 h 595447"/>
                  <a:gd name="connsiteX40" fmla="*/ 279088 w 594423"/>
                  <a:gd name="connsiteY40" fmla="*/ 207929 h 595447"/>
                  <a:gd name="connsiteX41" fmla="*/ 258126 w 594423"/>
                  <a:gd name="connsiteY41" fmla="*/ 207929 h 595447"/>
                  <a:gd name="connsiteX42" fmla="*/ 258126 w 594423"/>
                  <a:gd name="connsiteY42" fmla="*/ 153740 h 595447"/>
                  <a:gd name="connsiteX43" fmla="*/ 254434 w 594423"/>
                  <a:gd name="connsiteY43" fmla="*/ 144872 h 595447"/>
                  <a:gd name="connsiteX44" fmla="*/ 236909 w 594423"/>
                  <a:gd name="connsiteY44" fmla="*/ 127346 h 595447"/>
                  <a:gd name="connsiteX45" fmla="*/ 237206 w 594423"/>
                  <a:gd name="connsiteY45" fmla="*/ 126795 h 595447"/>
                  <a:gd name="connsiteX46" fmla="*/ 240601 w 594423"/>
                  <a:gd name="connsiteY46" fmla="*/ 112028 h 595447"/>
                  <a:gd name="connsiteX47" fmla="*/ 206315 w 594423"/>
                  <a:gd name="connsiteY47" fmla="*/ 77485 h 595447"/>
                  <a:gd name="connsiteX48" fmla="*/ 171773 w 594423"/>
                  <a:gd name="connsiteY48" fmla="*/ 111771 h 595447"/>
                  <a:gd name="connsiteX49" fmla="*/ 206058 w 594423"/>
                  <a:gd name="connsiteY49" fmla="*/ 146313 h 595447"/>
                  <a:gd name="connsiteX50" fmla="*/ 217729 w 594423"/>
                  <a:gd name="connsiteY50" fmla="*/ 144320 h 595447"/>
                  <a:gd name="connsiteX51" fmla="*/ 218238 w 594423"/>
                  <a:gd name="connsiteY51" fmla="*/ 144320 h 595447"/>
                  <a:gd name="connsiteX52" fmla="*/ 233047 w 594423"/>
                  <a:gd name="connsiteY52" fmla="*/ 159087 h 595447"/>
                  <a:gd name="connsiteX53" fmla="*/ 233047 w 594423"/>
                  <a:gd name="connsiteY53" fmla="*/ 208098 h 595447"/>
                  <a:gd name="connsiteX54" fmla="*/ 201731 w 594423"/>
                  <a:gd name="connsiteY54" fmla="*/ 208098 h 595447"/>
                  <a:gd name="connsiteX55" fmla="*/ 201731 w 594423"/>
                  <a:gd name="connsiteY55" fmla="*/ 242809 h 595447"/>
                  <a:gd name="connsiteX56" fmla="*/ 149113 w 594423"/>
                  <a:gd name="connsiteY56" fmla="*/ 242809 h 595447"/>
                  <a:gd name="connsiteX57" fmla="*/ 134303 w 594423"/>
                  <a:gd name="connsiteY57" fmla="*/ 228000 h 595447"/>
                  <a:gd name="connsiteX58" fmla="*/ 134303 w 594423"/>
                  <a:gd name="connsiteY58" fmla="*/ 227491 h 595447"/>
                  <a:gd name="connsiteX59" fmla="*/ 136298 w 594423"/>
                  <a:gd name="connsiteY59" fmla="*/ 216076 h 595447"/>
                  <a:gd name="connsiteX60" fmla="*/ 102291 w 594423"/>
                  <a:gd name="connsiteY60" fmla="*/ 181344 h 595447"/>
                  <a:gd name="connsiteX61" fmla="*/ 67559 w 594423"/>
                  <a:gd name="connsiteY61" fmla="*/ 215351 h 595447"/>
                  <a:gd name="connsiteX62" fmla="*/ 101566 w 594423"/>
                  <a:gd name="connsiteY62" fmla="*/ 250083 h 595447"/>
                  <a:gd name="connsiteX63" fmla="*/ 116863 w 594423"/>
                  <a:gd name="connsiteY63" fmla="*/ 246671 h 595447"/>
                  <a:gd name="connsiteX64" fmla="*/ 117415 w 594423"/>
                  <a:gd name="connsiteY64" fmla="*/ 246416 h 595447"/>
                  <a:gd name="connsiteX65" fmla="*/ 134898 w 594423"/>
                  <a:gd name="connsiteY65" fmla="*/ 263941 h 595447"/>
                  <a:gd name="connsiteX66" fmla="*/ 143766 w 594423"/>
                  <a:gd name="connsiteY66" fmla="*/ 267591 h 595447"/>
                  <a:gd name="connsiteX67" fmla="*/ 201731 w 594423"/>
                  <a:gd name="connsiteY67" fmla="*/ 267591 h 595447"/>
                  <a:gd name="connsiteX68" fmla="*/ 201731 w 594423"/>
                  <a:gd name="connsiteY68" fmla="*/ 288596 h 595447"/>
                  <a:gd name="connsiteX69" fmla="*/ 65942 w 594423"/>
                  <a:gd name="connsiteY69" fmla="*/ 288596 h 595447"/>
                  <a:gd name="connsiteX70" fmla="*/ 65942 w 594423"/>
                  <a:gd name="connsiteY70" fmla="*/ 288044 h 595447"/>
                  <a:gd name="connsiteX71" fmla="*/ 21175 w 594423"/>
                  <a:gd name="connsiteY71" fmla="*/ 269416 h 595447"/>
                  <a:gd name="connsiteX72" fmla="*/ 2546 w 594423"/>
                  <a:gd name="connsiteY72" fmla="*/ 314183 h 595447"/>
                  <a:gd name="connsiteX73" fmla="*/ 47314 w 594423"/>
                  <a:gd name="connsiteY73" fmla="*/ 332811 h 595447"/>
                  <a:gd name="connsiteX74" fmla="*/ 65942 w 594423"/>
                  <a:gd name="connsiteY74" fmla="*/ 314183 h 595447"/>
                  <a:gd name="connsiteX75" fmla="*/ 65942 w 594423"/>
                  <a:gd name="connsiteY75" fmla="*/ 313674 h 595447"/>
                  <a:gd name="connsiteX76" fmla="*/ 201731 w 594423"/>
                  <a:gd name="connsiteY76" fmla="*/ 313674 h 595447"/>
                  <a:gd name="connsiteX77" fmla="*/ 201731 w 594423"/>
                  <a:gd name="connsiteY77" fmla="*/ 334636 h 595447"/>
                  <a:gd name="connsiteX78" fmla="*/ 173555 w 594423"/>
                  <a:gd name="connsiteY78" fmla="*/ 334636 h 595447"/>
                  <a:gd name="connsiteX79" fmla="*/ 164686 w 594423"/>
                  <a:gd name="connsiteY79" fmla="*/ 338328 h 595447"/>
                  <a:gd name="connsiteX80" fmla="*/ 145633 w 594423"/>
                  <a:gd name="connsiteY80" fmla="*/ 357381 h 595447"/>
                  <a:gd name="connsiteX81" fmla="*/ 145124 w 594423"/>
                  <a:gd name="connsiteY81" fmla="*/ 357169 h 595447"/>
                  <a:gd name="connsiteX82" fmla="*/ 100608 w 594423"/>
                  <a:gd name="connsiteY82" fmla="*/ 376390 h 595447"/>
                  <a:gd name="connsiteX83" fmla="*/ 119828 w 594423"/>
                  <a:gd name="connsiteY83" fmla="*/ 420906 h 595447"/>
                  <a:gd name="connsiteX84" fmla="*/ 164345 w 594423"/>
                  <a:gd name="connsiteY84" fmla="*/ 401685 h 595447"/>
                  <a:gd name="connsiteX85" fmla="*/ 163922 w 594423"/>
                  <a:gd name="connsiteY85" fmla="*/ 375373 h 595447"/>
                  <a:gd name="connsiteX86" fmla="*/ 163668 w 594423"/>
                  <a:gd name="connsiteY86" fmla="*/ 374821 h 595447"/>
                  <a:gd name="connsiteX87" fmla="*/ 178774 w 594423"/>
                  <a:gd name="connsiteY87" fmla="*/ 359757 h 595447"/>
                  <a:gd name="connsiteX88" fmla="*/ 201731 w 594423"/>
                  <a:gd name="connsiteY88" fmla="*/ 359757 h 595447"/>
                  <a:gd name="connsiteX89" fmla="*/ 201731 w 594423"/>
                  <a:gd name="connsiteY89" fmla="*/ 387382 h 595447"/>
                  <a:gd name="connsiteX90" fmla="*/ 232496 w 594423"/>
                  <a:gd name="connsiteY90" fmla="*/ 387382 h 595447"/>
                  <a:gd name="connsiteX91" fmla="*/ 232496 w 594423"/>
                  <a:gd name="connsiteY91" fmla="*/ 446110 h 595447"/>
                  <a:gd name="connsiteX92" fmla="*/ 217686 w 594423"/>
                  <a:gd name="connsiteY92" fmla="*/ 460920 h 595447"/>
                  <a:gd name="connsiteX93" fmla="*/ 217177 w 594423"/>
                  <a:gd name="connsiteY93" fmla="*/ 460920 h 595447"/>
                  <a:gd name="connsiteX94" fmla="*/ 205720 w 594423"/>
                  <a:gd name="connsiteY94" fmla="*/ 458883 h 595447"/>
                  <a:gd name="connsiteX95" fmla="*/ 171355 w 594423"/>
                  <a:gd name="connsiteY95" fmla="*/ 493176 h 595447"/>
                  <a:gd name="connsiteX96" fmla="*/ 205648 w 594423"/>
                  <a:gd name="connsiteY96" fmla="*/ 527541 h 595447"/>
                  <a:gd name="connsiteX97" fmla="*/ 240013 w 594423"/>
                  <a:gd name="connsiteY97" fmla="*/ 493248 h 595447"/>
                  <a:gd name="connsiteX98" fmla="*/ 236654 w 594423"/>
                  <a:gd name="connsiteY98" fmla="*/ 478403 h 595447"/>
                  <a:gd name="connsiteX99" fmla="*/ 236357 w 594423"/>
                  <a:gd name="connsiteY99" fmla="*/ 477851 h 595447"/>
                  <a:gd name="connsiteX100" fmla="*/ 253882 w 594423"/>
                  <a:gd name="connsiteY100" fmla="*/ 460368 h 595447"/>
                  <a:gd name="connsiteX101" fmla="*/ 257574 w 594423"/>
                  <a:gd name="connsiteY101" fmla="*/ 451500 h 595447"/>
                  <a:gd name="connsiteX102" fmla="*/ 257574 w 594423"/>
                  <a:gd name="connsiteY102" fmla="*/ 387849 h 595447"/>
                  <a:gd name="connsiteX103" fmla="*/ 279215 w 594423"/>
                  <a:gd name="connsiteY103" fmla="*/ 387849 h 595447"/>
                  <a:gd name="connsiteX104" fmla="*/ 279215 w 594423"/>
                  <a:gd name="connsiteY104" fmla="*/ 529239 h 595447"/>
                  <a:gd name="connsiteX105" fmla="*/ 278664 w 594423"/>
                  <a:gd name="connsiteY105" fmla="*/ 529493 h 595447"/>
                  <a:gd name="connsiteX106" fmla="*/ 260082 w 594423"/>
                  <a:gd name="connsiteY106" fmla="*/ 574215 h 595447"/>
                  <a:gd name="connsiteX107" fmla="*/ 304803 w 594423"/>
                  <a:gd name="connsiteY107" fmla="*/ 592797 h 595447"/>
                  <a:gd name="connsiteX108" fmla="*/ 323386 w 594423"/>
                  <a:gd name="connsiteY108" fmla="*/ 548076 h 595447"/>
                  <a:gd name="connsiteX109" fmla="*/ 304803 w 594423"/>
                  <a:gd name="connsiteY109" fmla="*/ 529493 h 595447"/>
                  <a:gd name="connsiteX110" fmla="*/ 304294 w 594423"/>
                  <a:gd name="connsiteY110" fmla="*/ 529493 h 595447"/>
                  <a:gd name="connsiteX111" fmla="*/ 304294 w 594423"/>
                  <a:gd name="connsiteY111" fmla="*/ 387509 h 595447"/>
                  <a:gd name="connsiteX112" fmla="*/ 324535 w 594423"/>
                  <a:gd name="connsiteY112" fmla="*/ 387509 h 595447"/>
                  <a:gd name="connsiteX113" fmla="*/ 324535 w 594423"/>
                  <a:gd name="connsiteY113" fmla="*/ 416152 h 595447"/>
                  <a:gd name="connsiteX114" fmla="*/ 328227 w 594423"/>
                  <a:gd name="connsiteY114" fmla="*/ 425021 h 595447"/>
                  <a:gd name="connsiteX115" fmla="*/ 345752 w 594423"/>
                  <a:gd name="connsiteY115" fmla="*/ 442546 h 595447"/>
                  <a:gd name="connsiteX116" fmla="*/ 345455 w 594423"/>
                  <a:gd name="connsiteY116" fmla="*/ 443098 h 595447"/>
                  <a:gd name="connsiteX117" fmla="*/ 342060 w 594423"/>
                  <a:gd name="connsiteY117" fmla="*/ 457865 h 595447"/>
                  <a:gd name="connsiteX118" fmla="*/ 376347 w 594423"/>
                  <a:gd name="connsiteY118" fmla="*/ 492236 h 595447"/>
                  <a:gd name="connsiteX119" fmla="*/ 410718 w 594423"/>
                  <a:gd name="connsiteY119" fmla="*/ 457950 h 595447"/>
                  <a:gd name="connsiteX120" fmla="*/ 376432 w 594423"/>
                  <a:gd name="connsiteY120" fmla="*/ 423578 h 595447"/>
                  <a:gd name="connsiteX121" fmla="*/ 376389 w 594423"/>
                  <a:gd name="connsiteY121" fmla="*/ 423578 h 595447"/>
                  <a:gd name="connsiteX122" fmla="*/ 364932 w 594423"/>
                  <a:gd name="connsiteY122" fmla="*/ 425615 h 595447"/>
                  <a:gd name="connsiteX123" fmla="*/ 364423 w 594423"/>
                  <a:gd name="connsiteY123" fmla="*/ 425615 h 595447"/>
                  <a:gd name="connsiteX124" fmla="*/ 364041 w 594423"/>
                  <a:gd name="connsiteY124" fmla="*/ 425233 h 595447"/>
                  <a:gd name="connsiteX125" fmla="*/ 349614 w 594423"/>
                  <a:gd name="connsiteY125" fmla="*/ 410805 h 595447"/>
                  <a:gd name="connsiteX126" fmla="*/ 349614 w 594423"/>
                  <a:gd name="connsiteY126" fmla="*/ 387339 h 595447"/>
                  <a:gd name="connsiteX127" fmla="*/ 381312 w 594423"/>
                  <a:gd name="connsiteY127" fmla="*/ 387339 h 595447"/>
                  <a:gd name="connsiteX128" fmla="*/ 381312 w 594423"/>
                  <a:gd name="connsiteY128" fmla="*/ 359715 h 595447"/>
                  <a:gd name="connsiteX129" fmla="*/ 415259 w 594423"/>
                  <a:gd name="connsiteY129" fmla="*/ 359715 h 595447"/>
                  <a:gd name="connsiteX130" fmla="*/ 430365 w 594423"/>
                  <a:gd name="connsiteY130" fmla="*/ 374779 h 595447"/>
                  <a:gd name="connsiteX131" fmla="*/ 430111 w 594423"/>
                  <a:gd name="connsiteY131" fmla="*/ 375331 h 595447"/>
                  <a:gd name="connsiteX132" fmla="*/ 447892 w 594423"/>
                  <a:gd name="connsiteY132" fmla="*/ 420441 h 595447"/>
                  <a:gd name="connsiteX133" fmla="*/ 493003 w 594423"/>
                  <a:gd name="connsiteY133" fmla="*/ 402659 h 595447"/>
                  <a:gd name="connsiteX134" fmla="*/ 475221 w 594423"/>
                  <a:gd name="connsiteY134" fmla="*/ 357549 h 595447"/>
                  <a:gd name="connsiteX135" fmla="*/ 448909 w 594423"/>
                  <a:gd name="connsiteY135" fmla="*/ 357126 h 595447"/>
                  <a:gd name="connsiteX136" fmla="*/ 448400 w 594423"/>
                  <a:gd name="connsiteY136" fmla="*/ 357339 h 595447"/>
                  <a:gd name="connsiteX137" fmla="*/ 429347 w 594423"/>
                  <a:gd name="connsiteY137" fmla="*/ 338286 h 595447"/>
                  <a:gd name="connsiteX138" fmla="*/ 420478 w 594423"/>
                  <a:gd name="connsiteY138" fmla="*/ 334594 h 595447"/>
                  <a:gd name="connsiteX139" fmla="*/ 381227 w 594423"/>
                  <a:gd name="connsiteY139" fmla="*/ 334594 h 595447"/>
                  <a:gd name="connsiteX140" fmla="*/ 381227 w 594423"/>
                  <a:gd name="connsiteY140" fmla="*/ 313632 h 595447"/>
                  <a:gd name="connsiteX141" fmla="*/ 528133 w 594423"/>
                  <a:gd name="connsiteY141" fmla="*/ 313632 h 595447"/>
                  <a:gd name="connsiteX142" fmla="*/ 528345 w 594423"/>
                  <a:gd name="connsiteY142" fmla="*/ 314141 h 595447"/>
                  <a:gd name="connsiteX143" fmla="*/ 573223 w 594423"/>
                  <a:gd name="connsiteY143" fmla="*/ 332660 h 595447"/>
                  <a:gd name="connsiteX144" fmla="*/ 594373 w 594423"/>
                  <a:gd name="connsiteY144" fmla="*/ 301071 h 595447"/>
                  <a:gd name="connsiteX145" fmla="*/ 483196 w 594423"/>
                  <a:gd name="connsiteY145" fmla="*/ 201351 h 595447"/>
                  <a:gd name="connsiteX146" fmla="*/ 497793 w 594423"/>
                  <a:gd name="connsiteY146" fmla="*/ 215864 h 595447"/>
                  <a:gd name="connsiteX147" fmla="*/ 483281 w 594423"/>
                  <a:gd name="connsiteY147" fmla="*/ 230461 h 595447"/>
                  <a:gd name="connsiteX148" fmla="*/ 468683 w 594423"/>
                  <a:gd name="connsiteY148" fmla="*/ 215948 h 595447"/>
                  <a:gd name="connsiteX149" fmla="*/ 468683 w 594423"/>
                  <a:gd name="connsiteY149" fmla="*/ 215906 h 595447"/>
                  <a:gd name="connsiteX150" fmla="*/ 483196 w 594423"/>
                  <a:gd name="connsiteY150" fmla="*/ 201351 h 595447"/>
                  <a:gd name="connsiteX151" fmla="*/ 379317 w 594423"/>
                  <a:gd name="connsiteY151" fmla="*/ 139567 h 595447"/>
                  <a:gd name="connsiteX152" fmla="*/ 393872 w 594423"/>
                  <a:gd name="connsiteY152" fmla="*/ 154122 h 595447"/>
                  <a:gd name="connsiteX153" fmla="*/ 379317 w 594423"/>
                  <a:gd name="connsiteY153" fmla="*/ 168677 h 595447"/>
                  <a:gd name="connsiteX154" fmla="*/ 364762 w 594423"/>
                  <a:gd name="connsiteY154" fmla="*/ 154122 h 595447"/>
                  <a:gd name="connsiteX155" fmla="*/ 379317 w 594423"/>
                  <a:gd name="connsiteY155" fmla="*/ 139567 h 595447"/>
                  <a:gd name="connsiteX156" fmla="*/ 205974 w 594423"/>
                  <a:gd name="connsiteY156" fmla="*/ 126540 h 595447"/>
                  <a:gd name="connsiteX157" fmla="*/ 191420 w 594423"/>
                  <a:gd name="connsiteY157" fmla="*/ 111985 h 595447"/>
                  <a:gd name="connsiteX158" fmla="*/ 205975 w 594423"/>
                  <a:gd name="connsiteY158" fmla="*/ 97430 h 595447"/>
                  <a:gd name="connsiteX159" fmla="*/ 220529 w 594423"/>
                  <a:gd name="connsiteY159" fmla="*/ 111985 h 595447"/>
                  <a:gd name="connsiteX160" fmla="*/ 220529 w 594423"/>
                  <a:gd name="connsiteY160" fmla="*/ 112028 h 595447"/>
                  <a:gd name="connsiteX161" fmla="*/ 206017 w 594423"/>
                  <a:gd name="connsiteY161" fmla="*/ 126540 h 595447"/>
                  <a:gd name="connsiteX162" fmla="*/ 205974 w 594423"/>
                  <a:gd name="connsiteY162" fmla="*/ 126540 h 595447"/>
                  <a:gd name="connsiteX163" fmla="*/ 102181 w 594423"/>
                  <a:gd name="connsiteY163" fmla="*/ 230419 h 595447"/>
                  <a:gd name="connsiteX164" fmla="*/ 87626 w 594423"/>
                  <a:gd name="connsiteY164" fmla="*/ 215864 h 595447"/>
                  <a:gd name="connsiteX165" fmla="*/ 102181 w 594423"/>
                  <a:gd name="connsiteY165" fmla="*/ 201309 h 595447"/>
                  <a:gd name="connsiteX166" fmla="*/ 116736 w 594423"/>
                  <a:gd name="connsiteY166" fmla="*/ 215864 h 595447"/>
                  <a:gd name="connsiteX167" fmla="*/ 116736 w 594423"/>
                  <a:gd name="connsiteY167" fmla="*/ 215906 h 595447"/>
                  <a:gd name="connsiteX168" fmla="*/ 102223 w 594423"/>
                  <a:gd name="connsiteY168" fmla="*/ 230419 h 595447"/>
                  <a:gd name="connsiteX169" fmla="*/ 102181 w 594423"/>
                  <a:gd name="connsiteY169" fmla="*/ 230419 h 595447"/>
                  <a:gd name="connsiteX170" fmla="*/ 33905 w 594423"/>
                  <a:gd name="connsiteY170" fmla="*/ 315796 h 595447"/>
                  <a:gd name="connsiteX171" fmla="*/ 19350 w 594423"/>
                  <a:gd name="connsiteY171" fmla="*/ 301241 h 595447"/>
                  <a:gd name="connsiteX172" fmla="*/ 33905 w 594423"/>
                  <a:gd name="connsiteY172" fmla="*/ 286686 h 595447"/>
                  <a:gd name="connsiteX173" fmla="*/ 48460 w 594423"/>
                  <a:gd name="connsiteY173" fmla="*/ 301241 h 595447"/>
                  <a:gd name="connsiteX174" fmla="*/ 33905 w 594423"/>
                  <a:gd name="connsiteY174" fmla="*/ 315796 h 595447"/>
                  <a:gd name="connsiteX175" fmla="*/ 132394 w 594423"/>
                  <a:gd name="connsiteY175" fmla="*/ 403676 h 595447"/>
                  <a:gd name="connsiteX176" fmla="*/ 117797 w 594423"/>
                  <a:gd name="connsiteY176" fmla="*/ 389164 h 595447"/>
                  <a:gd name="connsiteX177" fmla="*/ 132309 w 594423"/>
                  <a:gd name="connsiteY177" fmla="*/ 374567 h 595447"/>
                  <a:gd name="connsiteX178" fmla="*/ 146906 w 594423"/>
                  <a:gd name="connsiteY178" fmla="*/ 389079 h 595447"/>
                  <a:gd name="connsiteX179" fmla="*/ 146906 w 594423"/>
                  <a:gd name="connsiteY179" fmla="*/ 389164 h 595447"/>
                  <a:gd name="connsiteX180" fmla="*/ 132394 w 594423"/>
                  <a:gd name="connsiteY180" fmla="*/ 403676 h 595447"/>
                  <a:gd name="connsiteX181" fmla="*/ 205635 w 594423"/>
                  <a:gd name="connsiteY181" fmla="*/ 507555 h 595447"/>
                  <a:gd name="connsiteX182" fmla="*/ 191080 w 594423"/>
                  <a:gd name="connsiteY182" fmla="*/ 493000 h 595447"/>
                  <a:gd name="connsiteX183" fmla="*/ 205635 w 594423"/>
                  <a:gd name="connsiteY183" fmla="*/ 478445 h 595447"/>
                  <a:gd name="connsiteX184" fmla="*/ 220190 w 594423"/>
                  <a:gd name="connsiteY184" fmla="*/ 493000 h 595447"/>
                  <a:gd name="connsiteX185" fmla="*/ 220190 w 594423"/>
                  <a:gd name="connsiteY185" fmla="*/ 493042 h 595447"/>
                  <a:gd name="connsiteX186" fmla="*/ 205635 w 594423"/>
                  <a:gd name="connsiteY186" fmla="*/ 507555 h 595447"/>
                  <a:gd name="connsiteX187" fmla="*/ 376304 w 594423"/>
                  <a:gd name="connsiteY187" fmla="*/ 443352 h 595447"/>
                  <a:gd name="connsiteX188" fmla="*/ 390859 w 594423"/>
                  <a:gd name="connsiteY188" fmla="*/ 457907 h 595447"/>
                  <a:gd name="connsiteX189" fmla="*/ 376304 w 594423"/>
                  <a:gd name="connsiteY189" fmla="*/ 472462 h 595447"/>
                  <a:gd name="connsiteX190" fmla="*/ 361750 w 594423"/>
                  <a:gd name="connsiteY190" fmla="*/ 457907 h 595447"/>
                  <a:gd name="connsiteX191" fmla="*/ 361750 w 594423"/>
                  <a:gd name="connsiteY191" fmla="*/ 457865 h 595447"/>
                  <a:gd name="connsiteX192" fmla="*/ 376304 w 594423"/>
                  <a:gd name="connsiteY192" fmla="*/ 443352 h 595447"/>
                  <a:gd name="connsiteX193" fmla="*/ 276882 w 594423"/>
                  <a:gd name="connsiteY193" fmla="*/ 34034 h 595447"/>
                  <a:gd name="connsiteX194" fmla="*/ 291394 w 594423"/>
                  <a:gd name="connsiteY194" fmla="*/ 19437 h 595447"/>
                  <a:gd name="connsiteX195" fmla="*/ 305991 w 594423"/>
                  <a:gd name="connsiteY195" fmla="*/ 33949 h 595447"/>
                  <a:gd name="connsiteX196" fmla="*/ 291479 w 594423"/>
                  <a:gd name="connsiteY196" fmla="*/ 48546 h 595447"/>
                  <a:gd name="connsiteX197" fmla="*/ 291437 w 594423"/>
                  <a:gd name="connsiteY197" fmla="*/ 48546 h 595447"/>
                  <a:gd name="connsiteX198" fmla="*/ 276882 w 594423"/>
                  <a:gd name="connsiteY198" fmla="*/ 34034 h 595447"/>
                  <a:gd name="connsiteX199" fmla="*/ 305949 w 594423"/>
                  <a:gd name="connsiteY199" fmla="*/ 560894 h 595447"/>
                  <a:gd name="connsiteX200" fmla="*/ 291436 w 594423"/>
                  <a:gd name="connsiteY200" fmla="*/ 575492 h 595447"/>
                  <a:gd name="connsiteX201" fmla="*/ 276839 w 594423"/>
                  <a:gd name="connsiteY201" fmla="*/ 560979 h 595447"/>
                  <a:gd name="connsiteX202" fmla="*/ 291352 w 594423"/>
                  <a:gd name="connsiteY202" fmla="*/ 546382 h 595447"/>
                  <a:gd name="connsiteX203" fmla="*/ 291436 w 594423"/>
                  <a:gd name="connsiteY203" fmla="*/ 546382 h 595447"/>
                  <a:gd name="connsiteX204" fmla="*/ 305949 w 594423"/>
                  <a:gd name="connsiteY204" fmla="*/ 560894 h 595447"/>
                  <a:gd name="connsiteX205" fmla="*/ 355979 w 594423"/>
                  <a:gd name="connsiteY205" fmla="*/ 362261 h 595447"/>
                  <a:gd name="connsiteX206" fmla="*/ 226894 w 594423"/>
                  <a:gd name="connsiteY206" fmla="*/ 362261 h 595447"/>
                  <a:gd name="connsiteX207" fmla="*/ 226894 w 594423"/>
                  <a:gd name="connsiteY207" fmla="*/ 233177 h 595447"/>
                  <a:gd name="connsiteX208" fmla="*/ 355979 w 594423"/>
                  <a:gd name="connsiteY208" fmla="*/ 233177 h 595447"/>
                  <a:gd name="connsiteX209" fmla="*/ 461597 w 594423"/>
                  <a:gd name="connsiteY209" fmla="*/ 374609 h 595447"/>
                  <a:gd name="connsiteX210" fmla="*/ 476194 w 594423"/>
                  <a:gd name="connsiteY210" fmla="*/ 389122 h 595447"/>
                  <a:gd name="connsiteX211" fmla="*/ 461682 w 594423"/>
                  <a:gd name="connsiteY211" fmla="*/ 403719 h 595447"/>
                  <a:gd name="connsiteX212" fmla="*/ 447084 w 594423"/>
                  <a:gd name="connsiteY212" fmla="*/ 389206 h 595447"/>
                  <a:gd name="connsiteX213" fmla="*/ 447084 w 594423"/>
                  <a:gd name="connsiteY213" fmla="*/ 389164 h 595447"/>
                  <a:gd name="connsiteX214" fmla="*/ 461597 w 594423"/>
                  <a:gd name="connsiteY214" fmla="*/ 374609 h 595447"/>
                  <a:gd name="connsiteX215" fmla="*/ 560044 w 594423"/>
                  <a:gd name="connsiteY215" fmla="*/ 315796 h 595447"/>
                  <a:gd name="connsiteX216" fmla="*/ 545489 w 594423"/>
                  <a:gd name="connsiteY216" fmla="*/ 301241 h 595447"/>
                  <a:gd name="connsiteX217" fmla="*/ 560044 w 594423"/>
                  <a:gd name="connsiteY217" fmla="*/ 286686 h 595447"/>
                  <a:gd name="connsiteX218" fmla="*/ 574598 w 594423"/>
                  <a:gd name="connsiteY218" fmla="*/ 301241 h 595447"/>
                  <a:gd name="connsiteX219" fmla="*/ 560044 w 594423"/>
                  <a:gd name="connsiteY219" fmla="*/ 315796 h 595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</a:cxnLst>
                <a:rect l="l" t="t" r="r" b="b"/>
                <a:pathLst>
                  <a:path w="594423" h="595447">
                    <a:moveTo>
                      <a:pt x="594373" y="301241"/>
                    </a:moveTo>
                    <a:cubicBezTo>
                      <a:pt x="594148" y="282283"/>
                      <a:pt x="578597" y="267096"/>
                      <a:pt x="559639" y="267321"/>
                    </a:cubicBezTo>
                    <a:cubicBezTo>
                      <a:pt x="546037" y="267482"/>
                      <a:pt x="533813" y="275660"/>
                      <a:pt x="528473" y="288171"/>
                    </a:cubicBezTo>
                    <a:lnTo>
                      <a:pt x="528261" y="288723"/>
                    </a:lnTo>
                    <a:lnTo>
                      <a:pt x="381227" y="288723"/>
                    </a:lnTo>
                    <a:lnTo>
                      <a:pt x="381227" y="267888"/>
                    </a:lnTo>
                    <a:lnTo>
                      <a:pt x="441483" y="267888"/>
                    </a:lnTo>
                    <a:cubicBezTo>
                      <a:pt x="444802" y="267874"/>
                      <a:pt x="447984" y="266564"/>
                      <a:pt x="450352" y="264238"/>
                    </a:cubicBezTo>
                    <a:lnTo>
                      <a:pt x="467877" y="246713"/>
                    </a:lnTo>
                    <a:lnTo>
                      <a:pt x="468429" y="246968"/>
                    </a:lnTo>
                    <a:cubicBezTo>
                      <a:pt x="473032" y="249198"/>
                      <a:pt x="478080" y="250358"/>
                      <a:pt x="483196" y="250363"/>
                    </a:cubicBezTo>
                    <a:cubicBezTo>
                      <a:pt x="502202" y="250434"/>
                      <a:pt x="517667" y="235084"/>
                      <a:pt x="517738" y="216077"/>
                    </a:cubicBezTo>
                    <a:cubicBezTo>
                      <a:pt x="517809" y="197071"/>
                      <a:pt x="502459" y="181606"/>
                      <a:pt x="483453" y="181535"/>
                    </a:cubicBezTo>
                    <a:cubicBezTo>
                      <a:pt x="464447" y="181464"/>
                      <a:pt x="448981" y="196814"/>
                      <a:pt x="448910" y="215820"/>
                    </a:cubicBezTo>
                    <a:cubicBezTo>
                      <a:pt x="448896" y="219796"/>
                      <a:pt x="449570" y="223745"/>
                      <a:pt x="450903" y="227491"/>
                    </a:cubicBezTo>
                    <a:lnTo>
                      <a:pt x="450903" y="228000"/>
                    </a:lnTo>
                    <a:lnTo>
                      <a:pt x="436136" y="242809"/>
                    </a:lnTo>
                    <a:lnTo>
                      <a:pt x="380972" y="242809"/>
                    </a:lnTo>
                    <a:lnTo>
                      <a:pt x="380972" y="208098"/>
                    </a:lnTo>
                    <a:lnTo>
                      <a:pt x="350250" y="208098"/>
                    </a:lnTo>
                    <a:lnTo>
                      <a:pt x="350250" y="200418"/>
                    </a:lnTo>
                    <a:lnTo>
                      <a:pt x="365781" y="184887"/>
                    </a:lnTo>
                    <a:lnTo>
                      <a:pt x="366290" y="184887"/>
                    </a:lnTo>
                    <a:cubicBezTo>
                      <a:pt x="370477" y="186663"/>
                      <a:pt x="374981" y="187572"/>
                      <a:pt x="379529" y="187560"/>
                    </a:cubicBezTo>
                    <a:cubicBezTo>
                      <a:pt x="398465" y="187560"/>
                      <a:pt x="413816" y="172210"/>
                      <a:pt x="413816" y="153274"/>
                    </a:cubicBezTo>
                    <a:cubicBezTo>
                      <a:pt x="413816" y="134338"/>
                      <a:pt x="398465" y="118987"/>
                      <a:pt x="379529" y="118987"/>
                    </a:cubicBezTo>
                    <a:cubicBezTo>
                      <a:pt x="360593" y="118987"/>
                      <a:pt x="345243" y="134338"/>
                      <a:pt x="345243" y="153274"/>
                    </a:cubicBezTo>
                    <a:cubicBezTo>
                      <a:pt x="345252" y="157770"/>
                      <a:pt x="346131" y="162223"/>
                      <a:pt x="347831" y="166386"/>
                    </a:cubicBezTo>
                    <a:lnTo>
                      <a:pt x="348086" y="166895"/>
                    </a:lnTo>
                    <a:lnTo>
                      <a:pt x="328863" y="186117"/>
                    </a:lnTo>
                    <a:cubicBezTo>
                      <a:pt x="326498" y="188462"/>
                      <a:pt x="325169" y="191656"/>
                      <a:pt x="325172" y="194986"/>
                    </a:cubicBezTo>
                    <a:lnTo>
                      <a:pt x="325171" y="207716"/>
                    </a:lnTo>
                    <a:lnTo>
                      <a:pt x="304167" y="207716"/>
                    </a:lnTo>
                    <a:lnTo>
                      <a:pt x="304167" y="65944"/>
                    </a:lnTo>
                    <a:lnTo>
                      <a:pt x="304718" y="65944"/>
                    </a:lnTo>
                    <a:cubicBezTo>
                      <a:pt x="322225" y="58726"/>
                      <a:pt x="330565" y="38683"/>
                      <a:pt x="323347" y="21177"/>
                    </a:cubicBezTo>
                    <a:cubicBezTo>
                      <a:pt x="316128" y="3671"/>
                      <a:pt x="296085" y="-4670"/>
                      <a:pt x="278579" y="2549"/>
                    </a:cubicBezTo>
                    <a:cubicBezTo>
                      <a:pt x="261073" y="9767"/>
                      <a:pt x="252733" y="29810"/>
                      <a:pt x="259951" y="47316"/>
                    </a:cubicBezTo>
                    <a:cubicBezTo>
                      <a:pt x="263432" y="55759"/>
                      <a:pt x="270137" y="62464"/>
                      <a:pt x="278579" y="65944"/>
                    </a:cubicBezTo>
                    <a:lnTo>
                      <a:pt x="279088" y="65944"/>
                    </a:lnTo>
                    <a:lnTo>
                      <a:pt x="279088" y="207929"/>
                    </a:lnTo>
                    <a:lnTo>
                      <a:pt x="258126" y="207929"/>
                    </a:lnTo>
                    <a:lnTo>
                      <a:pt x="258126" y="153740"/>
                    </a:lnTo>
                    <a:cubicBezTo>
                      <a:pt x="258101" y="150415"/>
                      <a:pt x="256776" y="147232"/>
                      <a:pt x="254434" y="144872"/>
                    </a:cubicBezTo>
                    <a:lnTo>
                      <a:pt x="236909" y="127346"/>
                    </a:lnTo>
                    <a:lnTo>
                      <a:pt x="237206" y="126795"/>
                    </a:lnTo>
                    <a:cubicBezTo>
                      <a:pt x="239436" y="122191"/>
                      <a:pt x="240596" y="117143"/>
                      <a:pt x="240601" y="112028"/>
                    </a:cubicBezTo>
                    <a:cubicBezTo>
                      <a:pt x="240672" y="93022"/>
                      <a:pt x="225322" y="77556"/>
                      <a:pt x="206315" y="77485"/>
                    </a:cubicBezTo>
                    <a:cubicBezTo>
                      <a:pt x="187309" y="77414"/>
                      <a:pt x="171844" y="92765"/>
                      <a:pt x="171773" y="111771"/>
                    </a:cubicBezTo>
                    <a:cubicBezTo>
                      <a:pt x="171702" y="130777"/>
                      <a:pt x="187052" y="146242"/>
                      <a:pt x="206058" y="146313"/>
                    </a:cubicBezTo>
                    <a:cubicBezTo>
                      <a:pt x="210034" y="146328"/>
                      <a:pt x="213983" y="145653"/>
                      <a:pt x="217729" y="144320"/>
                    </a:cubicBezTo>
                    <a:lnTo>
                      <a:pt x="218238" y="144320"/>
                    </a:lnTo>
                    <a:lnTo>
                      <a:pt x="233047" y="159087"/>
                    </a:lnTo>
                    <a:lnTo>
                      <a:pt x="233047" y="208098"/>
                    </a:lnTo>
                    <a:lnTo>
                      <a:pt x="201731" y="208098"/>
                    </a:lnTo>
                    <a:lnTo>
                      <a:pt x="201731" y="242809"/>
                    </a:lnTo>
                    <a:lnTo>
                      <a:pt x="149113" y="242809"/>
                    </a:lnTo>
                    <a:lnTo>
                      <a:pt x="134303" y="228000"/>
                    </a:lnTo>
                    <a:lnTo>
                      <a:pt x="134303" y="227491"/>
                    </a:lnTo>
                    <a:cubicBezTo>
                      <a:pt x="135633" y="223832"/>
                      <a:pt x="136308" y="219968"/>
                      <a:pt x="136298" y="216076"/>
                    </a:cubicBezTo>
                    <a:cubicBezTo>
                      <a:pt x="136498" y="197094"/>
                      <a:pt x="121272" y="181544"/>
                      <a:pt x="102291" y="181344"/>
                    </a:cubicBezTo>
                    <a:cubicBezTo>
                      <a:pt x="83309" y="181144"/>
                      <a:pt x="67759" y="196369"/>
                      <a:pt x="67559" y="215351"/>
                    </a:cubicBezTo>
                    <a:cubicBezTo>
                      <a:pt x="67359" y="234333"/>
                      <a:pt x="82584" y="249883"/>
                      <a:pt x="101566" y="250083"/>
                    </a:cubicBezTo>
                    <a:cubicBezTo>
                      <a:pt x="106860" y="250139"/>
                      <a:pt x="112095" y="248971"/>
                      <a:pt x="116863" y="246671"/>
                    </a:cubicBezTo>
                    <a:lnTo>
                      <a:pt x="117415" y="246416"/>
                    </a:lnTo>
                    <a:lnTo>
                      <a:pt x="134898" y="263941"/>
                    </a:lnTo>
                    <a:cubicBezTo>
                      <a:pt x="137265" y="266267"/>
                      <a:pt x="140447" y="267577"/>
                      <a:pt x="143766" y="267591"/>
                    </a:cubicBezTo>
                    <a:lnTo>
                      <a:pt x="201731" y="267591"/>
                    </a:lnTo>
                    <a:lnTo>
                      <a:pt x="201731" y="288596"/>
                    </a:lnTo>
                    <a:lnTo>
                      <a:pt x="65942" y="288596"/>
                    </a:lnTo>
                    <a:lnTo>
                      <a:pt x="65942" y="288044"/>
                    </a:lnTo>
                    <a:cubicBezTo>
                      <a:pt x="58724" y="270538"/>
                      <a:pt x="38681" y="262197"/>
                      <a:pt x="21175" y="269416"/>
                    </a:cubicBezTo>
                    <a:cubicBezTo>
                      <a:pt x="3668" y="276634"/>
                      <a:pt x="-4672" y="296677"/>
                      <a:pt x="2546" y="314183"/>
                    </a:cubicBezTo>
                    <a:cubicBezTo>
                      <a:pt x="9765" y="331690"/>
                      <a:pt x="29808" y="340030"/>
                      <a:pt x="47314" y="332811"/>
                    </a:cubicBezTo>
                    <a:cubicBezTo>
                      <a:pt x="55756" y="329331"/>
                      <a:pt x="62461" y="322626"/>
                      <a:pt x="65942" y="314183"/>
                    </a:cubicBezTo>
                    <a:lnTo>
                      <a:pt x="65942" y="313674"/>
                    </a:lnTo>
                    <a:lnTo>
                      <a:pt x="201731" y="313674"/>
                    </a:lnTo>
                    <a:lnTo>
                      <a:pt x="201731" y="334636"/>
                    </a:lnTo>
                    <a:lnTo>
                      <a:pt x="173555" y="334636"/>
                    </a:lnTo>
                    <a:cubicBezTo>
                      <a:pt x="170230" y="334662"/>
                      <a:pt x="167047" y="335987"/>
                      <a:pt x="164686" y="338328"/>
                    </a:cubicBezTo>
                    <a:lnTo>
                      <a:pt x="145633" y="357381"/>
                    </a:lnTo>
                    <a:lnTo>
                      <a:pt x="145124" y="357169"/>
                    </a:lnTo>
                    <a:cubicBezTo>
                      <a:pt x="127524" y="350184"/>
                      <a:pt x="107593" y="358789"/>
                      <a:pt x="100608" y="376390"/>
                    </a:cubicBezTo>
                    <a:cubicBezTo>
                      <a:pt x="93622" y="393990"/>
                      <a:pt x="102228" y="413921"/>
                      <a:pt x="119828" y="420906"/>
                    </a:cubicBezTo>
                    <a:cubicBezTo>
                      <a:pt x="137429" y="427891"/>
                      <a:pt x="157360" y="419286"/>
                      <a:pt x="164345" y="401685"/>
                    </a:cubicBezTo>
                    <a:cubicBezTo>
                      <a:pt x="167709" y="393207"/>
                      <a:pt x="167557" y="383738"/>
                      <a:pt x="163922" y="375373"/>
                    </a:cubicBezTo>
                    <a:lnTo>
                      <a:pt x="163668" y="374821"/>
                    </a:lnTo>
                    <a:lnTo>
                      <a:pt x="178774" y="359757"/>
                    </a:lnTo>
                    <a:lnTo>
                      <a:pt x="201731" y="359757"/>
                    </a:lnTo>
                    <a:lnTo>
                      <a:pt x="201731" y="387382"/>
                    </a:lnTo>
                    <a:lnTo>
                      <a:pt x="232496" y="387382"/>
                    </a:lnTo>
                    <a:lnTo>
                      <a:pt x="232496" y="446110"/>
                    </a:lnTo>
                    <a:lnTo>
                      <a:pt x="217686" y="460920"/>
                    </a:lnTo>
                    <a:lnTo>
                      <a:pt x="217177" y="460920"/>
                    </a:lnTo>
                    <a:cubicBezTo>
                      <a:pt x="213506" y="459577"/>
                      <a:pt x="209629" y="458888"/>
                      <a:pt x="205720" y="458883"/>
                    </a:cubicBezTo>
                    <a:cubicBezTo>
                      <a:pt x="186760" y="458863"/>
                      <a:pt x="171375" y="474217"/>
                      <a:pt x="171355" y="493176"/>
                    </a:cubicBezTo>
                    <a:cubicBezTo>
                      <a:pt x="171335" y="512136"/>
                      <a:pt x="186688" y="527521"/>
                      <a:pt x="205648" y="527541"/>
                    </a:cubicBezTo>
                    <a:cubicBezTo>
                      <a:pt x="224607" y="527561"/>
                      <a:pt x="239993" y="512208"/>
                      <a:pt x="240013" y="493248"/>
                    </a:cubicBezTo>
                    <a:cubicBezTo>
                      <a:pt x="240018" y="488111"/>
                      <a:pt x="238871" y="483038"/>
                      <a:pt x="236654" y="478403"/>
                    </a:cubicBezTo>
                    <a:lnTo>
                      <a:pt x="236357" y="477851"/>
                    </a:lnTo>
                    <a:lnTo>
                      <a:pt x="253882" y="460368"/>
                    </a:lnTo>
                    <a:cubicBezTo>
                      <a:pt x="256224" y="458008"/>
                      <a:pt x="257549" y="454825"/>
                      <a:pt x="257574" y="451500"/>
                    </a:cubicBezTo>
                    <a:lnTo>
                      <a:pt x="257574" y="387849"/>
                    </a:lnTo>
                    <a:lnTo>
                      <a:pt x="279215" y="387849"/>
                    </a:lnTo>
                    <a:lnTo>
                      <a:pt x="279215" y="529239"/>
                    </a:lnTo>
                    <a:lnTo>
                      <a:pt x="278664" y="529493"/>
                    </a:lnTo>
                    <a:cubicBezTo>
                      <a:pt x="261183" y="536711"/>
                      <a:pt x="252863" y="556734"/>
                      <a:pt x="260082" y="574215"/>
                    </a:cubicBezTo>
                    <a:cubicBezTo>
                      <a:pt x="267300" y="591696"/>
                      <a:pt x="287322" y="600015"/>
                      <a:pt x="304803" y="592797"/>
                    </a:cubicBezTo>
                    <a:cubicBezTo>
                      <a:pt x="322284" y="585579"/>
                      <a:pt x="330604" y="565557"/>
                      <a:pt x="323386" y="548076"/>
                    </a:cubicBezTo>
                    <a:cubicBezTo>
                      <a:pt x="319909" y="539657"/>
                      <a:pt x="313222" y="532970"/>
                      <a:pt x="304803" y="529493"/>
                    </a:cubicBezTo>
                    <a:lnTo>
                      <a:pt x="304294" y="529493"/>
                    </a:lnTo>
                    <a:lnTo>
                      <a:pt x="304294" y="387509"/>
                    </a:lnTo>
                    <a:lnTo>
                      <a:pt x="324535" y="387509"/>
                    </a:lnTo>
                    <a:lnTo>
                      <a:pt x="324535" y="416152"/>
                    </a:lnTo>
                    <a:cubicBezTo>
                      <a:pt x="324523" y="419484"/>
                      <a:pt x="325854" y="422681"/>
                      <a:pt x="328227" y="425021"/>
                    </a:cubicBezTo>
                    <a:lnTo>
                      <a:pt x="345752" y="442546"/>
                    </a:lnTo>
                    <a:lnTo>
                      <a:pt x="345455" y="443098"/>
                    </a:lnTo>
                    <a:cubicBezTo>
                      <a:pt x="343225" y="447701"/>
                      <a:pt x="342065" y="452749"/>
                      <a:pt x="342060" y="457865"/>
                    </a:cubicBezTo>
                    <a:cubicBezTo>
                      <a:pt x="342037" y="476824"/>
                      <a:pt x="357387" y="492213"/>
                      <a:pt x="376347" y="492236"/>
                    </a:cubicBezTo>
                    <a:cubicBezTo>
                      <a:pt x="395306" y="492260"/>
                      <a:pt x="410695" y="476909"/>
                      <a:pt x="410718" y="457950"/>
                    </a:cubicBezTo>
                    <a:cubicBezTo>
                      <a:pt x="410742" y="438990"/>
                      <a:pt x="395391" y="423601"/>
                      <a:pt x="376432" y="423578"/>
                    </a:cubicBezTo>
                    <a:cubicBezTo>
                      <a:pt x="376418" y="423578"/>
                      <a:pt x="376403" y="423578"/>
                      <a:pt x="376389" y="423578"/>
                    </a:cubicBezTo>
                    <a:cubicBezTo>
                      <a:pt x="372481" y="423583"/>
                      <a:pt x="368603" y="424272"/>
                      <a:pt x="364932" y="425615"/>
                    </a:cubicBezTo>
                    <a:lnTo>
                      <a:pt x="364423" y="425615"/>
                    </a:lnTo>
                    <a:lnTo>
                      <a:pt x="364041" y="425233"/>
                    </a:lnTo>
                    <a:lnTo>
                      <a:pt x="349614" y="410805"/>
                    </a:lnTo>
                    <a:lnTo>
                      <a:pt x="349614" y="387339"/>
                    </a:lnTo>
                    <a:lnTo>
                      <a:pt x="381312" y="387339"/>
                    </a:lnTo>
                    <a:lnTo>
                      <a:pt x="381312" y="359715"/>
                    </a:lnTo>
                    <a:lnTo>
                      <a:pt x="415259" y="359715"/>
                    </a:lnTo>
                    <a:lnTo>
                      <a:pt x="430365" y="374779"/>
                    </a:lnTo>
                    <a:lnTo>
                      <a:pt x="430111" y="375331"/>
                    </a:lnTo>
                    <a:cubicBezTo>
                      <a:pt x="422564" y="392698"/>
                      <a:pt x="430525" y="412894"/>
                      <a:pt x="447892" y="420441"/>
                    </a:cubicBezTo>
                    <a:cubicBezTo>
                      <a:pt x="465260" y="427988"/>
                      <a:pt x="485456" y="420027"/>
                      <a:pt x="493003" y="402659"/>
                    </a:cubicBezTo>
                    <a:cubicBezTo>
                      <a:pt x="500550" y="385292"/>
                      <a:pt x="492588" y="365096"/>
                      <a:pt x="475221" y="357549"/>
                    </a:cubicBezTo>
                    <a:cubicBezTo>
                      <a:pt x="466856" y="353914"/>
                      <a:pt x="457387" y="353762"/>
                      <a:pt x="448909" y="357126"/>
                    </a:cubicBezTo>
                    <a:lnTo>
                      <a:pt x="448400" y="357339"/>
                    </a:lnTo>
                    <a:lnTo>
                      <a:pt x="429347" y="338286"/>
                    </a:lnTo>
                    <a:cubicBezTo>
                      <a:pt x="427002" y="335921"/>
                      <a:pt x="423809" y="334591"/>
                      <a:pt x="420478" y="334594"/>
                    </a:cubicBezTo>
                    <a:lnTo>
                      <a:pt x="381227" y="334594"/>
                    </a:lnTo>
                    <a:lnTo>
                      <a:pt x="381227" y="313632"/>
                    </a:lnTo>
                    <a:lnTo>
                      <a:pt x="528133" y="313632"/>
                    </a:lnTo>
                    <a:lnTo>
                      <a:pt x="528345" y="314141"/>
                    </a:lnTo>
                    <a:cubicBezTo>
                      <a:pt x="535624" y="331647"/>
                      <a:pt x="555717" y="339938"/>
                      <a:pt x="573223" y="332660"/>
                    </a:cubicBezTo>
                    <a:cubicBezTo>
                      <a:pt x="585992" y="327351"/>
                      <a:pt x="594328" y="314899"/>
                      <a:pt x="594373" y="301071"/>
                    </a:cubicBezTo>
                    <a:close/>
                    <a:moveTo>
                      <a:pt x="483196" y="201351"/>
                    </a:moveTo>
                    <a:cubicBezTo>
                      <a:pt x="491234" y="201328"/>
                      <a:pt x="497769" y="207825"/>
                      <a:pt x="497793" y="215864"/>
                    </a:cubicBezTo>
                    <a:cubicBezTo>
                      <a:pt x="497816" y="223902"/>
                      <a:pt x="491319" y="230437"/>
                      <a:pt x="483281" y="230461"/>
                    </a:cubicBezTo>
                    <a:cubicBezTo>
                      <a:pt x="475242" y="230484"/>
                      <a:pt x="468707" y="223987"/>
                      <a:pt x="468683" y="215948"/>
                    </a:cubicBezTo>
                    <a:cubicBezTo>
                      <a:pt x="468683" y="215934"/>
                      <a:pt x="468683" y="215920"/>
                      <a:pt x="468683" y="215906"/>
                    </a:cubicBezTo>
                    <a:cubicBezTo>
                      <a:pt x="468706" y="207894"/>
                      <a:pt x="475183" y="201398"/>
                      <a:pt x="483196" y="201351"/>
                    </a:cubicBezTo>
                    <a:close/>
                    <a:moveTo>
                      <a:pt x="379317" y="139567"/>
                    </a:moveTo>
                    <a:cubicBezTo>
                      <a:pt x="387356" y="139567"/>
                      <a:pt x="393872" y="146084"/>
                      <a:pt x="393872" y="154122"/>
                    </a:cubicBezTo>
                    <a:cubicBezTo>
                      <a:pt x="393872" y="162161"/>
                      <a:pt x="387356" y="168677"/>
                      <a:pt x="379317" y="168677"/>
                    </a:cubicBezTo>
                    <a:cubicBezTo>
                      <a:pt x="371279" y="168677"/>
                      <a:pt x="364762" y="162161"/>
                      <a:pt x="364762" y="154122"/>
                    </a:cubicBezTo>
                    <a:cubicBezTo>
                      <a:pt x="364786" y="146093"/>
                      <a:pt x="371289" y="139591"/>
                      <a:pt x="379317" y="139567"/>
                    </a:cubicBezTo>
                    <a:close/>
                    <a:moveTo>
                      <a:pt x="205974" y="126540"/>
                    </a:moveTo>
                    <a:cubicBezTo>
                      <a:pt x="197936" y="126540"/>
                      <a:pt x="191420" y="120024"/>
                      <a:pt x="191420" y="111985"/>
                    </a:cubicBezTo>
                    <a:cubicBezTo>
                      <a:pt x="191420" y="103947"/>
                      <a:pt x="197936" y="97430"/>
                      <a:pt x="205975" y="97430"/>
                    </a:cubicBezTo>
                    <a:cubicBezTo>
                      <a:pt x="214013" y="97430"/>
                      <a:pt x="220529" y="103947"/>
                      <a:pt x="220529" y="111985"/>
                    </a:cubicBezTo>
                    <a:cubicBezTo>
                      <a:pt x="220529" y="111999"/>
                      <a:pt x="220529" y="112014"/>
                      <a:pt x="220529" y="112028"/>
                    </a:cubicBezTo>
                    <a:cubicBezTo>
                      <a:pt x="220529" y="120043"/>
                      <a:pt x="214032" y="126540"/>
                      <a:pt x="206017" y="126540"/>
                    </a:cubicBezTo>
                    <a:cubicBezTo>
                      <a:pt x="206003" y="126540"/>
                      <a:pt x="205989" y="126540"/>
                      <a:pt x="205974" y="126540"/>
                    </a:cubicBezTo>
                    <a:close/>
                    <a:moveTo>
                      <a:pt x="102181" y="230419"/>
                    </a:moveTo>
                    <a:cubicBezTo>
                      <a:pt x="94143" y="230419"/>
                      <a:pt x="87626" y="223902"/>
                      <a:pt x="87626" y="215864"/>
                    </a:cubicBezTo>
                    <a:cubicBezTo>
                      <a:pt x="87626" y="207825"/>
                      <a:pt x="94143" y="201309"/>
                      <a:pt x="102181" y="201309"/>
                    </a:cubicBezTo>
                    <a:cubicBezTo>
                      <a:pt x="110219" y="201309"/>
                      <a:pt x="116736" y="207825"/>
                      <a:pt x="116736" y="215864"/>
                    </a:cubicBezTo>
                    <a:cubicBezTo>
                      <a:pt x="116736" y="215878"/>
                      <a:pt x="116736" y="215892"/>
                      <a:pt x="116736" y="215906"/>
                    </a:cubicBezTo>
                    <a:cubicBezTo>
                      <a:pt x="116736" y="223921"/>
                      <a:pt x="110238" y="230419"/>
                      <a:pt x="102223" y="230419"/>
                    </a:cubicBezTo>
                    <a:cubicBezTo>
                      <a:pt x="102209" y="230419"/>
                      <a:pt x="102195" y="230419"/>
                      <a:pt x="102181" y="230419"/>
                    </a:cubicBezTo>
                    <a:close/>
                    <a:moveTo>
                      <a:pt x="33905" y="315796"/>
                    </a:moveTo>
                    <a:cubicBezTo>
                      <a:pt x="25866" y="315796"/>
                      <a:pt x="19350" y="309279"/>
                      <a:pt x="19350" y="301241"/>
                    </a:cubicBezTo>
                    <a:cubicBezTo>
                      <a:pt x="19350" y="293202"/>
                      <a:pt x="25866" y="286686"/>
                      <a:pt x="33905" y="286686"/>
                    </a:cubicBezTo>
                    <a:cubicBezTo>
                      <a:pt x="41943" y="286686"/>
                      <a:pt x="48460" y="293202"/>
                      <a:pt x="48460" y="301241"/>
                    </a:cubicBezTo>
                    <a:cubicBezTo>
                      <a:pt x="48436" y="309270"/>
                      <a:pt x="41933" y="315772"/>
                      <a:pt x="33905" y="315796"/>
                    </a:cubicBezTo>
                    <a:close/>
                    <a:moveTo>
                      <a:pt x="132394" y="403676"/>
                    </a:moveTo>
                    <a:cubicBezTo>
                      <a:pt x="124356" y="403700"/>
                      <a:pt x="117820" y="397202"/>
                      <a:pt x="117797" y="389164"/>
                    </a:cubicBezTo>
                    <a:cubicBezTo>
                      <a:pt x="117773" y="381126"/>
                      <a:pt x="124271" y="374590"/>
                      <a:pt x="132309" y="374567"/>
                    </a:cubicBezTo>
                    <a:cubicBezTo>
                      <a:pt x="140348" y="374544"/>
                      <a:pt x="146883" y="381041"/>
                      <a:pt x="146906" y="389079"/>
                    </a:cubicBezTo>
                    <a:cubicBezTo>
                      <a:pt x="146906" y="389108"/>
                      <a:pt x="146906" y="389136"/>
                      <a:pt x="146906" y="389164"/>
                    </a:cubicBezTo>
                    <a:cubicBezTo>
                      <a:pt x="146883" y="397169"/>
                      <a:pt x="140399" y="403653"/>
                      <a:pt x="132394" y="403676"/>
                    </a:cubicBezTo>
                    <a:close/>
                    <a:moveTo>
                      <a:pt x="205635" y="507555"/>
                    </a:moveTo>
                    <a:cubicBezTo>
                      <a:pt x="197597" y="507555"/>
                      <a:pt x="191080" y="501038"/>
                      <a:pt x="191080" y="493000"/>
                    </a:cubicBezTo>
                    <a:cubicBezTo>
                      <a:pt x="191080" y="484962"/>
                      <a:pt x="197597" y="478445"/>
                      <a:pt x="205635" y="478445"/>
                    </a:cubicBezTo>
                    <a:cubicBezTo>
                      <a:pt x="213674" y="478445"/>
                      <a:pt x="220190" y="484962"/>
                      <a:pt x="220190" y="493000"/>
                    </a:cubicBezTo>
                    <a:cubicBezTo>
                      <a:pt x="220190" y="493014"/>
                      <a:pt x="220190" y="493028"/>
                      <a:pt x="220190" y="493042"/>
                    </a:cubicBezTo>
                    <a:cubicBezTo>
                      <a:pt x="220166" y="501064"/>
                      <a:pt x="213657" y="507555"/>
                      <a:pt x="205635" y="507555"/>
                    </a:cubicBezTo>
                    <a:close/>
                    <a:moveTo>
                      <a:pt x="376304" y="443352"/>
                    </a:moveTo>
                    <a:cubicBezTo>
                      <a:pt x="384343" y="443352"/>
                      <a:pt x="390859" y="449869"/>
                      <a:pt x="390859" y="457907"/>
                    </a:cubicBezTo>
                    <a:cubicBezTo>
                      <a:pt x="390859" y="465946"/>
                      <a:pt x="384343" y="472462"/>
                      <a:pt x="376304" y="472462"/>
                    </a:cubicBezTo>
                    <a:cubicBezTo>
                      <a:pt x="368266" y="472462"/>
                      <a:pt x="361750" y="465946"/>
                      <a:pt x="361750" y="457907"/>
                    </a:cubicBezTo>
                    <a:cubicBezTo>
                      <a:pt x="361750" y="457893"/>
                      <a:pt x="361750" y="457879"/>
                      <a:pt x="361750" y="457865"/>
                    </a:cubicBezTo>
                    <a:cubicBezTo>
                      <a:pt x="361773" y="449843"/>
                      <a:pt x="368283" y="443352"/>
                      <a:pt x="376304" y="443352"/>
                    </a:cubicBezTo>
                    <a:close/>
                    <a:moveTo>
                      <a:pt x="276882" y="34034"/>
                    </a:moveTo>
                    <a:cubicBezTo>
                      <a:pt x="276858" y="25996"/>
                      <a:pt x="283356" y="19460"/>
                      <a:pt x="291394" y="19437"/>
                    </a:cubicBezTo>
                    <a:cubicBezTo>
                      <a:pt x="299432" y="19413"/>
                      <a:pt x="305968" y="25911"/>
                      <a:pt x="305991" y="33949"/>
                    </a:cubicBezTo>
                    <a:cubicBezTo>
                      <a:pt x="306015" y="41988"/>
                      <a:pt x="299517" y="48523"/>
                      <a:pt x="291479" y="48546"/>
                    </a:cubicBezTo>
                    <a:cubicBezTo>
                      <a:pt x="291465" y="48546"/>
                      <a:pt x="291451" y="48546"/>
                      <a:pt x="291437" y="48546"/>
                    </a:cubicBezTo>
                    <a:cubicBezTo>
                      <a:pt x="283424" y="48523"/>
                      <a:pt x="276928" y="42046"/>
                      <a:pt x="276882" y="34034"/>
                    </a:cubicBezTo>
                    <a:close/>
                    <a:moveTo>
                      <a:pt x="305949" y="560894"/>
                    </a:moveTo>
                    <a:cubicBezTo>
                      <a:pt x="305972" y="568933"/>
                      <a:pt x="299475" y="575468"/>
                      <a:pt x="291436" y="575492"/>
                    </a:cubicBezTo>
                    <a:cubicBezTo>
                      <a:pt x="283398" y="575515"/>
                      <a:pt x="276863" y="569018"/>
                      <a:pt x="276839" y="560979"/>
                    </a:cubicBezTo>
                    <a:cubicBezTo>
                      <a:pt x="276816" y="552941"/>
                      <a:pt x="283313" y="546405"/>
                      <a:pt x="291352" y="546382"/>
                    </a:cubicBezTo>
                    <a:cubicBezTo>
                      <a:pt x="291380" y="546382"/>
                      <a:pt x="291408" y="546382"/>
                      <a:pt x="291436" y="546382"/>
                    </a:cubicBezTo>
                    <a:cubicBezTo>
                      <a:pt x="299442" y="546405"/>
                      <a:pt x="305926" y="552889"/>
                      <a:pt x="305949" y="560894"/>
                    </a:cubicBezTo>
                    <a:close/>
                    <a:moveTo>
                      <a:pt x="355979" y="362261"/>
                    </a:moveTo>
                    <a:lnTo>
                      <a:pt x="226894" y="362261"/>
                    </a:lnTo>
                    <a:lnTo>
                      <a:pt x="226894" y="233177"/>
                    </a:lnTo>
                    <a:lnTo>
                      <a:pt x="355979" y="233177"/>
                    </a:lnTo>
                    <a:close/>
                    <a:moveTo>
                      <a:pt x="461597" y="374609"/>
                    </a:moveTo>
                    <a:cubicBezTo>
                      <a:pt x="469635" y="374586"/>
                      <a:pt x="476171" y="381083"/>
                      <a:pt x="476194" y="389122"/>
                    </a:cubicBezTo>
                    <a:cubicBezTo>
                      <a:pt x="476217" y="397160"/>
                      <a:pt x="469720" y="403695"/>
                      <a:pt x="461682" y="403719"/>
                    </a:cubicBezTo>
                    <a:cubicBezTo>
                      <a:pt x="453643" y="403742"/>
                      <a:pt x="447108" y="397245"/>
                      <a:pt x="447084" y="389206"/>
                    </a:cubicBezTo>
                    <a:cubicBezTo>
                      <a:pt x="447084" y="389192"/>
                      <a:pt x="447084" y="389178"/>
                      <a:pt x="447084" y="389164"/>
                    </a:cubicBezTo>
                    <a:cubicBezTo>
                      <a:pt x="447108" y="381152"/>
                      <a:pt x="453585" y="374656"/>
                      <a:pt x="461597" y="374609"/>
                    </a:cubicBezTo>
                    <a:close/>
                    <a:moveTo>
                      <a:pt x="560044" y="315796"/>
                    </a:moveTo>
                    <a:cubicBezTo>
                      <a:pt x="552005" y="315796"/>
                      <a:pt x="545489" y="309279"/>
                      <a:pt x="545489" y="301241"/>
                    </a:cubicBezTo>
                    <a:cubicBezTo>
                      <a:pt x="545489" y="293202"/>
                      <a:pt x="552005" y="286686"/>
                      <a:pt x="560044" y="286686"/>
                    </a:cubicBezTo>
                    <a:cubicBezTo>
                      <a:pt x="568082" y="286686"/>
                      <a:pt x="574598" y="293202"/>
                      <a:pt x="574598" y="301241"/>
                    </a:cubicBezTo>
                    <a:cubicBezTo>
                      <a:pt x="574598" y="309279"/>
                      <a:pt x="568082" y="315796"/>
                      <a:pt x="560044" y="315796"/>
                    </a:cubicBez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99" name="Freihandform: Form 198">
              <a:extLst>
                <a:ext uri="{FF2B5EF4-FFF2-40B4-BE49-F238E27FC236}">
                  <a16:creationId xmlns:a16="http://schemas.microsoft.com/office/drawing/2014/main" id="{A649DEF2-0A40-494D-BFF6-2281CEB600F6}"/>
                </a:ext>
              </a:extLst>
            </p:cNvPr>
            <p:cNvSpPr/>
            <p:nvPr/>
          </p:nvSpPr>
          <p:spPr>
            <a:xfrm>
              <a:off x="982367" y="2843331"/>
              <a:ext cx="68530" cy="68530"/>
            </a:xfrm>
            <a:custGeom>
              <a:avLst/>
              <a:gdLst>
                <a:gd name="connsiteX0" fmla="*/ 0 w 68530"/>
                <a:gd name="connsiteY0" fmla="*/ 0 h 68530"/>
                <a:gd name="connsiteX1" fmla="*/ 68531 w 68530"/>
                <a:gd name="connsiteY1" fmla="*/ 0 h 68530"/>
                <a:gd name="connsiteX2" fmla="*/ 68531 w 68530"/>
                <a:gd name="connsiteY2" fmla="*/ 68531 h 68530"/>
                <a:gd name="connsiteX3" fmla="*/ 0 w 68530"/>
                <a:gd name="connsiteY3" fmla="*/ 68531 h 6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530" h="68530">
                  <a:moveTo>
                    <a:pt x="0" y="0"/>
                  </a:moveTo>
                  <a:lnTo>
                    <a:pt x="68531" y="0"/>
                  </a:lnTo>
                  <a:lnTo>
                    <a:pt x="68531" y="68531"/>
                  </a:lnTo>
                  <a:lnTo>
                    <a:pt x="0" y="68531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0" name="Freihandform: Form 199">
              <a:extLst>
                <a:ext uri="{FF2B5EF4-FFF2-40B4-BE49-F238E27FC236}">
                  <a16:creationId xmlns:a16="http://schemas.microsoft.com/office/drawing/2014/main" id="{A63FEC9A-2C8D-483D-88E5-A148D256B06D}"/>
                </a:ext>
              </a:extLst>
            </p:cNvPr>
            <p:cNvSpPr/>
            <p:nvPr/>
          </p:nvSpPr>
          <p:spPr>
            <a:xfrm>
              <a:off x="725166" y="2579807"/>
              <a:ext cx="594423" cy="595447"/>
            </a:xfrm>
            <a:custGeom>
              <a:avLst/>
              <a:gdLst>
                <a:gd name="connsiteX0" fmla="*/ 594373 w 594423"/>
                <a:gd name="connsiteY0" fmla="*/ 301241 h 595447"/>
                <a:gd name="connsiteX1" fmla="*/ 559639 w 594423"/>
                <a:gd name="connsiteY1" fmla="*/ 267321 h 595447"/>
                <a:gd name="connsiteX2" fmla="*/ 528473 w 594423"/>
                <a:gd name="connsiteY2" fmla="*/ 288171 h 595447"/>
                <a:gd name="connsiteX3" fmla="*/ 528261 w 594423"/>
                <a:gd name="connsiteY3" fmla="*/ 288723 h 595447"/>
                <a:gd name="connsiteX4" fmla="*/ 381227 w 594423"/>
                <a:gd name="connsiteY4" fmla="*/ 288723 h 595447"/>
                <a:gd name="connsiteX5" fmla="*/ 381227 w 594423"/>
                <a:gd name="connsiteY5" fmla="*/ 267888 h 595447"/>
                <a:gd name="connsiteX6" fmla="*/ 441483 w 594423"/>
                <a:gd name="connsiteY6" fmla="*/ 267888 h 595447"/>
                <a:gd name="connsiteX7" fmla="*/ 450352 w 594423"/>
                <a:gd name="connsiteY7" fmla="*/ 264238 h 595447"/>
                <a:gd name="connsiteX8" fmla="*/ 467877 w 594423"/>
                <a:gd name="connsiteY8" fmla="*/ 246713 h 595447"/>
                <a:gd name="connsiteX9" fmla="*/ 468429 w 594423"/>
                <a:gd name="connsiteY9" fmla="*/ 246968 h 595447"/>
                <a:gd name="connsiteX10" fmla="*/ 483196 w 594423"/>
                <a:gd name="connsiteY10" fmla="*/ 250363 h 595447"/>
                <a:gd name="connsiteX11" fmla="*/ 517738 w 594423"/>
                <a:gd name="connsiteY11" fmla="*/ 216077 h 595447"/>
                <a:gd name="connsiteX12" fmla="*/ 483453 w 594423"/>
                <a:gd name="connsiteY12" fmla="*/ 181535 h 595447"/>
                <a:gd name="connsiteX13" fmla="*/ 448910 w 594423"/>
                <a:gd name="connsiteY13" fmla="*/ 215820 h 595447"/>
                <a:gd name="connsiteX14" fmla="*/ 450903 w 594423"/>
                <a:gd name="connsiteY14" fmla="*/ 227491 h 595447"/>
                <a:gd name="connsiteX15" fmla="*/ 450903 w 594423"/>
                <a:gd name="connsiteY15" fmla="*/ 228000 h 595447"/>
                <a:gd name="connsiteX16" fmla="*/ 436136 w 594423"/>
                <a:gd name="connsiteY16" fmla="*/ 242809 h 595447"/>
                <a:gd name="connsiteX17" fmla="*/ 380972 w 594423"/>
                <a:gd name="connsiteY17" fmla="*/ 242809 h 595447"/>
                <a:gd name="connsiteX18" fmla="*/ 380972 w 594423"/>
                <a:gd name="connsiteY18" fmla="*/ 208098 h 595447"/>
                <a:gd name="connsiteX19" fmla="*/ 350250 w 594423"/>
                <a:gd name="connsiteY19" fmla="*/ 208098 h 595447"/>
                <a:gd name="connsiteX20" fmla="*/ 350250 w 594423"/>
                <a:gd name="connsiteY20" fmla="*/ 200418 h 595447"/>
                <a:gd name="connsiteX21" fmla="*/ 365781 w 594423"/>
                <a:gd name="connsiteY21" fmla="*/ 184887 h 595447"/>
                <a:gd name="connsiteX22" fmla="*/ 366290 w 594423"/>
                <a:gd name="connsiteY22" fmla="*/ 184887 h 595447"/>
                <a:gd name="connsiteX23" fmla="*/ 379529 w 594423"/>
                <a:gd name="connsiteY23" fmla="*/ 187560 h 595447"/>
                <a:gd name="connsiteX24" fmla="*/ 413816 w 594423"/>
                <a:gd name="connsiteY24" fmla="*/ 153274 h 595447"/>
                <a:gd name="connsiteX25" fmla="*/ 379529 w 594423"/>
                <a:gd name="connsiteY25" fmla="*/ 118987 h 595447"/>
                <a:gd name="connsiteX26" fmla="*/ 345243 w 594423"/>
                <a:gd name="connsiteY26" fmla="*/ 153274 h 595447"/>
                <a:gd name="connsiteX27" fmla="*/ 347831 w 594423"/>
                <a:gd name="connsiteY27" fmla="*/ 166386 h 595447"/>
                <a:gd name="connsiteX28" fmla="*/ 348086 w 594423"/>
                <a:gd name="connsiteY28" fmla="*/ 166895 h 595447"/>
                <a:gd name="connsiteX29" fmla="*/ 328863 w 594423"/>
                <a:gd name="connsiteY29" fmla="*/ 186117 h 595447"/>
                <a:gd name="connsiteX30" fmla="*/ 325172 w 594423"/>
                <a:gd name="connsiteY30" fmla="*/ 194986 h 595447"/>
                <a:gd name="connsiteX31" fmla="*/ 325171 w 594423"/>
                <a:gd name="connsiteY31" fmla="*/ 207716 h 595447"/>
                <a:gd name="connsiteX32" fmla="*/ 304167 w 594423"/>
                <a:gd name="connsiteY32" fmla="*/ 207716 h 595447"/>
                <a:gd name="connsiteX33" fmla="*/ 304167 w 594423"/>
                <a:gd name="connsiteY33" fmla="*/ 65944 h 595447"/>
                <a:gd name="connsiteX34" fmla="*/ 304718 w 594423"/>
                <a:gd name="connsiteY34" fmla="*/ 65944 h 595447"/>
                <a:gd name="connsiteX35" fmla="*/ 323347 w 594423"/>
                <a:gd name="connsiteY35" fmla="*/ 21177 h 595447"/>
                <a:gd name="connsiteX36" fmla="*/ 278579 w 594423"/>
                <a:gd name="connsiteY36" fmla="*/ 2549 h 595447"/>
                <a:gd name="connsiteX37" fmla="*/ 259951 w 594423"/>
                <a:gd name="connsiteY37" fmla="*/ 47316 h 595447"/>
                <a:gd name="connsiteX38" fmla="*/ 278579 w 594423"/>
                <a:gd name="connsiteY38" fmla="*/ 65944 h 595447"/>
                <a:gd name="connsiteX39" fmla="*/ 279088 w 594423"/>
                <a:gd name="connsiteY39" fmla="*/ 65944 h 595447"/>
                <a:gd name="connsiteX40" fmla="*/ 279088 w 594423"/>
                <a:gd name="connsiteY40" fmla="*/ 207929 h 595447"/>
                <a:gd name="connsiteX41" fmla="*/ 258126 w 594423"/>
                <a:gd name="connsiteY41" fmla="*/ 207929 h 595447"/>
                <a:gd name="connsiteX42" fmla="*/ 258126 w 594423"/>
                <a:gd name="connsiteY42" fmla="*/ 153740 h 595447"/>
                <a:gd name="connsiteX43" fmla="*/ 254434 w 594423"/>
                <a:gd name="connsiteY43" fmla="*/ 144872 h 595447"/>
                <a:gd name="connsiteX44" fmla="*/ 236909 w 594423"/>
                <a:gd name="connsiteY44" fmla="*/ 127346 h 595447"/>
                <a:gd name="connsiteX45" fmla="*/ 237206 w 594423"/>
                <a:gd name="connsiteY45" fmla="*/ 126795 h 595447"/>
                <a:gd name="connsiteX46" fmla="*/ 240601 w 594423"/>
                <a:gd name="connsiteY46" fmla="*/ 112028 h 595447"/>
                <a:gd name="connsiteX47" fmla="*/ 206315 w 594423"/>
                <a:gd name="connsiteY47" fmla="*/ 77485 h 595447"/>
                <a:gd name="connsiteX48" fmla="*/ 171773 w 594423"/>
                <a:gd name="connsiteY48" fmla="*/ 111771 h 595447"/>
                <a:gd name="connsiteX49" fmla="*/ 206058 w 594423"/>
                <a:gd name="connsiteY49" fmla="*/ 146313 h 595447"/>
                <a:gd name="connsiteX50" fmla="*/ 217729 w 594423"/>
                <a:gd name="connsiteY50" fmla="*/ 144320 h 595447"/>
                <a:gd name="connsiteX51" fmla="*/ 218238 w 594423"/>
                <a:gd name="connsiteY51" fmla="*/ 144320 h 595447"/>
                <a:gd name="connsiteX52" fmla="*/ 233047 w 594423"/>
                <a:gd name="connsiteY52" fmla="*/ 159087 h 595447"/>
                <a:gd name="connsiteX53" fmla="*/ 233047 w 594423"/>
                <a:gd name="connsiteY53" fmla="*/ 208098 h 595447"/>
                <a:gd name="connsiteX54" fmla="*/ 201731 w 594423"/>
                <a:gd name="connsiteY54" fmla="*/ 208098 h 595447"/>
                <a:gd name="connsiteX55" fmla="*/ 201731 w 594423"/>
                <a:gd name="connsiteY55" fmla="*/ 242809 h 595447"/>
                <a:gd name="connsiteX56" fmla="*/ 149113 w 594423"/>
                <a:gd name="connsiteY56" fmla="*/ 242809 h 595447"/>
                <a:gd name="connsiteX57" fmla="*/ 134303 w 594423"/>
                <a:gd name="connsiteY57" fmla="*/ 228000 h 595447"/>
                <a:gd name="connsiteX58" fmla="*/ 134303 w 594423"/>
                <a:gd name="connsiteY58" fmla="*/ 227491 h 595447"/>
                <a:gd name="connsiteX59" fmla="*/ 136298 w 594423"/>
                <a:gd name="connsiteY59" fmla="*/ 216076 h 595447"/>
                <a:gd name="connsiteX60" fmla="*/ 102291 w 594423"/>
                <a:gd name="connsiteY60" fmla="*/ 181344 h 595447"/>
                <a:gd name="connsiteX61" fmla="*/ 67559 w 594423"/>
                <a:gd name="connsiteY61" fmla="*/ 215351 h 595447"/>
                <a:gd name="connsiteX62" fmla="*/ 101566 w 594423"/>
                <a:gd name="connsiteY62" fmla="*/ 250083 h 595447"/>
                <a:gd name="connsiteX63" fmla="*/ 116863 w 594423"/>
                <a:gd name="connsiteY63" fmla="*/ 246671 h 595447"/>
                <a:gd name="connsiteX64" fmla="*/ 117415 w 594423"/>
                <a:gd name="connsiteY64" fmla="*/ 246416 h 595447"/>
                <a:gd name="connsiteX65" fmla="*/ 134898 w 594423"/>
                <a:gd name="connsiteY65" fmla="*/ 263941 h 595447"/>
                <a:gd name="connsiteX66" fmla="*/ 143766 w 594423"/>
                <a:gd name="connsiteY66" fmla="*/ 267591 h 595447"/>
                <a:gd name="connsiteX67" fmla="*/ 201731 w 594423"/>
                <a:gd name="connsiteY67" fmla="*/ 267591 h 595447"/>
                <a:gd name="connsiteX68" fmla="*/ 201731 w 594423"/>
                <a:gd name="connsiteY68" fmla="*/ 288596 h 595447"/>
                <a:gd name="connsiteX69" fmla="*/ 65942 w 594423"/>
                <a:gd name="connsiteY69" fmla="*/ 288596 h 595447"/>
                <a:gd name="connsiteX70" fmla="*/ 65942 w 594423"/>
                <a:gd name="connsiteY70" fmla="*/ 288044 h 595447"/>
                <a:gd name="connsiteX71" fmla="*/ 21175 w 594423"/>
                <a:gd name="connsiteY71" fmla="*/ 269416 h 595447"/>
                <a:gd name="connsiteX72" fmla="*/ 2546 w 594423"/>
                <a:gd name="connsiteY72" fmla="*/ 314183 h 595447"/>
                <a:gd name="connsiteX73" fmla="*/ 47314 w 594423"/>
                <a:gd name="connsiteY73" fmla="*/ 332811 h 595447"/>
                <a:gd name="connsiteX74" fmla="*/ 65942 w 594423"/>
                <a:gd name="connsiteY74" fmla="*/ 314183 h 595447"/>
                <a:gd name="connsiteX75" fmla="*/ 65942 w 594423"/>
                <a:gd name="connsiteY75" fmla="*/ 313674 h 595447"/>
                <a:gd name="connsiteX76" fmla="*/ 201731 w 594423"/>
                <a:gd name="connsiteY76" fmla="*/ 313674 h 595447"/>
                <a:gd name="connsiteX77" fmla="*/ 201731 w 594423"/>
                <a:gd name="connsiteY77" fmla="*/ 334636 h 595447"/>
                <a:gd name="connsiteX78" fmla="*/ 173555 w 594423"/>
                <a:gd name="connsiteY78" fmla="*/ 334636 h 595447"/>
                <a:gd name="connsiteX79" fmla="*/ 164686 w 594423"/>
                <a:gd name="connsiteY79" fmla="*/ 338328 h 595447"/>
                <a:gd name="connsiteX80" fmla="*/ 145633 w 594423"/>
                <a:gd name="connsiteY80" fmla="*/ 357381 h 595447"/>
                <a:gd name="connsiteX81" fmla="*/ 145124 w 594423"/>
                <a:gd name="connsiteY81" fmla="*/ 357169 h 595447"/>
                <a:gd name="connsiteX82" fmla="*/ 100608 w 594423"/>
                <a:gd name="connsiteY82" fmla="*/ 376390 h 595447"/>
                <a:gd name="connsiteX83" fmla="*/ 119828 w 594423"/>
                <a:gd name="connsiteY83" fmla="*/ 420906 h 595447"/>
                <a:gd name="connsiteX84" fmla="*/ 164345 w 594423"/>
                <a:gd name="connsiteY84" fmla="*/ 401685 h 595447"/>
                <a:gd name="connsiteX85" fmla="*/ 163922 w 594423"/>
                <a:gd name="connsiteY85" fmla="*/ 375373 h 595447"/>
                <a:gd name="connsiteX86" fmla="*/ 163668 w 594423"/>
                <a:gd name="connsiteY86" fmla="*/ 374821 h 595447"/>
                <a:gd name="connsiteX87" fmla="*/ 178774 w 594423"/>
                <a:gd name="connsiteY87" fmla="*/ 359757 h 595447"/>
                <a:gd name="connsiteX88" fmla="*/ 201731 w 594423"/>
                <a:gd name="connsiteY88" fmla="*/ 359757 h 595447"/>
                <a:gd name="connsiteX89" fmla="*/ 201731 w 594423"/>
                <a:gd name="connsiteY89" fmla="*/ 387382 h 595447"/>
                <a:gd name="connsiteX90" fmla="*/ 232496 w 594423"/>
                <a:gd name="connsiteY90" fmla="*/ 387382 h 595447"/>
                <a:gd name="connsiteX91" fmla="*/ 232496 w 594423"/>
                <a:gd name="connsiteY91" fmla="*/ 446110 h 595447"/>
                <a:gd name="connsiteX92" fmla="*/ 217686 w 594423"/>
                <a:gd name="connsiteY92" fmla="*/ 460920 h 595447"/>
                <a:gd name="connsiteX93" fmla="*/ 217177 w 594423"/>
                <a:gd name="connsiteY93" fmla="*/ 460920 h 595447"/>
                <a:gd name="connsiteX94" fmla="*/ 205720 w 594423"/>
                <a:gd name="connsiteY94" fmla="*/ 458883 h 595447"/>
                <a:gd name="connsiteX95" fmla="*/ 171355 w 594423"/>
                <a:gd name="connsiteY95" fmla="*/ 493176 h 595447"/>
                <a:gd name="connsiteX96" fmla="*/ 205648 w 594423"/>
                <a:gd name="connsiteY96" fmla="*/ 527541 h 595447"/>
                <a:gd name="connsiteX97" fmla="*/ 240013 w 594423"/>
                <a:gd name="connsiteY97" fmla="*/ 493248 h 595447"/>
                <a:gd name="connsiteX98" fmla="*/ 236654 w 594423"/>
                <a:gd name="connsiteY98" fmla="*/ 478403 h 595447"/>
                <a:gd name="connsiteX99" fmla="*/ 236357 w 594423"/>
                <a:gd name="connsiteY99" fmla="*/ 477851 h 595447"/>
                <a:gd name="connsiteX100" fmla="*/ 253882 w 594423"/>
                <a:gd name="connsiteY100" fmla="*/ 460368 h 595447"/>
                <a:gd name="connsiteX101" fmla="*/ 257574 w 594423"/>
                <a:gd name="connsiteY101" fmla="*/ 451500 h 595447"/>
                <a:gd name="connsiteX102" fmla="*/ 257574 w 594423"/>
                <a:gd name="connsiteY102" fmla="*/ 387849 h 595447"/>
                <a:gd name="connsiteX103" fmla="*/ 279215 w 594423"/>
                <a:gd name="connsiteY103" fmla="*/ 387849 h 595447"/>
                <a:gd name="connsiteX104" fmla="*/ 279215 w 594423"/>
                <a:gd name="connsiteY104" fmla="*/ 529239 h 595447"/>
                <a:gd name="connsiteX105" fmla="*/ 278664 w 594423"/>
                <a:gd name="connsiteY105" fmla="*/ 529493 h 595447"/>
                <a:gd name="connsiteX106" fmla="*/ 260082 w 594423"/>
                <a:gd name="connsiteY106" fmla="*/ 574215 h 595447"/>
                <a:gd name="connsiteX107" fmla="*/ 304803 w 594423"/>
                <a:gd name="connsiteY107" fmla="*/ 592797 h 595447"/>
                <a:gd name="connsiteX108" fmla="*/ 323386 w 594423"/>
                <a:gd name="connsiteY108" fmla="*/ 548076 h 595447"/>
                <a:gd name="connsiteX109" fmla="*/ 304803 w 594423"/>
                <a:gd name="connsiteY109" fmla="*/ 529493 h 595447"/>
                <a:gd name="connsiteX110" fmla="*/ 304294 w 594423"/>
                <a:gd name="connsiteY110" fmla="*/ 529493 h 595447"/>
                <a:gd name="connsiteX111" fmla="*/ 304294 w 594423"/>
                <a:gd name="connsiteY111" fmla="*/ 387509 h 595447"/>
                <a:gd name="connsiteX112" fmla="*/ 324535 w 594423"/>
                <a:gd name="connsiteY112" fmla="*/ 387509 h 595447"/>
                <a:gd name="connsiteX113" fmla="*/ 324535 w 594423"/>
                <a:gd name="connsiteY113" fmla="*/ 416152 h 595447"/>
                <a:gd name="connsiteX114" fmla="*/ 328227 w 594423"/>
                <a:gd name="connsiteY114" fmla="*/ 425021 h 595447"/>
                <a:gd name="connsiteX115" fmla="*/ 345752 w 594423"/>
                <a:gd name="connsiteY115" fmla="*/ 442546 h 595447"/>
                <a:gd name="connsiteX116" fmla="*/ 345455 w 594423"/>
                <a:gd name="connsiteY116" fmla="*/ 443098 h 595447"/>
                <a:gd name="connsiteX117" fmla="*/ 342060 w 594423"/>
                <a:gd name="connsiteY117" fmla="*/ 457865 h 595447"/>
                <a:gd name="connsiteX118" fmla="*/ 376347 w 594423"/>
                <a:gd name="connsiteY118" fmla="*/ 492236 h 595447"/>
                <a:gd name="connsiteX119" fmla="*/ 410718 w 594423"/>
                <a:gd name="connsiteY119" fmla="*/ 457950 h 595447"/>
                <a:gd name="connsiteX120" fmla="*/ 376432 w 594423"/>
                <a:gd name="connsiteY120" fmla="*/ 423578 h 595447"/>
                <a:gd name="connsiteX121" fmla="*/ 376389 w 594423"/>
                <a:gd name="connsiteY121" fmla="*/ 423578 h 595447"/>
                <a:gd name="connsiteX122" fmla="*/ 364932 w 594423"/>
                <a:gd name="connsiteY122" fmla="*/ 425615 h 595447"/>
                <a:gd name="connsiteX123" fmla="*/ 364423 w 594423"/>
                <a:gd name="connsiteY123" fmla="*/ 425615 h 595447"/>
                <a:gd name="connsiteX124" fmla="*/ 364041 w 594423"/>
                <a:gd name="connsiteY124" fmla="*/ 425233 h 595447"/>
                <a:gd name="connsiteX125" fmla="*/ 349614 w 594423"/>
                <a:gd name="connsiteY125" fmla="*/ 410805 h 595447"/>
                <a:gd name="connsiteX126" fmla="*/ 349614 w 594423"/>
                <a:gd name="connsiteY126" fmla="*/ 387339 h 595447"/>
                <a:gd name="connsiteX127" fmla="*/ 381312 w 594423"/>
                <a:gd name="connsiteY127" fmla="*/ 387339 h 595447"/>
                <a:gd name="connsiteX128" fmla="*/ 381312 w 594423"/>
                <a:gd name="connsiteY128" fmla="*/ 359715 h 595447"/>
                <a:gd name="connsiteX129" fmla="*/ 415259 w 594423"/>
                <a:gd name="connsiteY129" fmla="*/ 359715 h 595447"/>
                <a:gd name="connsiteX130" fmla="*/ 430365 w 594423"/>
                <a:gd name="connsiteY130" fmla="*/ 374779 h 595447"/>
                <a:gd name="connsiteX131" fmla="*/ 430111 w 594423"/>
                <a:gd name="connsiteY131" fmla="*/ 375331 h 595447"/>
                <a:gd name="connsiteX132" fmla="*/ 447892 w 594423"/>
                <a:gd name="connsiteY132" fmla="*/ 420441 h 595447"/>
                <a:gd name="connsiteX133" fmla="*/ 493003 w 594423"/>
                <a:gd name="connsiteY133" fmla="*/ 402659 h 595447"/>
                <a:gd name="connsiteX134" fmla="*/ 475221 w 594423"/>
                <a:gd name="connsiteY134" fmla="*/ 357549 h 595447"/>
                <a:gd name="connsiteX135" fmla="*/ 448909 w 594423"/>
                <a:gd name="connsiteY135" fmla="*/ 357126 h 595447"/>
                <a:gd name="connsiteX136" fmla="*/ 448400 w 594423"/>
                <a:gd name="connsiteY136" fmla="*/ 357339 h 595447"/>
                <a:gd name="connsiteX137" fmla="*/ 429347 w 594423"/>
                <a:gd name="connsiteY137" fmla="*/ 338286 h 595447"/>
                <a:gd name="connsiteX138" fmla="*/ 420478 w 594423"/>
                <a:gd name="connsiteY138" fmla="*/ 334594 h 595447"/>
                <a:gd name="connsiteX139" fmla="*/ 381227 w 594423"/>
                <a:gd name="connsiteY139" fmla="*/ 334594 h 595447"/>
                <a:gd name="connsiteX140" fmla="*/ 381227 w 594423"/>
                <a:gd name="connsiteY140" fmla="*/ 313632 h 595447"/>
                <a:gd name="connsiteX141" fmla="*/ 528133 w 594423"/>
                <a:gd name="connsiteY141" fmla="*/ 313632 h 595447"/>
                <a:gd name="connsiteX142" fmla="*/ 528345 w 594423"/>
                <a:gd name="connsiteY142" fmla="*/ 314141 h 595447"/>
                <a:gd name="connsiteX143" fmla="*/ 573223 w 594423"/>
                <a:gd name="connsiteY143" fmla="*/ 332660 h 595447"/>
                <a:gd name="connsiteX144" fmla="*/ 594373 w 594423"/>
                <a:gd name="connsiteY144" fmla="*/ 301071 h 595447"/>
                <a:gd name="connsiteX145" fmla="*/ 483196 w 594423"/>
                <a:gd name="connsiteY145" fmla="*/ 201351 h 595447"/>
                <a:gd name="connsiteX146" fmla="*/ 497793 w 594423"/>
                <a:gd name="connsiteY146" fmla="*/ 215864 h 595447"/>
                <a:gd name="connsiteX147" fmla="*/ 483281 w 594423"/>
                <a:gd name="connsiteY147" fmla="*/ 230461 h 595447"/>
                <a:gd name="connsiteX148" fmla="*/ 468683 w 594423"/>
                <a:gd name="connsiteY148" fmla="*/ 215948 h 595447"/>
                <a:gd name="connsiteX149" fmla="*/ 468683 w 594423"/>
                <a:gd name="connsiteY149" fmla="*/ 215906 h 595447"/>
                <a:gd name="connsiteX150" fmla="*/ 483196 w 594423"/>
                <a:gd name="connsiteY150" fmla="*/ 201351 h 595447"/>
                <a:gd name="connsiteX151" fmla="*/ 379317 w 594423"/>
                <a:gd name="connsiteY151" fmla="*/ 139567 h 595447"/>
                <a:gd name="connsiteX152" fmla="*/ 393872 w 594423"/>
                <a:gd name="connsiteY152" fmla="*/ 154122 h 595447"/>
                <a:gd name="connsiteX153" fmla="*/ 379317 w 594423"/>
                <a:gd name="connsiteY153" fmla="*/ 168677 h 595447"/>
                <a:gd name="connsiteX154" fmla="*/ 364762 w 594423"/>
                <a:gd name="connsiteY154" fmla="*/ 154122 h 595447"/>
                <a:gd name="connsiteX155" fmla="*/ 379317 w 594423"/>
                <a:gd name="connsiteY155" fmla="*/ 139567 h 595447"/>
                <a:gd name="connsiteX156" fmla="*/ 205974 w 594423"/>
                <a:gd name="connsiteY156" fmla="*/ 126540 h 595447"/>
                <a:gd name="connsiteX157" fmla="*/ 191420 w 594423"/>
                <a:gd name="connsiteY157" fmla="*/ 111985 h 595447"/>
                <a:gd name="connsiteX158" fmla="*/ 205975 w 594423"/>
                <a:gd name="connsiteY158" fmla="*/ 97430 h 595447"/>
                <a:gd name="connsiteX159" fmla="*/ 220529 w 594423"/>
                <a:gd name="connsiteY159" fmla="*/ 111985 h 595447"/>
                <a:gd name="connsiteX160" fmla="*/ 220529 w 594423"/>
                <a:gd name="connsiteY160" fmla="*/ 112028 h 595447"/>
                <a:gd name="connsiteX161" fmla="*/ 206017 w 594423"/>
                <a:gd name="connsiteY161" fmla="*/ 126540 h 595447"/>
                <a:gd name="connsiteX162" fmla="*/ 205974 w 594423"/>
                <a:gd name="connsiteY162" fmla="*/ 126540 h 595447"/>
                <a:gd name="connsiteX163" fmla="*/ 102181 w 594423"/>
                <a:gd name="connsiteY163" fmla="*/ 230419 h 595447"/>
                <a:gd name="connsiteX164" fmla="*/ 87626 w 594423"/>
                <a:gd name="connsiteY164" fmla="*/ 215864 h 595447"/>
                <a:gd name="connsiteX165" fmla="*/ 102181 w 594423"/>
                <a:gd name="connsiteY165" fmla="*/ 201309 h 595447"/>
                <a:gd name="connsiteX166" fmla="*/ 116736 w 594423"/>
                <a:gd name="connsiteY166" fmla="*/ 215864 h 595447"/>
                <a:gd name="connsiteX167" fmla="*/ 116736 w 594423"/>
                <a:gd name="connsiteY167" fmla="*/ 215906 h 595447"/>
                <a:gd name="connsiteX168" fmla="*/ 102223 w 594423"/>
                <a:gd name="connsiteY168" fmla="*/ 230419 h 595447"/>
                <a:gd name="connsiteX169" fmla="*/ 102181 w 594423"/>
                <a:gd name="connsiteY169" fmla="*/ 230419 h 595447"/>
                <a:gd name="connsiteX170" fmla="*/ 33905 w 594423"/>
                <a:gd name="connsiteY170" fmla="*/ 315796 h 595447"/>
                <a:gd name="connsiteX171" fmla="*/ 19350 w 594423"/>
                <a:gd name="connsiteY171" fmla="*/ 301241 h 595447"/>
                <a:gd name="connsiteX172" fmla="*/ 33905 w 594423"/>
                <a:gd name="connsiteY172" fmla="*/ 286686 h 595447"/>
                <a:gd name="connsiteX173" fmla="*/ 48460 w 594423"/>
                <a:gd name="connsiteY173" fmla="*/ 301241 h 595447"/>
                <a:gd name="connsiteX174" fmla="*/ 33905 w 594423"/>
                <a:gd name="connsiteY174" fmla="*/ 315796 h 595447"/>
                <a:gd name="connsiteX175" fmla="*/ 132394 w 594423"/>
                <a:gd name="connsiteY175" fmla="*/ 403676 h 595447"/>
                <a:gd name="connsiteX176" fmla="*/ 117797 w 594423"/>
                <a:gd name="connsiteY176" fmla="*/ 389164 h 595447"/>
                <a:gd name="connsiteX177" fmla="*/ 132309 w 594423"/>
                <a:gd name="connsiteY177" fmla="*/ 374567 h 595447"/>
                <a:gd name="connsiteX178" fmla="*/ 146906 w 594423"/>
                <a:gd name="connsiteY178" fmla="*/ 389079 h 595447"/>
                <a:gd name="connsiteX179" fmla="*/ 146906 w 594423"/>
                <a:gd name="connsiteY179" fmla="*/ 389164 h 595447"/>
                <a:gd name="connsiteX180" fmla="*/ 132394 w 594423"/>
                <a:gd name="connsiteY180" fmla="*/ 403676 h 595447"/>
                <a:gd name="connsiteX181" fmla="*/ 205635 w 594423"/>
                <a:gd name="connsiteY181" fmla="*/ 507555 h 595447"/>
                <a:gd name="connsiteX182" fmla="*/ 191080 w 594423"/>
                <a:gd name="connsiteY182" fmla="*/ 493000 h 595447"/>
                <a:gd name="connsiteX183" fmla="*/ 205635 w 594423"/>
                <a:gd name="connsiteY183" fmla="*/ 478445 h 595447"/>
                <a:gd name="connsiteX184" fmla="*/ 220190 w 594423"/>
                <a:gd name="connsiteY184" fmla="*/ 493000 h 595447"/>
                <a:gd name="connsiteX185" fmla="*/ 220190 w 594423"/>
                <a:gd name="connsiteY185" fmla="*/ 493042 h 595447"/>
                <a:gd name="connsiteX186" fmla="*/ 205635 w 594423"/>
                <a:gd name="connsiteY186" fmla="*/ 507555 h 595447"/>
                <a:gd name="connsiteX187" fmla="*/ 376304 w 594423"/>
                <a:gd name="connsiteY187" fmla="*/ 443352 h 595447"/>
                <a:gd name="connsiteX188" fmla="*/ 390859 w 594423"/>
                <a:gd name="connsiteY188" fmla="*/ 457907 h 595447"/>
                <a:gd name="connsiteX189" fmla="*/ 376304 w 594423"/>
                <a:gd name="connsiteY189" fmla="*/ 472462 h 595447"/>
                <a:gd name="connsiteX190" fmla="*/ 361750 w 594423"/>
                <a:gd name="connsiteY190" fmla="*/ 457907 h 595447"/>
                <a:gd name="connsiteX191" fmla="*/ 361750 w 594423"/>
                <a:gd name="connsiteY191" fmla="*/ 457865 h 595447"/>
                <a:gd name="connsiteX192" fmla="*/ 376304 w 594423"/>
                <a:gd name="connsiteY192" fmla="*/ 443352 h 595447"/>
                <a:gd name="connsiteX193" fmla="*/ 276882 w 594423"/>
                <a:gd name="connsiteY193" fmla="*/ 34034 h 595447"/>
                <a:gd name="connsiteX194" fmla="*/ 291394 w 594423"/>
                <a:gd name="connsiteY194" fmla="*/ 19437 h 595447"/>
                <a:gd name="connsiteX195" fmla="*/ 305991 w 594423"/>
                <a:gd name="connsiteY195" fmla="*/ 33949 h 595447"/>
                <a:gd name="connsiteX196" fmla="*/ 291479 w 594423"/>
                <a:gd name="connsiteY196" fmla="*/ 48546 h 595447"/>
                <a:gd name="connsiteX197" fmla="*/ 291437 w 594423"/>
                <a:gd name="connsiteY197" fmla="*/ 48546 h 595447"/>
                <a:gd name="connsiteX198" fmla="*/ 276882 w 594423"/>
                <a:gd name="connsiteY198" fmla="*/ 34034 h 595447"/>
                <a:gd name="connsiteX199" fmla="*/ 305949 w 594423"/>
                <a:gd name="connsiteY199" fmla="*/ 560894 h 595447"/>
                <a:gd name="connsiteX200" fmla="*/ 291436 w 594423"/>
                <a:gd name="connsiteY200" fmla="*/ 575492 h 595447"/>
                <a:gd name="connsiteX201" fmla="*/ 276839 w 594423"/>
                <a:gd name="connsiteY201" fmla="*/ 560979 h 595447"/>
                <a:gd name="connsiteX202" fmla="*/ 291352 w 594423"/>
                <a:gd name="connsiteY202" fmla="*/ 546382 h 595447"/>
                <a:gd name="connsiteX203" fmla="*/ 291436 w 594423"/>
                <a:gd name="connsiteY203" fmla="*/ 546382 h 595447"/>
                <a:gd name="connsiteX204" fmla="*/ 305949 w 594423"/>
                <a:gd name="connsiteY204" fmla="*/ 560894 h 595447"/>
                <a:gd name="connsiteX205" fmla="*/ 355979 w 594423"/>
                <a:gd name="connsiteY205" fmla="*/ 362261 h 595447"/>
                <a:gd name="connsiteX206" fmla="*/ 226894 w 594423"/>
                <a:gd name="connsiteY206" fmla="*/ 362261 h 595447"/>
                <a:gd name="connsiteX207" fmla="*/ 226894 w 594423"/>
                <a:gd name="connsiteY207" fmla="*/ 233177 h 595447"/>
                <a:gd name="connsiteX208" fmla="*/ 355979 w 594423"/>
                <a:gd name="connsiteY208" fmla="*/ 233177 h 595447"/>
                <a:gd name="connsiteX209" fmla="*/ 461597 w 594423"/>
                <a:gd name="connsiteY209" fmla="*/ 374609 h 595447"/>
                <a:gd name="connsiteX210" fmla="*/ 476194 w 594423"/>
                <a:gd name="connsiteY210" fmla="*/ 389122 h 595447"/>
                <a:gd name="connsiteX211" fmla="*/ 461682 w 594423"/>
                <a:gd name="connsiteY211" fmla="*/ 403719 h 595447"/>
                <a:gd name="connsiteX212" fmla="*/ 447084 w 594423"/>
                <a:gd name="connsiteY212" fmla="*/ 389206 h 595447"/>
                <a:gd name="connsiteX213" fmla="*/ 447084 w 594423"/>
                <a:gd name="connsiteY213" fmla="*/ 389164 h 595447"/>
                <a:gd name="connsiteX214" fmla="*/ 461597 w 594423"/>
                <a:gd name="connsiteY214" fmla="*/ 374609 h 595447"/>
                <a:gd name="connsiteX215" fmla="*/ 560044 w 594423"/>
                <a:gd name="connsiteY215" fmla="*/ 315796 h 595447"/>
                <a:gd name="connsiteX216" fmla="*/ 545489 w 594423"/>
                <a:gd name="connsiteY216" fmla="*/ 301241 h 595447"/>
                <a:gd name="connsiteX217" fmla="*/ 560044 w 594423"/>
                <a:gd name="connsiteY217" fmla="*/ 286686 h 595447"/>
                <a:gd name="connsiteX218" fmla="*/ 574598 w 594423"/>
                <a:gd name="connsiteY218" fmla="*/ 301241 h 595447"/>
                <a:gd name="connsiteX219" fmla="*/ 560044 w 594423"/>
                <a:gd name="connsiteY219" fmla="*/ 315796 h 595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</a:cxnLst>
              <a:rect l="l" t="t" r="r" b="b"/>
              <a:pathLst>
                <a:path w="594423" h="595447">
                  <a:moveTo>
                    <a:pt x="594373" y="301241"/>
                  </a:moveTo>
                  <a:cubicBezTo>
                    <a:pt x="594148" y="282283"/>
                    <a:pt x="578597" y="267096"/>
                    <a:pt x="559639" y="267321"/>
                  </a:cubicBezTo>
                  <a:cubicBezTo>
                    <a:pt x="546037" y="267482"/>
                    <a:pt x="533813" y="275660"/>
                    <a:pt x="528473" y="288171"/>
                  </a:cubicBezTo>
                  <a:lnTo>
                    <a:pt x="528261" y="288723"/>
                  </a:lnTo>
                  <a:lnTo>
                    <a:pt x="381227" y="288723"/>
                  </a:lnTo>
                  <a:lnTo>
                    <a:pt x="381227" y="267888"/>
                  </a:lnTo>
                  <a:lnTo>
                    <a:pt x="441483" y="267888"/>
                  </a:lnTo>
                  <a:cubicBezTo>
                    <a:pt x="444802" y="267874"/>
                    <a:pt x="447984" y="266564"/>
                    <a:pt x="450352" y="264238"/>
                  </a:cubicBezTo>
                  <a:lnTo>
                    <a:pt x="467877" y="246713"/>
                  </a:lnTo>
                  <a:lnTo>
                    <a:pt x="468429" y="246968"/>
                  </a:lnTo>
                  <a:cubicBezTo>
                    <a:pt x="473032" y="249198"/>
                    <a:pt x="478080" y="250358"/>
                    <a:pt x="483196" y="250363"/>
                  </a:cubicBezTo>
                  <a:cubicBezTo>
                    <a:pt x="502202" y="250434"/>
                    <a:pt x="517667" y="235084"/>
                    <a:pt x="517738" y="216077"/>
                  </a:cubicBezTo>
                  <a:cubicBezTo>
                    <a:pt x="517809" y="197071"/>
                    <a:pt x="502459" y="181606"/>
                    <a:pt x="483453" y="181535"/>
                  </a:cubicBezTo>
                  <a:cubicBezTo>
                    <a:pt x="464447" y="181464"/>
                    <a:pt x="448981" y="196814"/>
                    <a:pt x="448910" y="215820"/>
                  </a:cubicBezTo>
                  <a:cubicBezTo>
                    <a:pt x="448896" y="219796"/>
                    <a:pt x="449570" y="223745"/>
                    <a:pt x="450903" y="227491"/>
                  </a:cubicBezTo>
                  <a:lnTo>
                    <a:pt x="450903" y="228000"/>
                  </a:lnTo>
                  <a:lnTo>
                    <a:pt x="436136" y="242809"/>
                  </a:lnTo>
                  <a:lnTo>
                    <a:pt x="380972" y="242809"/>
                  </a:lnTo>
                  <a:lnTo>
                    <a:pt x="380972" y="208098"/>
                  </a:lnTo>
                  <a:lnTo>
                    <a:pt x="350250" y="208098"/>
                  </a:lnTo>
                  <a:lnTo>
                    <a:pt x="350250" y="200418"/>
                  </a:lnTo>
                  <a:lnTo>
                    <a:pt x="365781" y="184887"/>
                  </a:lnTo>
                  <a:lnTo>
                    <a:pt x="366290" y="184887"/>
                  </a:lnTo>
                  <a:cubicBezTo>
                    <a:pt x="370477" y="186663"/>
                    <a:pt x="374981" y="187572"/>
                    <a:pt x="379529" y="187560"/>
                  </a:cubicBezTo>
                  <a:cubicBezTo>
                    <a:pt x="398465" y="187560"/>
                    <a:pt x="413816" y="172210"/>
                    <a:pt x="413816" y="153274"/>
                  </a:cubicBezTo>
                  <a:cubicBezTo>
                    <a:pt x="413816" y="134338"/>
                    <a:pt x="398465" y="118987"/>
                    <a:pt x="379529" y="118987"/>
                  </a:cubicBezTo>
                  <a:cubicBezTo>
                    <a:pt x="360593" y="118987"/>
                    <a:pt x="345243" y="134338"/>
                    <a:pt x="345243" y="153274"/>
                  </a:cubicBezTo>
                  <a:cubicBezTo>
                    <a:pt x="345252" y="157770"/>
                    <a:pt x="346131" y="162223"/>
                    <a:pt x="347831" y="166386"/>
                  </a:cubicBezTo>
                  <a:lnTo>
                    <a:pt x="348086" y="166895"/>
                  </a:lnTo>
                  <a:lnTo>
                    <a:pt x="328863" y="186117"/>
                  </a:lnTo>
                  <a:cubicBezTo>
                    <a:pt x="326498" y="188462"/>
                    <a:pt x="325169" y="191656"/>
                    <a:pt x="325172" y="194986"/>
                  </a:cubicBezTo>
                  <a:lnTo>
                    <a:pt x="325171" y="207716"/>
                  </a:lnTo>
                  <a:lnTo>
                    <a:pt x="304167" y="207716"/>
                  </a:lnTo>
                  <a:lnTo>
                    <a:pt x="304167" y="65944"/>
                  </a:lnTo>
                  <a:lnTo>
                    <a:pt x="304718" y="65944"/>
                  </a:lnTo>
                  <a:cubicBezTo>
                    <a:pt x="322225" y="58726"/>
                    <a:pt x="330565" y="38683"/>
                    <a:pt x="323347" y="21177"/>
                  </a:cubicBezTo>
                  <a:cubicBezTo>
                    <a:pt x="316128" y="3671"/>
                    <a:pt x="296085" y="-4670"/>
                    <a:pt x="278579" y="2549"/>
                  </a:cubicBezTo>
                  <a:cubicBezTo>
                    <a:pt x="261073" y="9767"/>
                    <a:pt x="252733" y="29810"/>
                    <a:pt x="259951" y="47316"/>
                  </a:cubicBezTo>
                  <a:cubicBezTo>
                    <a:pt x="263432" y="55759"/>
                    <a:pt x="270137" y="62464"/>
                    <a:pt x="278579" y="65944"/>
                  </a:cubicBezTo>
                  <a:lnTo>
                    <a:pt x="279088" y="65944"/>
                  </a:lnTo>
                  <a:lnTo>
                    <a:pt x="279088" y="207929"/>
                  </a:lnTo>
                  <a:lnTo>
                    <a:pt x="258126" y="207929"/>
                  </a:lnTo>
                  <a:lnTo>
                    <a:pt x="258126" y="153740"/>
                  </a:lnTo>
                  <a:cubicBezTo>
                    <a:pt x="258101" y="150415"/>
                    <a:pt x="256776" y="147232"/>
                    <a:pt x="254434" y="144872"/>
                  </a:cubicBezTo>
                  <a:lnTo>
                    <a:pt x="236909" y="127346"/>
                  </a:lnTo>
                  <a:lnTo>
                    <a:pt x="237206" y="126795"/>
                  </a:lnTo>
                  <a:cubicBezTo>
                    <a:pt x="239436" y="122191"/>
                    <a:pt x="240596" y="117143"/>
                    <a:pt x="240601" y="112028"/>
                  </a:cubicBezTo>
                  <a:cubicBezTo>
                    <a:pt x="240672" y="93022"/>
                    <a:pt x="225322" y="77556"/>
                    <a:pt x="206315" y="77485"/>
                  </a:cubicBezTo>
                  <a:cubicBezTo>
                    <a:pt x="187309" y="77414"/>
                    <a:pt x="171844" y="92765"/>
                    <a:pt x="171773" y="111771"/>
                  </a:cubicBezTo>
                  <a:cubicBezTo>
                    <a:pt x="171702" y="130777"/>
                    <a:pt x="187052" y="146242"/>
                    <a:pt x="206058" y="146313"/>
                  </a:cubicBezTo>
                  <a:cubicBezTo>
                    <a:pt x="210034" y="146328"/>
                    <a:pt x="213983" y="145653"/>
                    <a:pt x="217729" y="144320"/>
                  </a:cubicBezTo>
                  <a:lnTo>
                    <a:pt x="218238" y="144320"/>
                  </a:lnTo>
                  <a:lnTo>
                    <a:pt x="233047" y="159087"/>
                  </a:lnTo>
                  <a:lnTo>
                    <a:pt x="233047" y="208098"/>
                  </a:lnTo>
                  <a:lnTo>
                    <a:pt x="201731" y="208098"/>
                  </a:lnTo>
                  <a:lnTo>
                    <a:pt x="201731" y="242809"/>
                  </a:lnTo>
                  <a:lnTo>
                    <a:pt x="149113" y="242809"/>
                  </a:lnTo>
                  <a:lnTo>
                    <a:pt x="134303" y="228000"/>
                  </a:lnTo>
                  <a:lnTo>
                    <a:pt x="134303" y="227491"/>
                  </a:lnTo>
                  <a:cubicBezTo>
                    <a:pt x="135633" y="223832"/>
                    <a:pt x="136308" y="219968"/>
                    <a:pt x="136298" y="216076"/>
                  </a:cubicBezTo>
                  <a:cubicBezTo>
                    <a:pt x="136498" y="197094"/>
                    <a:pt x="121272" y="181544"/>
                    <a:pt x="102291" y="181344"/>
                  </a:cubicBezTo>
                  <a:cubicBezTo>
                    <a:pt x="83309" y="181144"/>
                    <a:pt x="67759" y="196369"/>
                    <a:pt x="67559" y="215351"/>
                  </a:cubicBezTo>
                  <a:cubicBezTo>
                    <a:pt x="67359" y="234333"/>
                    <a:pt x="82584" y="249883"/>
                    <a:pt x="101566" y="250083"/>
                  </a:cubicBezTo>
                  <a:cubicBezTo>
                    <a:pt x="106860" y="250139"/>
                    <a:pt x="112095" y="248971"/>
                    <a:pt x="116863" y="246671"/>
                  </a:cubicBezTo>
                  <a:lnTo>
                    <a:pt x="117415" y="246416"/>
                  </a:lnTo>
                  <a:lnTo>
                    <a:pt x="134898" y="263941"/>
                  </a:lnTo>
                  <a:cubicBezTo>
                    <a:pt x="137265" y="266267"/>
                    <a:pt x="140447" y="267577"/>
                    <a:pt x="143766" y="267591"/>
                  </a:cubicBezTo>
                  <a:lnTo>
                    <a:pt x="201731" y="267591"/>
                  </a:lnTo>
                  <a:lnTo>
                    <a:pt x="201731" y="288596"/>
                  </a:lnTo>
                  <a:lnTo>
                    <a:pt x="65942" y="288596"/>
                  </a:lnTo>
                  <a:lnTo>
                    <a:pt x="65942" y="288044"/>
                  </a:lnTo>
                  <a:cubicBezTo>
                    <a:pt x="58724" y="270538"/>
                    <a:pt x="38681" y="262197"/>
                    <a:pt x="21175" y="269416"/>
                  </a:cubicBezTo>
                  <a:cubicBezTo>
                    <a:pt x="3668" y="276634"/>
                    <a:pt x="-4672" y="296677"/>
                    <a:pt x="2546" y="314183"/>
                  </a:cubicBezTo>
                  <a:cubicBezTo>
                    <a:pt x="9765" y="331690"/>
                    <a:pt x="29808" y="340030"/>
                    <a:pt x="47314" y="332811"/>
                  </a:cubicBezTo>
                  <a:cubicBezTo>
                    <a:pt x="55756" y="329331"/>
                    <a:pt x="62461" y="322626"/>
                    <a:pt x="65942" y="314183"/>
                  </a:cubicBezTo>
                  <a:lnTo>
                    <a:pt x="65942" y="313674"/>
                  </a:lnTo>
                  <a:lnTo>
                    <a:pt x="201731" y="313674"/>
                  </a:lnTo>
                  <a:lnTo>
                    <a:pt x="201731" y="334636"/>
                  </a:lnTo>
                  <a:lnTo>
                    <a:pt x="173555" y="334636"/>
                  </a:lnTo>
                  <a:cubicBezTo>
                    <a:pt x="170230" y="334662"/>
                    <a:pt x="167047" y="335987"/>
                    <a:pt x="164686" y="338328"/>
                  </a:cubicBezTo>
                  <a:lnTo>
                    <a:pt x="145633" y="357381"/>
                  </a:lnTo>
                  <a:lnTo>
                    <a:pt x="145124" y="357169"/>
                  </a:lnTo>
                  <a:cubicBezTo>
                    <a:pt x="127524" y="350184"/>
                    <a:pt x="107593" y="358789"/>
                    <a:pt x="100608" y="376390"/>
                  </a:cubicBezTo>
                  <a:cubicBezTo>
                    <a:pt x="93622" y="393990"/>
                    <a:pt x="102228" y="413921"/>
                    <a:pt x="119828" y="420906"/>
                  </a:cubicBezTo>
                  <a:cubicBezTo>
                    <a:pt x="137429" y="427891"/>
                    <a:pt x="157360" y="419286"/>
                    <a:pt x="164345" y="401685"/>
                  </a:cubicBezTo>
                  <a:cubicBezTo>
                    <a:pt x="167709" y="393207"/>
                    <a:pt x="167557" y="383738"/>
                    <a:pt x="163922" y="375373"/>
                  </a:cubicBezTo>
                  <a:lnTo>
                    <a:pt x="163668" y="374821"/>
                  </a:lnTo>
                  <a:lnTo>
                    <a:pt x="178774" y="359757"/>
                  </a:lnTo>
                  <a:lnTo>
                    <a:pt x="201731" y="359757"/>
                  </a:lnTo>
                  <a:lnTo>
                    <a:pt x="201731" y="387382"/>
                  </a:lnTo>
                  <a:lnTo>
                    <a:pt x="232496" y="387382"/>
                  </a:lnTo>
                  <a:lnTo>
                    <a:pt x="232496" y="446110"/>
                  </a:lnTo>
                  <a:lnTo>
                    <a:pt x="217686" y="460920"/>
                  </a:lnTo>
                  <a:lnTo>
                    <a:pt x="217177" y="460920"/>
                  </a:lnTo>
                  <a:cubicBezTo>
                    <a:pt x="213506" y="459577"/>
                    <a:pt x="209629" y="458888"/>
                    <a:pt x="205720" y="458883"/>
                  </a:cubicBezTo>
                  <a:cubicBezTo>
                    <a:pt x="186760" y="458863"/>
                    <a:pt x="171375" y="474217"/>
                    <a:pt x="171355" y="493176"/>
                  </a:cubicBezTo>
                  <a:cubicBezTo>
                    <a:pt x="171335" y="512136"/>
                    <a:pt x="186688" y="527521"/>
                    <a:pt x="205648" y="527541"/>
                  </a:cubicBezTo>
                  <a:cubicBezTo>
                    <a:pt x="224607" y="527561"/>
                    <a:pt x="239993" y="512208"/>
                    <a:pt x="240013" y="493248"/>
                  </a:cubicBezTo>
                  <a:cubicBezTo>
                    <a:pt x="240018" y="488111"/>
                    <a:pt x="238871" y="483038"/>
                    <a:pt x="236654" y="478403"/>
                  </a:cubicBezTo>
                  <a:lnTo>
                    <a:pt x="236357" y="477851"/>
                  </a:lnTo>
                  <a:lnTo>
                    <a:pt x="253882" y="460368"/>
                  </a:lnTo>
                  <a:cubicBezTo>
                    <a:pt x="256224" y="458008"/>
                    <a:pt x="257549" y="454825"/>
                    <a:pt x="257574" y="451500"/>
                  </a:cubicBezTo>
                  <a:lnTo>
                    <a:pt x="257574" y="387849"/>
                  </a:lnTo>
                  <a:lnTo>
                    <a:pt x="279215" y="387849"/>
                  </a:lnTo>
                  <a:lnTo>
                    <a:pt x="279215" y="529239"/>
                  </a:lnTo>
                  <a:lnTo>
                    <a:pt x="278664" y="529493"/>
                  </a:lnTo>
                  <a:cubicBezTo>
                    <a:pt x="261183" y="536711"/>
                    <a:pt x="252863" y="556734"/>
                    <a:pt x="260082" y="574215"/>
                  </a:cubicBezTo>
                  <a:cubicBezTo>
                    <a:pt x="267300" y="591696"/>
                    <a:pt x="287322" y="600015"/>
                    <a:pt x="304803" y="592797"/>
                  </a:cubicBezTo>
                  <a:cubicBezTo>
                    <a:pt x="322284" y="585579"/>
                    <a:pt x="330604" y="565557"/>
                    <a:pt x="323386" y="548076"/>
                  </a:cubicBezTo>
                  <a:cubicBezTo>
                    <a:pt x="319909" y="539657"/>
                    <a:pt x="313222" y="532970"/>
                    <a:pt x="304803" y="529493"/>
                  </a:cubicBezTo>
                  <a:lnTo>
                    <a:pt x="304294" y="529493"/>
                  </a:lnTo>
                  <a:lnTo>
                    <a:pt x="304294" y="387509"/>
                  </a:lnTo>
                  <a:lnTo>
                    <a:pt x="324535" y="387509"/>
                  </a:lnTo>
                  <a:lnTo>
                    <a:pt x="324535" y="416152"/>
                  </a:lnTo>
                  <a:cubicBezTo>
                    <a:pt x="324523" y="419484"/>
                    <a:pt x="325854" y="422681"/>
                    <a:pt x="328227" y="425021"/>
                  </a:cubicBezTo>
                  <a:lnTo>
                    <a:pt x="345752" y="442546"/>
                  </a:lnTo>
                  <a:lnTo>
                    <a:pt x="345455" y="443098"/>
                  </a:lnTo>
                  <a:cubicBezTo>
                    <a:pt x="343225" y="447701"/>
                    <a:pt x="342065" y="452749"/>
                    <a:pt x="342060" y="457865"/>
                  </a:cubicBezTo>
                  <a:cubicBezTo>
                    <a:pt x="342037" y="476824"/>
                    <a:pt x="357387" y="492213"/>
                    <a:pt x="376347" y="492236"/>
                  </a:cubicBezTo>
                  <a:cubicBezTo>
                    <a:pt x="395306" y="492260"/>
                    <a:pt x="410695" y="476909"/>
                    <a:pt x="410718" y="457950"/>
                  </a:cubicBezTo>
                  <a:cubicBezTo>
                    <a:pt x="410742" y="438990"/>
                    <a:pt x="395391" y="423601"/>
                    <a:pt x="376432" y="423578"/>
                  </a:cubicBezTo>
                  <a:cubicBezTo>
                    <a:pt x="376418" y="423578"/>
                    <a:pt x="376403" y="423578"/>
                    <a:pt x="376389" y="423578"/>
                  </a:cubicBezTo>
                  <a:cubicBezTo>
                    <a:pt x="372481" y="423583"/>
                    <a:pt x="368603" y="424272"/>
                    <a:pt x="364932" y="425615"/>
                  </a:cubicBezTo>
                  <a:lnTo>
                    <a:pt x="364423" y="425615"/>
                  </a:lnTo>
                  <a:lnTo>
                    <a:pt x="364041" y="425233"/>
                  </a:lnTo>
                  <a:lnTo>
                    <a:pt x="349614" y="410805"/>
                  </a:lnTo>
                  <a:lnTo>
                    <a:pt x="349614" y="387339"/>
                  </a:lnTo>
                  <a:lnTo>
                    <a:pt x="381312" y="387339"/>
                  </a:lnTo>
                  <a:lnTo>
                    <a:pt x="381312" y="359715"/>
                  </a:lnTo>
                  <a:lnTo>
                    <a:pt x="415259" y="359715"/>
                  </a:lnTo>
                  <a:lnTo>
                    <a:pt x="430365" y="374779"/>
                  </a:lnTo>
                  <a:lnTo>
                    <a:pt x="430111" y="375331"/>
                  </a:lnTo>
                  <a:cubicBezTo>
                    <a:pt x="422564" y="392698"/>
                    <a:pt x="430525" y="412894"/>
                    <a:pt x="447892" y="420441"/>
                  </a:cubicBezTo>
                  <a:cubicBezTo>
                    <a:pt x="465260" y="427988"/>
                    <a:pt x="485456" y="420027"/>
                    <a:pt x="493003" y="402659"/>
                  </a:cubicBezTo>
                  <a:cubicBezTo>
                    <a:pt x="500550" y="385292"/>
                    <a:pt x="492588" y="365096"/>
                    <a:pt x="475221" y="357549"/>
                  </a:cubicBezTo>
                  <a:cubicBezTo>
                    <a:pt x="466856" y="353914"/>
                    <a:pt x="457387" y="353762"/>
                    <a:pt x="448909" y="357126"/>
                  </a:cubicBezTo>
                  <a:lnTo>
                    <a:pt x="448400" y="357339"/>
                  </a:lnTo>
                  <a:lnTo>
                    <a:pt x="429347" y="338286"/>
                  </a:lnTo>
                  <a:cubicBezTo>
                    <a:pt x="427002" y="335921"/>
                    <a:pt x="423809" y="334591"/>
                    <a:pt x="420478" y="334594"/>
                  </a:cubicBezTo>
                  <a:lnTo>
                    <a:pt x="381227" y="334594"/>
                  </a:lnTo>
                  <a:lnTo>
                    <a:pt x="381227" y="313632"/>
                  </a:lnTo>
                  <a:lnTo>
                    <a:pt x="528133" y="313632"/>
                  </a:lnTo>
                  <a:lnTo>
                    <a:pt x="528345" y="314141"/>
                  </a:lnTo>
                  <a:cubicBezTo>
                    <a:pt x="535624" y="331647"/>
                    <a:pt x="555717" y="339938"/>
                    <a:pt x="573223" y="332660"/>
                  </a:cubicBezTo>
                  <a:cubicBezTo>
                    <a:pt x="585992" y="327351"/>
                    <a:pt x="594328" y="314899"/>
                    <a:pt x="594373" y="301071"/>
                  </a:cubicBezTo>
                  <a:close/>
                  <a:moveTo>
                    <a:pt x="483196" y="201351"/>
                  </a:moveTo>
                  <a:cubicBezTo>
                    <a:pt x="491234" y="201328"/>
                    <a:pt x="497769" y="207825"/>
                    <a:pt x="497793" y="215864"/>
                  </a:cubicBezTo>
                  <a:cubicBezTo>
                    <a:pt x="497816" y="223902"/>
                    <a:pt x="491319" y="230437"/>
                    <a:pt x="483281" y="230461"/>
                  </a:cubicBezTo>
                  <a:cubicBezTo>
                    <a:pt x="475242" y="230484"/>
                    <a:pt x="468707" y="223987"/>
                    <a:pt x="468683" y="215948"/>
                  </a:cubicBezTo>
                  <a:cubicBezTo>
                    <a:pt x="468683" y="215934"/>
                    <a:pt x="468683" y="215920"/>
                    <a:pt x="468683" y="215906"/>
                  </a:cubicBezTo>
                  <a:cubicBezTo>
                    <a:pt x="468706" y="207894"/>
                    <a:pt x="475183" y="201398"/>
                    <a:pt x="483196" y="201351"/>
                  </a:cubicBezTo>
                  <a:close/>
                  <a:moveTo>
                    <a:pt x="379317" y="139567"/>
                  </a:moveTo>
                  <a:cubicBezTo>
                    <a:pt x="387356" y="139567"/>
                    <a:pt x="393872" y="146084"/>
                    <a:pt x="393872" y="154122"/>
                  </a:cubicBezTo>
                  <a:cubicBezTo>
                    <a:pt x="393872" y="162161"/>
                    <a:pt x="387356" y="168677"/>
                    <a:pt x="379317" y="168677"/>
                  </a:cubicBezTo>
                  <a:cubicBezTo>
                    <a:pt x="371279" y="168677"/>
                    <a:pt x="364762" y="162161"/>
                    <a:pt x="364762" y="154122"/>
                  </a:cubicBezTo>
                  <a:cubicBezTo>
                    <a:pt x="364786" y="146093"/>
                    <a:pt x="371289" y="139591"/>
                    <a:pt x="379317" y="139567"/>
                  </a:cubicBezTo>
                  <a:close/>
                  <a:moveTo>
                    <a:pt x="205974" y="126540"/>
                  </a:moveTo>
                  <a:cubicBezTo>
                    <a:pt x="197936" y="126540"/>
                    <a:pt x="191420" y="120024"/>
                    <a:pt x="191420" y="111985"/>
                  </a:cubicBezTo>
                  <a:cubicBezTo>
                    <a:pt x="191420" y="103947"/>
                    <a:pt x="197936" y="97430"/>
                    <a:pt x="205975" y="97430"/>
                  </a:cubicBezTo>
                  <a:cubicBezTo>
                    <a:pt x="214013" y="97430"/>
                    <a:pt x="220529" y="103947"/>
                    <a:pt x="220529" y="111985"/>
                  </a:cubicBezTo>
                  <a:cubicBezTo>
                    <a:pt x="220529" y="111999"/>
                    <a:pt x="220529" y="112014"/>
                    <a:pt x="220529" y="112028"/>
                  </a:cubicBezTo>
                  <a:cubicBezTo>
                    <a:pt x="220529" y="120043"/>
                    <a:pt x="214032" y="126540"/>
                    <a:pt x="206017" y="126540"/>
                  </a:cubicBezTo>
                  <a:cubicBezTo>
                    <a:pt x="206003" y="126540"/>
                    <a:pt x="205989" y="126540"/>
                    <a:pt x="205974" y="126540"/>
                  </a:cubicBezTo>
                  <a:close/>
                  <a:moveTo>
                    <a:pt x="102181" y="230419"/>
                  </a:moveTo>
                  <a:cubicBezTo>
                    <a:pt x="94143" y="230419"/>
                    <a:pt x="87626" y="223902"/>
                    <a:pt x="87626" y="215864"/>
                  </a:cubicBezTo>
                  <a:cubicBezTo>
                    <a:pt x="87626" y="207825"/>
                    <a:pt x="94143" y="201309"/>
                    <a:pt x="102181" y="201309"/>
                  </a:cubicBezTo>
                  <a:cubicBezTo>
                    <a:pt x="110219" y="201309"/>
                    <a:pt x="116736" y="207825"/>
                    <a:pt x="116736" y="215864"/>
                  </a:cubicBezTo>
                  <a:cubicBezTo>
                    <a:pt x="116736" y="215878"/>
                    <a:pt x="116736" y="215892"/>
                    <a:pt x="116736" y="215906"/>
                  </a:cubicBezTo>
                  <a:cubicBezTo>
                    <a:pt x="116736" y="223921"/>
                    <a:pt x="110238" y="230419"/>
                    <a:pt x="102223" y="230419"/>
                  </a:cubicBezTo>
                  <a:cubicBezTo>
                    <a:pt x="102209" y="230419"/>
                    <a:pt x="102195" y="230419"/>
                    <a:pt x="102181" y="230419"/>
                  </a:cubicBezTo>
                  <a:close/>
                  <a:moveTo>
                    <a:pt x="33905" y="315796"/>
                  </a:moveTo>
                  <a:cubicBezTo>
                    <a:pt x="25866" y="315796"/>
                    <a:pt x="19350" y="309279"/>
                    <a:pt x="19350" y="301241"/>
                  </a:cubicBezTo>
                  <a:cubicBezTo>
                    <a:pt x="19350" y="293202"/>
                    <a:pt x="25866" y="286686"/>
                    <a:pt x="33905" y="286686"/>
                  </a:cubicBezTo>
                  <a:cubicBezTo>
                    <a:pt x="41943" y="286686"/>
                    <a:pt x="48460" y="293202"/>
                    <a:pt x="48460" y="301241"/>
                  </a:cubicBezTo>
                  <a:cubicBezTo>
                    <a:pt x="48436" y="309270"/>
                    <a:pt x="41933" y="315772"/>
                    <a:pt x="33905" y="315796"/>
                  </a:cubicBezTo>
                  <a:close/>
                  <a:moveTo>
                    <a:pt x="132394" y="403676"/>
                  </a:moveTo>
                  <a:cubicBezTo>
                    <a:pt x="124356" y="403700"/>
                    <a:pt x="117820" y="397202"/>
                    <a:pt x="117797" y="389164"/>
                  </a:cubicBezTo>
                  <a:cubicBezTo>
                    <a:pt x="117773" y="381126"/>
                    <a:pt x="124271" y="374590"/>
                    <a:pt x="132309" y="374567"/>
                  </a:cubicBezTo>
                  <a:cubicBezTo>
                    <a:pt x="140348" y="374544"/>
                    <a:pt x="146883" y="381041"/>
                    <a:pt x="146906" y="389079"/>
                  </a:cubicBezTo>
                  <a:cubicBezTo>
                    <a:pt x="146906" y="389108"/>
                    <a:pt x="146906" y="389136"/>
                    <a:pt x="146906" y="389164"/>
                  </a:cubicBezTo>
                  <a:cubicBezTo>
                    <a:pt x="146883" y="397169"/>
                    <a:pt x="140399" y="403653"/>
                    <a:pt x="132394" y="403676"/>
                  </a:cubicBezTo>
                  <a:close/>
                  <a:moveTo>
                    <a:pt x="205635" y="507555"/>
                  </a:moveTo>
                  <a:cubicBezTo>
                    <a:pt x="197597" y="507555"/>
                    <a:pt x="191080" y="501038"/>
                    <a:pt x="191080" y="493000"/>
                  </a:cubicBezTo>
                  <a:cubicBezTo>
                    <a:pt x="191080" y="484962"/>
                    <a:pt x="197597" y="478445"/>
                    <a:pt x="205635" y="478445"/>
                  </a:cubicBezTo>
                  <a:cubicBezTo>
                    <a:pt x="213674" y="478445"/>
                    <a:pt x="220190" y="484962"/>
                    <a:pt x="220190" y="493000"/>
                  </a:cubicBezTo>
                  <a:cubicBezTo>
                    <a:pt x="220190" y="493014"/>
                    <a:pt x="220190" y="493028"/>
                    <a:pt x="220190" y="493042"/>
                  </a:cubicBezTo>
                  <a:cubicBezTo>
                    <a:pt x="220166" y="501064"/>
                    <a:pt x="213657" y="507555"/>
                    <a:pt x="205635" y="507555"/>
                  </a:cubicBezTo>
                  <a:close/>
                  <a:moveTo>
                    <a:pt x="376304" y="443352"/>
                  </a:moveTo>
                  <a:cubicBezTo>
                    <a:pt x="384343" y="443352"/>
                    <a:pt x="390859" y="449869"/>
                    <a:pt x="390859" y="457907"/>
                  </a:cubicBezTo>
                  <a:cubicBezTo>
                    <a:pt x="390859" y="465946"/>
                    <a:pt x="384343" y="472462"/>
                    <a:pt x="376304" y="472462"/>
                  </a:cubicBezTo>
                  <a:cubicBezTo>
                    <a:pt x="368266" y="472462"/>
                    <a:pt x="361750" y="465946"/>
                    <a:pt x="361750" y="457907"/>
                  </a:cubicBezTo>
                  <a:cubicBezTo>
                    <a:pt x="361750" y="457893"/>
                    <a:pt x="361750" y="457879"/>
                    <a:pt x="361750" y="457865"/>
                  </a:cubicBezTo>
                  <a:cubicBezTo>
                    <a:pt x="361773" y="449843"/>
                    <a:pt x="368283" y="443352"/>
                    <a:pt x="376304" y="443352"/>
                  </a:cubicBezTo>
                  <a:close/>
                  <a:moveTo>
                    <a:pt x="276882" y="34034"/>
                  </a:moveTo>
                  <a:cubicBezTo>
                    <a:pt x="276858" y="25996"/>
                    <a:pt x="283356" y="19460"/>
                    <a:pt x="291394" y="19437"/>
                  </a:cubicBezTo>
                  <a:cubicBezTo>
                    <a:pt x="299432" y="19413"/>
                    <a:pt x="305968" y="25911"/>
                    <a:pt x="305991" y="33949"/>
                  </a:cubicBezTo>
                  <a:cubicBezTo>
                    <a:pt x="306015" y="41988"/>
                    <a:pt x="299517" y="48523"/>
                    <a:pt x="291479" y="48546"/>
                  </a:cubicBezTo>
                  <a:cubicBezTo>
                    <a:pt x="291465" y="48546"/>
                    <a:pt x="291451" y="48546"/>
                    <a:pt x="291437" y="48546"/>
                  </a:cubicBezTo>
                  <a:cubicBezTo>
                    <a:pt x="283424" y="48523"/>
                    <a:pt x="276928" y="42046"/>
                    <a:pt x="276882" y="34034"/>
                  </a:cubicBezTo>
                  <a:close/>
                  <a:moveTo>
                    <a:pt x="305949" y="560894"/>
                  </a:moveTo>
                  <a:cubicBezTo>
                    <a:pt x="305972" y="568933"/>
                    <a:pt x="299475" y="575468"/>
                    <a:pt x="291436" y="575492"/>
                  </a:cubicBezTo>
                  <a:cubicBezTo>
                    <a:pt x="283398" y="575515"/>
                    <a:pt x="276863" y="569018"/>
                    <a:pt x="276839" y="560979"/>
                  </a:cubicBezTo>
                  <a:cubicBezTo>
                    <a:pt x="276816" y="552941"/>
                    <a:pt x="283313" y="546405"/>
                    <a:pt x="291352" y="546382"/>
                  </a:cubicBezTo>
                  <a:cubicBezTo>
                    <a:pt x="291380" y="546382"/>
                    <a:pt x="291408" y="546382"/>
                    <a:pt x="291436" y="546382"/>
                  </a:cubicBezTo>
                  <a:cubicBezTo>
                    <a:pt x="299442" y="546405"/>
                    <a:pt x="305926" y="552889"/>
                    <a:pt x="305949" y="560894"/>
                  </a:cubicBezTo>
                  <a:close/>
                  <a:moveTo>
                    <a:pt x="355979" y="362261"/>
                  </a:moveTo>
                  <a:lnTo>
                    <a:pt x="226894" y="362261"/>
                  </a:lnTo>
                  <a:lnTo>
                    <a:pt x="226894" y="233177"/>
                  </a:lnTo>
                  <a:lnTo>
                    <a:pt x="355979" y="233177"/>
                  </a:lnTo>
                  <a:close/>
                  <a:moveTo>
                    <a:pt x="461597" y="374609"/>
                  </a:moveTo>
                  <a:cubicBezTo>
                    <a:pt x="469635" y="374586"/>
                    <a:pt x="476171" y="381083"/>
                    <a:pt x="476194" y="389122"/>
                  </a:cubicBezTo>
                  <a:cubicBezTo>
                    <a:pt x="476217" y="397160"/>
                    <a:pt x="469720" y="403695"/>
                    <a:pt x="461682" y="403719"/>
                  </a:cubicBezTo>
                  <a:cubicBezTo>
                    <a:pt x="453643" y="403742"/>
                    <a:pt x="447108" y="397245"/>
                    <a:pt x="447084" y="389206"/>
                  </a:cubicBezTo>
                  <a:cubicBezTo>
                    <a:pt x="447084" y="389192"/>
                    <a:pt x="447084" y="389178"/>
                    <a:pt x="447084" y="389164"/>
                  </a:cubicBezTo>
                  <a:cubicBezTo>
                    <a:pt x="447108" y="381152"/>
                    <a:pt x="453585" y="374656"/>
                    <a:pt x="461597" y="374609"/>
                  </a:cubicBezTo>
                  <a:close/>
                  <a:moveTo>
                    <a:pt x="560044" y="315796"/>
                  </a:moveTo>
                  <a:cubicBezTo>
                    <a:pt x="552005" y="315796"/>
                    <a:pt x="545489" y="309279"/>
                    <a:pt x="545489" y="301241"/>
                  </a:cubicBezTo>
                  <a:cubicBezTo>
                    <a:pt x="545489" y="293202"/>
                    <a:pt x="552005" y="286686"/>
                    <a:pt x="560044" y="286686"/>
                  </a:cubicBezTo>
                  <a:cubicBezTo>
                    <a:pt x="568082" y="286686"/>
                    <a:pt x="574598" y="293202"/>
                    <a:pt x="574598" y="301241"/>
                  </a:cubicBezTo>
                  <a:cubicBezTo>
                    <a:pt x="574598" y="309279"/>
                    <a:pt x="568082" y="315796"/>
                    <a:pt x="560044" y="315796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06" name="Gruppieren 205">
            <a:extLst>
              <a:ext uri="{FF2B5EF4-FFF2-40B4-BE49-F238E27FC236}">
                <a16:creationId xmlns:a16="http://schemas.microsoft.com/office/drawing/2014/main" id="{4383F495-C033-4AF8-90CA-F193B72B0212}"/>
              </a:ext>
            </a:extLst>
          </p:cNvPr>
          <p:cNvGrpSpPr/>
          <p:nvPr/>
        </p:nvGrpSpPr>
        <p:grpSpPr>
          <a:xfrm>
            <a:off x="1912707" y="3717396"/>
            <a:ext cx="755851" cy="756064"/>
            <a:chOff x="1912707" y="2500034"/>
            <a:chExt cx="755851" cy="756064"/>
          </a:xfrm>
          <a:solidFill>
            <a:schemeClr val="bg1"/>
          </a:solidFill>
        </p:grpSpPr>
        <p:grpSp>
          <p:nvGrpSpPr>
            <p:cNvPr id="207" name="Grafik 78">
              <a:extLst>
                <a:ext uri="{FF2B5EF4-FFF2-40B4-BE49-F238E27FC236}">
                  <a16:creationId xmlns:a16="http://schemas.microsoft.com/office/drawing/2014/main" id="{C97BB2A4-A636-4745-A826-9DA0B935C550}"/>
                </a:ext>
              </a:extLst>
            </p:cNvPr>
            <p:cNvGrpSpPr/>
            <p:nvPr/>
          </p:nvGrpSpPr>
          <p:grpSpPr>
            <a:xfrm>
              <a:off x="1912707" y="2500034"/>
              <a:ext cx="755851" cy="756064"/>
              <a:chOff x="1912707" y="2500034"/>
              <a:chExt cx="755851" cy="756064"/>
            </a:xfrm>
            <a:grpFill/>
          </p:grpSpPr>
          <p:sp>
            <p:nvSpPr>
              <p:cNvPr id="219" name="Freihandform: Form 218">
                <a:extLst>
                  <a:ext uri="{FF2B5EF4-FFF2-40B4-BE49-F238E27FC236}">
                    <a16:creationId xmlns:a16="http://schemas.microsoft.com/office/drawing/2014/main" id="{9F7FE9BC-1795-46B8-813E-0DE84AA24170}"/>
                  </a:ext>
                </a:extLst>
              </p:cNvPr>
              <p:cNvSpPr/>
              <p:nvPr/>
            </p:nvSpPr>
            <p:spPr>
              <a:xfrm>
                <a:off x="1912707" y="2500034"/>
                <a:ext cx="683499" cy="466270"/>
              </a:xfrm>
              <a:custGeom>
                <a:avLst/>
                <a:gdLst>
                  <a:gd name="connsiteX0" fmla="*/ 10573 w 683499"/>
                  <a:gd name="connsiteY0" fmla="*/ 466221 h 466270"/>
                  <a:gd name="connsiteX1" fmla="*/ 289109 w 683499"/>
                  <a:gd name="connsiteY1" fmla="*/ 10507 h 466270"/>
                  <a:gd name="connsiteX2" fmla="*/ 683449 w 683499"/>
                  <a:gd name="connsiteY2" fmla="*/ 155944 h 466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99" h="466270">
                    <a:moveTo>
                      <a:pt x="10573" y="466221"/>
                    </a:moveTo>
                    <a:cubicBezTo>
                      <a:pt x="-38354" y="263464"/>
                      <a:pt x="86351" y="59433"/>
                      <a:pt x="289109" y="10507"/>
                    </a:cubicBezTo>
                    <a:cubicBezTo>
                      <a:pt x="437882" y="-25393"/>
                      <a:pt x="593612" y="32042"/>
                      <a:pt x="683449" y="155944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0" name="Freihandform: Form 219">
                <a:extLst>
                  <a:ext uri="{FF2B5EF4-FFF2-40B4-BE49-F238E27FC236}">
                    <a16:creationId xmlns:a16="http://schemas.microsoft.com/office/drawing/2014/main" id="{DB4C40CC-A46D-4BA2-ADFD-B6D7EE95F88E}"/>
                  </a:ext>
                </a:extLst>
              </p:cNvPr>
              <p:cNvSpPr/>
              <p:nvPr/>
            </p:nvSpPr>
            <p:spPr>
              <a:xfrm>
                <a:off x="2544098" y="2617539"/>
                <a:ext cx="89068" cy="101502"/>
              </a:xfrm>
              <a:custGeom>
                <a:avLst/>
                <a:gdLst>
                  <a:gd name="connsiteX0" fmla="*/ 0 w 89068"/>
                  <a:gd name="connsiteY0" fmla="*/ 52788 h 101502"/>
                  <a:gd name="connsiteX1" fmla="*/ 89069 w 89068"/>
                  <a:gd name="connsiteY1" fmla="*/ 101502 h 101502"/>
                  <a:gd name="connsiteX2" fmla="*/ 86735 w 89068"/>
                  <a:gd name="connsiteY2" fmla="*/ 0 h 101502"/>
                  <a:gd name="connsiteX3" fmla="*/ 0 w 89068"/>
                  <a:gd name="connsiteY3" fmla="*/ 52788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0" y="52788"/>
                    </a:moveTo>
                    <a:lnTo>
                      <a:pt x="89069" y="101502"/>
                    </a:lnTo>
                    <a:lnTo>
                      <a:pt x="86735" y="0"/>
                    </a:lnTo>
                    <a:lnTo>
                      <a:pt x="0" y="52788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1" name="Freihandform: Form 220">
                <a:extLst>
                  <a:ext uri="{FF2B5EF4-FFF2-40B4-BE49-F238E27FC236}">
                    <a16:creationId xmlns:a16="http://schemas.microsoft.com/office/drawing/2014/main" id="{B600D897-E63B-42F6-AC0B-6C4F65D408E1}"/>
                  </a:ext>
                </a:extLst>
              </p:cNvPr>
              <p:cNvSpPr/>
              <p:nvPr/>
            </p:nvSpPr>
            <p:spPr>
              <a:xfrm>
                <a:off x="1985115" y="2790415"/>
                <a:ext cx="683443" cy="465683"/>
              </a:xfrm>
              <a:custGeom>
                <a:avLst/>
                <a:gdLst>
                  <a:gd name="connsiteX0" fmla="*/ 672909 w 683443"/>
                  <a:gd name="connsiteY0" fmla="*/ -49 h 465683"/>
                  <a:gd name="connsiteX1" fmla="*/ 393646 w 683443"/>
                  <a:gd name="connsiteY1" fmla="*/ 455220 h 465683"/>
                  <a:gd name="connsiteX2" fmla="*/ -51 w 683443"/>
                  <a:gd name="connsiteY2" fmla="*/ 309719 h 465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43" h="465683">
                    <a:moveTo>
                      <a:pt x="672909" y="-49"/>
                    </a:moveTo>
                    <a:cubicBezTo>
                      <a:pt x="721512" y="202786"/>
                      <a:pt x="596481" y="406617"/>
                      <a:pt x="393646" y="455220"/>
                    </a:cubicBezTo>
                    <a:cubicBezTo>
                      <a:pt x="245063" y="490823"/>
                      <a:pt x="89667" y="433392"/>
                      <a:pt x="-51" y="309719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2" name="Freihandform: Form 221">
                <a:extLst>
                  <a:ext uri="{FF2B5EF4-FFF2-40B4-BE49-F238E27FC236}">
                    <a16:creationId xmlns:a16="http://schemas.microsoft.com/office/drawing/2014/main" id="{1F50D9D2-F8F8-4CE2-940A-4C45269E8F55}"/>
                  </a:ext>
                </a:extLst>
              </p:cNvPr>
              <p:cNvSpPr/>
              <p:nvPr/>
            </p:nvSpPr>
            <p:spPr>
              <a:xfrm>
                <a:off x="1948155" y="3037254"/>
                <a:ext cx="89068" cy="101502"/>
              </a:xfrm>
              <a:custGeom>
                <a:avLst/>
                <a:gdLst>
                  <a:gd name="connsiteX0" fmla="*/ 89069 w 89068"/>
                  <a:gd name="connsiteY0" fmla="*/ 48714 h 101502"/>
                  <a:gd name="connsiteX1" fmla="*/ 0 w 89068"/>
                  <a:gd name="connsiteY1" fmla="*/ 0 h 101502"/>
                  <a:gd name="connsiteX2" fmla="*/ 2334 w 89068"/>
                  <a:gd name="connsiteY2" fmla="*/ 101502 h 101502"/>
                  <a:gd name="connsiteX3" fmla="*/ 89069 w 89068"/>
                  <a:gd name="connsiteY3" fmla="*/ 48714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89069" y="48714"/>
                    </a:moveTo>
                    <a:lnTo>
                      <a:pt x="0" y="0"/>
                    </a:lnTo>
                    <a:lnTo>
                      <a:pt x="2334" y="101502"/>
                    </a:lnTo>
                    <a:lnTo>
                      <a:pt x="89069" y="48714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08" name="Freihandform: Form 207">
              <a:extLst>
                <a:ext uri="{FF2B5EF4-FFF2-40B4-BE49-F238E27FC236}">
                  <a16:creationId xmlns:a16="http://schemas.microsoft.com/office/drawing/2014/main" id="{29C12F0E-73DE-4FB3-843C-581C48BA90DB}"/>
                </a:ext>
              </a:extLst>
            </p:cNvPr>
            <p:cNvSpPr/>
            <p:nvPr/>
          </p:nvSpPr>
          <p:spPr>
            <a:xfrm>
              <a:off x="2544098" y="2617539"/>
              <a:ext cx="89068" cy="101502"/>
            </a:xfrm>
            <a:custGeom>
              <a:avLst/>
              <a:gdLst>
                <a:gd name="connsiteX0" fmla="*/ 0 w 89068"/>
                <a:gd name="connsiteY0" fmla="*/ 52788 h 101502"/>
                <a:gd name="connsiteX1" fmla="*/ 89069 w 89068"/>
                <a:gd name="connsiteY1" fmla="*/ 101502 h 101502"/>
                <a:gd name="connsiteX2" fmla="*/ 86735 w 89068"/>
                <a:gd name="connsiteY2" fmla="*/ 0 h 101502"/>
                <a:gd name="connsiteX3" fmla="*/ 0 w 89068"/>
                <a:gd name="connsiteY3" fmla="*/ 52788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0" y="52788"/>
                  </a:moveTo>
                  <a:lnTo>
                    <a:pt x="89069" y="101502"/>
                  </a:lnTo>
                  <a:lnTo>
                    <a:pt x="86735" y="0"/>
                  </a:lnTo>
                  <a:lnTo>
                    <a:pt x="0" y="52788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9" name="Freihandform: Form 208">
              <a:extLst>
                <a:ext uri="{FF2B5EF4-FFF2-40B4-BE49-F238E27FC236}">
                  <a16:creationId xmlns:a16="http://schemas.microsoft.com/office/drawing/2014/main" id="{DF6EC1FE-07C0-4EF0-831D-41C3EAEE18A3}"/>
                </a:ext>
              </a:extLst>
            </p:cNvPr>
            <p:cNvSpPr/>
            <p:nvPr/>
          </p:nvSpPr>
          <p:spPr>
            <a:xfrm>
              <a:off x="1948155" y="3037254"/>
              <a:ext cx="89068" cy="101502"/>
            </a:xfrm>
            <a:custGeom>
              <a:avLst/>
              <a:gdLst>
                <a:gd name="connsiteX0" fmla="*/ 89069 w 89068"/>
                <a:gd name="connsiteY0" fmla="*/ 48714 h 101502"/>
                <a:gd name="connsiteX1" fmla="*/ 0 w 89068"/>
                <a:gd name="connsiteY1" fmla="*/ 0 h 101502"/>
                <a:gd name="connsiteX2" fmla="*/ 2334 w 89068"/>
                <a:gd name="connsiteY2" fmla="*/ 101502 h 101502"/>
                <a:gd name="connsiteX3" fmla="*/ 89069 w 89068"/>
                <a:gd name="connsiteY3" fmla="*/ 48714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89069" y="48714"/>
                  </a:moveTo>
                  <a:lnTo>
                    <a:pt x="0" y="0"/>
                  </a:lnTo>
                  <a:lnTo>
                    <a:pt x="2334" y="101502"/>
                  </a:lnTo>
                  <a:lnTo>
                    <a:pt x="89069" y="48714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10" name="Grafik 78">
              <a:extLst>
                <a:ext uri="{FF2B5EF4-FFF2-40B4-BE49-F238E27FC236}">
                  <a16:creationId xmlns:a16="http://schemas.microsoft.com/office/drawing/2014/main" id="{224A2C23-0BC7-427B-8F15-639634092770}"/>
                </a:ext>
              </a:extLst>
            </p:cNvPr>
            <p:cNvGrpSpPr/>
            <p:nvPr/>
          </p:nvGrpSpPr>
          <p:grpSpPr>
            <a:xfrm>
              <a:off x="2032202" y="2618704"/>
              <a:ext cx="516748" cy="514747"/>
              <a:chOff x="2032202" y="2618704"/>
              <a:chExt cx="516748" cy="514747"/>
            </a:xfrm>
            <a:grpFill/>
          </p:grpSpPr>
          <p:sp>
            <p:nvSpPr>
              <p:cNvPr id="215" name="Freihandform: Form 214">
                <a:extLst>
                  <a:ext uri="{FF2B5EF4-FFF2-40B4-BE49-F238E27FC236}">
                    <a16:creationId xmlns:a16="http://schemas.microsoft.com/office/drawing/2014/main" id="{42083ADE-291C-4CF8-AE7B-E1E09CD23889}"/>
                  </a:ext>
                </a:extLst>
              </p:cNvPr>
              <p:cNvSpPr/>
              <p:nvPr/>
            </p:nvSpPr>
            <p:spPr>
              <a:xfrm>
                <a:off x="2236621" y="2729692"/>
                <a:ext cx="107145" cy="252991"/>
              </a:xfrm>
              <a:custGeom>
                <a:avLst/>
                <a:gdLst>
                  <a:gd name="connsiteX0" fmla="*/ 33811 w 107145"/>
                  <a:gd name="connsiteY0" fmla="*/ 233762 h 252991"/>
                  <a:gd name="connsiteX1" fmla="*/ 53458 w 107145"/>
                  <a:gd name="connsiteY1" fmla="*/ 252942 h 252991"/>
                  <a:gd name="connsiteX2" fmla="*/ 73147 w 107145"/>
                  <a:gd name="connsiteY2" fmla="*/ 228840 h 252991"/>
                  <a:gd name="connsiteX3" fmla="*/ 73147 w 107145"/>
                  <a:gd name="connsiteY3" fmla="*/ 96828 h 252991"/>
                  <a:gd name="connsiteX4" fmla="*/ 107095 w 107145"/>
                  <a:gd name="connsiteY4" fmla="*/ 96828 h 252991"/>
                  <a:gd name="connsiteX5" fmla="*/ 53585 w 107145"/>
                  <a:gd name="connsiteY5" fmla="*/ -49 h 252991"/>
                  <a:gd name="connsiteX6" fmla="*/ -51 w 107145"/>
                  <a:gd name="connsiteY6" fmla="*/ 97040 h 252991"/>
                  <a:gd name="connsiteX7" fmla="*/ 33896 w 107145"/>
                  <a:gd name="connsiteY7" fmla="*/ 97040 h 2529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7145" h="252991">
                    <a:moveTo>
                      <a:pt x="33811" y="233762"/>
                    </a:moveTo>
                    <a:cubicBezTo>
                      <a:pt x="45141" y="245262"/>
                      <a:pt x="46838" y="246195"/>
                      <a:pt x="53458" y="252942"/>
                    </a:cubicBezTo>
                    <a:cubicBezTo>
                      <a:pt x="60205" y="244456"/>
                      <a:pt x="66485" y="237030"/>
                      <a:pt x="73147" y="228840"/>
                    </a:cubicBezTo>
                    <a:lnTo>
                      <a:pt x="73147" y="96828"/>
                    </a:lnTo>
                    <a:lnTo>
                      <a:pt x="107095" y="96828"/>
                    </a:lnTo>
                    <a:cubicBezTo>
                      <a:pt x="89060" y="64196"/>
                      <a:pt x="71705" y="32710"/>
                      <a:pt x="53585" y="-49"/>
                    </a:cubicBezTo>
                    <a:cubicBezTo>
                      <a:pt x="35381" y="32837"/>
                      <a:pt x="17983" y="64323"/>
                      <a:pt x="-51" y="97040"/>
                    </a:cubicBezTo>
                    <a:lnTo>
                      <a:pt x="33896" y="97040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16" name="Freihandform: Form 215">
                <a:extLst>
                  <a:ext uri="{FF2B5EF4-FFF2-40B4-BE49-F238E27FC236}">
                    <a16:creationId xmlns:a16="http://schemas.microsoft.com/office/drawing/2014/main" id="{0A3F4668-DBE5-4E34-AEDC-A1D6331B1766}"/>
                  </a:ext>
                </a:extLst>
              </p:cNvPr>
              <p:cNvSpPr/>
              <p:nvPr/>
            </p:nvSpPr>
            <p:spPr>
              <a:xfrm>
                <a:off x="2101426" y="2910673"/>
                <a:ext cx="173597" cy="140795"/>
              </a:xfrm>
              <a:custGeom>
                <a:avLst/>
                <a:gdLst>
                  <a:gd name="connsiteX0" fmla="*/ 96401 w 173597"/>
                  <a:gd name="connsiteY0" fmla="*/ 29061 h 140795"/>
                  <a:gd name="connsiteX1" fmla="*/ 109131 w 173597"/>
                  <a:gd name="connsiteY1" fmla="*/ -49 h 140795"/>
                  <a:gd name="connsiteX2" fmla="*/ -51 w 173597"/>
                  <a:gd name="connsiteY2" fmla="*/ 12299 h 140795"/>
                  <a:gd name="connsiteX3" fmla="*/ 68904 w 173597"/>
                  <a:gd name="connsiteY3" fmla="*/ 97167 h 140795"/>
                  <a:gd name="connsiteX4" fmla="*/ 81846 w 173597"/>
                  <a:gd name="connsiteY4" fmla="*/ 64960 h 140795"/>
                  <a:gd name="connsiteX5" fmla="*/ 154578 w 173597"/>
                  <a:gd name="connsiteY5" fmla="*/ 140747 h 140795"/>
                  <a:gd name="connsiteX6" fmla="*/ 160816 w 173597"/>
                  <a:gd name="connsiteY6" fmla="*/ 121949 h 140795"/>
                  <a:gd name="connsiteX7" fmla="*/ 160816 w 173597"/>
                  <a:gd name="connsiteY7" fmla="*/ 121737 h 140795"/>
                  <a:gd name="connsiteX8" fmla="*/ 160816 w 173597"/>
                  <a:gd name="connsiteY8" fmla="*/ 121482 h 140795"/>
                  <a:gd name="connsiteX9" fmla="*/ 161537 w 173597"/>
                  <a:gd name="connsiteY9" fmla="*/ 119827 h 140795"/>
                  <a:gd name="connsiteX10" fmla="*/ 162641 w 173597"/>
                  <a:gd name="connsiteY10" fmla="*/ 117111 h 140795"/>
                  <a:gd name="connsiteX11" fmla="*/ 163150 w 173597"/>
                  <a:gd name="connsiteY11" fmla="*/ 115966 h 140795"/>
                  <a:gd name="connsiteX12" fmla="*/ 163659 w 173597"/>
                  <a:gd name="connsiteY12" fmla="*/ 114693 h 140795"/>
                  <a:gd name="connsiteX13" fmla="*/ 163659 w 173597"/>
                  <a:gd name="connsiteY13" fmla="*/ 114693 h 140795"/>
                  <a:gd name="connsiteX14" fmla="*/ 163659 w 173597"/>
                  <a:gd name="connsiteY14" fmla="*/ 114480 h 140795"/>
                  <a:gd name="connsiteX15" fmla="*/ 172867 w 173597"/>
                  <a:gd name="connsiteY15" fmla="*/ 96700 h 140795"/>
                  <a:gd name="connsiteX16" fmla="*/ 173546 w 173597"/>
                  <a:gd name="connsiteY16" fmla="*/ 95088 h 140795"/>
                  <a:gd name="connsiteX17" fmla="*/ 96401 w 173597"/>
                  <a:gd name="connsiteY17" fmla="*/ 29061 h 140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73597" h="140795">
                    <a:moveTo>
                      <a:pt x="96401" y="29061"/>
                    </a:moveTo>
                    <a:cubicBezTo>
                      <a:pt x="100390" y="18792"/>
                      <a:pt x="109131" y="-49"/>
                      <a:pt x="109131" y="-49"/>
                    </a:cubicBezTo>
                    <a:lnTo>
                      <a:pt x="-51" y="12299"/>
                    </a:lnTo>
                    <a:lnTo>
                      <a:pt x="68904" y="97167"/>
                    </a:lnTo>
                    <a:lnTo>
                      <a:pt x="81846" y="64960"/>
                    </a:lnTo>
                    <a:cubicBezTo>
                      <a:pt x="117915" y="85031"/>
                      <a:pt x="136119" y="105187"/>
                      <a:pt x="154578" y="140747"/>
                    </a:cubicBezTo>
                    <a:cubicBezTo>
                      <a:pt x="156306" y="134370"/>
                      <a:pt x="158388" y="128094"/>
                      <a:pt x="160816" y="121949"/>
                    </a:cubicBezTo>
                    <a:lnTo>
                      <a:pt x="160816" y="121737"/>
                    </a:lnTo>
                    <a:lnTo>
                      <a:pt x="160816" y="121482"/>
                    </a:lnTo>
                    <a:lnTo>
                      <a:pt x="161537" y="119827"/>
                    </a:lnTo>
                    <a:lnTo>
                      <a:pt x="162641" y="117111"/>
                    </a:lnTo>
                    <a:lnTo>
                      <a:pt x="163150" y="115966"/>
                    </a:lnTo>
                    <a:lnTo>
                      <a:pt x="163659" y="114693"/>
                    </a:lnTo>
                    <a:lnTo>
                      <a:pt x="163659" y="114693"/>
                    </a:lnTo>
                    <a:lnTo>
                      <a:pt x="163659" y="114480"/>
                    </a:lnTo>
                    <a:cubicBezTo>
                      <a:pt x="166406" y="108392"/>
                      <a:pt x="169480" y="102457"/>
                      <a:pt x="172867" y="96700"/>
                    </a:cubicBezTo>
                    <a:cubicBezTo>
                      <a:pt x="173122" y="96149"/>
                      <a:pt x="173334" y="95597"/>
                      <a:pt x="173546" y="95088"/>
                    </a:cubicBezTo>
                    <a:cubicBezTo>
                      <a:pt x="154239" y="63390"/>
                      <a:pt x="131112" y="45143"/>
                      <a:pt x="96401" y="29061"/>
                    </a:cubicBez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17" name="Freihandform: Form 216">
                <a:extLst>
                  <a:ext uri="{FF2B5EF4-FFF2-40B4-BE49-F238E27FC236}">
                    <a16:creationId xmlns:a16="http://schemas.microsoft.com/office/drawing/2014/main" id="{E22B213B-9296-494F-8A4D-E1483FF86595}"/>
                  </a:ext>
                </a:extLst>
              </p:cNvPr>
              <p:cNvSpPr/>
              <p:nvPr/>
            </p:nvSpPr>
            <p:spPr>
              <a:xfrm>
                <a:off x="2032202" y="2618704"/>
                <a:ext cx="516748" cy="513729"/>
              </a:xfrm>
              <a:custGeom>
                <a:avLst/>
                <a:gdLst>
                  <a:gd name="connsiteX0" fmla="*/ 297468 w 516748"/>
                  <a:gd name="connsiteY0" fmla="*/ 513680 h 513729"/>
                  <a:gd name="connsiteX1" fmla="*/ 513678 w 516748"/>
                  <a:gd name="connsiteY1" fmla="*/ 219180 h 513729"/>
                  <a:gd name="connsiteX2" fmla="*/ 219178 w 516748"/>
                  <a:gd name="connsiteY2" fmla="*/ 2970 h 513729"/>
                  <a:gd name="connsiteX3" fmla="*/ 2968 w 516748"/>
                  <a:gd name="connsiteY3" fmla="*/ 297470 h 513729"/>
                  <a:gd name="connsiteX4" fmla="*/ 216504 w 516748"/>
                  <a:gd name="connsiteY4" fmla="*/ 513256 h 513729"/>
                  <a:gd name="connsiteX5" fmla="*/ 216504 w 516748"/>
                  <a:gd name="connsiteY5" fmla="*/ 488729 h 513729"/>
                  <a:gd name="connsiteX6" fmla="*/ 216886 w 516748"/>
                  <a:gd name="connsiteY6" fmla="*/ 476211 h 513729"/>
                  <a:gd name="connsiteX7" fmla="*/ 186545 w 516748"/>
                  <a:gd name="connsiteY7" fmla="*/ 433777 h 513729"/>
                  <a:gd name="connsiteX8" fmla="*/ 170802 w 516748"/>
                  <a:gd name="connsiteY8" fmla="*/ 395926 h 513729"/>
                  <a:gd name="connsiteX9" fmla="*/ 161212 w 516748"/>
                  <a:gd name="connsiteY9" fmla="*/ 388161 h 513729"/>
                  <a:gd name="connsiteX10" fmla="*/ 157521 w 516748"/>
                  <a:gd name="connsiteY10" fmla="*/ 397114 h 513729"/>
                  <a:gd name="connsiteX11" fmla="*/ 152810 w 516748"/>
                  <a:gd name="connsiteY11" fmla="*/ 408741 h 513729"/>
                  <a:gd name="connsiteX12" fmla="*/ 167620 w 516748"/>
                  <a:gd name="connsiteY12" fmla="*/ 443537 h 513729"/>
                  <a:gd name="connsiteX13" fmla="*/ 198342 w 516748"/>
                  <a:gd name="connsiteY13" fmla="*/ 487711 h 513729"/>
                  <a:gd name="connsiteX14" fmla="*/ 62171 w 516748"/>
                  <a:gd name="connsiteY14" fmla="*/ 391343 h 513729"/>
                  <a:gd name="connsiteX15" fmla="*/ 105157 w 516748"/>
                  <a:gd name="connsiteY15" fmla="*/ 382432 h 513729"/>
                  <a:gd name="connsiteX16" fmla="*/ 89753 w 516748"/>
                  <a:gd name="connsiteY16" fmla="*/ 363422 h 513729"/>
                  <a:gd name="connsiteX17" fmla="*/ 50587 w 516748"/>
                  <a:gd name="connsiteY17" fmla="*/ 372375 h 513729"/>
                  <a:gd name="connsiteX18" fmla="*/ 22071 w 516748"/>
                  <a:gd name="connsiteY18" fmla="*/ 269812 h 513729"/>
                  <a:gd name="connsiteX19" fmla="*/ 216886 w 516748"/>
                  <a:gd name="connsiteY19" fmla="*/ 269812 h 513729"/>
                  <a:gd name="connsiteX20" fmla="*/ 216886 w 516748"/>
                  <a:gd name="connsiteY20" fmla="*/ 248595 h 513729"/>
                  <a:gd name="connsiteX21" fmla="*/ 150137 w 516748"/>
                  <a:gd name="connsiteY21" fmla="*/ 248595 h 513729"/>
                  <a:gd name="connsiteX22" fmla="*/ 159557 w 516748"/>
                  <a:gd name="connsiteY22" fmla="*/ 164237 h 513729"/>
                  <a:gd name="connsiteX23" fmla="*/ 202628 w 516748"/>
                  <a:gd name="connsiteY23" fmla="*/ 166952 h 513729"/>
                  <a:gd name="connsiteX24" fmla="*/ 204495 w 516748"/>
                  <a:gd name="connsiteY24" fmla="*/ 163558 h 513729"/>
                  <a:gd name="connsiteX25" fmla="*/ 214127 w 516748"/>
                  <a:gd name="connsiteY25" fmla="*/ 146117 h 513729"/>
                  <a:gd name="connsiteX26" fmla="*/ 164565 w 516748"/>
                  <a:gd name="connsiteY26" fmla="*/ 143274 h 513729"/>
                  <a:gd name="connsiteX27" fmla="*/ 184042 w 516748"/>
                  <a:gd name="connsiteY27" fmla="*/ 90104 h 513729"/>
                  <a:gd name="connsiteX28" fmla="*/ 247693 w 516748"/>
                  <a:gd name="connsiteY28" fmla="*/ 24544 h 513729"/>
                  <a:gd name="connsiteX29" fmla="*/ 247693 w 516748"/>
                  <a:gd name="connsiteY29" fmla="*/ 85352 h 513729"/>
                  <a:gd name="connsiteX30" fmla="*/ 257750 w 516748"/>
                  <a:gd name="connsiteY30" fmla="*/ 67190 h 513729"/>
                  <a:gd name="connsiteX31" fmla="*/ 268952 w 516748"/>
                  <a:gd name="connsiteY31" fmla="*/ 87474 h 513729"/>
                  <a:gd name="connsiteX32" fmla="*/ 268952 w 516748"/>
                  <a:gd name="connsiteY32" fmla="*/ 24502 h 513729"/>
                  <a:gd name="connsiteX33" fmla="*/ 293521 w 516748"/>
                  <a:gd name="connsiteY33" fmla="*/ 37232 h 513729"/>
                  <a:gd name="connsiteX34" fmla="*/ 330057 w 516748"/>
                  <a:gd name="connsiteY34" fmla="*/ 85012 h 513729"/>
                  <a:gd name="connsiteX35" fmla="*/ 352165 w 516748"/>
                  <a:gd name="connsiteY35" fmla="*/ 143444 h 513729"/>
                  <a:gd name="connsiteX36" fmla="*/ 301457 w 516748"/>
                  <a:gd name="connsiteY36" fmla="*/ 146329 h 513729"/>
                  <a:gd name="connsiteX37" fmla="*/ 312999 w 516748"/>
                  <a:gd name="connsiteY37" fmla="*/ 167207 h 513729"/>
                  <a:gd name="connsiteX38" fmla="*/ 357215 w 516748"/>
                  <a:gd name="connsiteY38" fmla="*/ 164406 h 513729"/>
                  <a:gd name="connsiteX39" fmla="*/ 366593 w 516748"/>
                  <a:gd name="connsiteY39" fmla="*/ 248935 h 513729"/>
                  <a:gd name="connsiteX40" fmla="*/ 298698 w 516748"/>
                  <a:gd name="connsiteY40" fmla="*/ 248935 h 513729"/>
                  <a:gd name="connsiteX41" fmla="*/ 298698 w 516748"/>
                  <a:gd name="connsiteY41" fmla="*/ 270152 h 513729"/>
                  <a:gd name="connsiteX42" fmla="*/ 494786 w 516748"/>
                  <a:gd name="connsiteY42" fmla="*/ 270152 h 513729"/>
                  <a:gd name="connsiteX43" fmla="*/ 466143 w 516748"/>
                  <a:gd name="connsiteY43" fmla="*/ 372715 h 513729"/>
                  <a:gd name="connsiteX44" fmla="*/ 426297 w 516748"/>
                  <a:gd name="connsiteY44" fmla="*/ 363634 h 513729"/>
                  <a:gd name="connsiteX45" fmla="*/ 410639 w 516748"/>
                  <a:gd name="connsiteY45" fmla="*/ 382390 h 513729"/>
                  <a:gd name="connsiteX46" fmla="*/ 454431 w 516748"/>
                  <a:gd name="connsiteY46" fmla="*/ 391386 h 513729"/>
                  <a:gd name="connsiteX47" fmla="*/ 428249 w 516748"/>
                  <a:gd name="connsiteY47" fmla="*/ 423551 h 513729"/>
                  <a:gd name="connsiteX48" fmla="*/ 349068 w 516748"/>
                  <a:gd name="connsiteY48" fmla="*/ 477442 h 513729"/>
                  <a:gd name="connsiteX49" fmla="*/ 318345 w 516748"/>
                  <a:gd name="connsiteY49" fmla="*/ 487753 h 513729"/>
                  <a:gd name="connsiteX50" fmla="*/ 351911 w 516748"/>
                  <a:gd name="connsiteY50" fmla="*/ 437808 h 513729"/>
                  <a:gd name="connsiteX51" fmla="*/ 363325 w 516748"/>
                  <a:gd name="connsiteY51" fmla="*/ 410481 h 513729"/>
                  <a:gd name="connsiteX52" fmla="*/ 357936 w 516748"/>
                  <a:gd name="connsiteY52" fmla="*/ 397199 h 513729"/>
                  <a:gd name="connsiteX53" fmla="*/ 353693 w 516748"/>
                  <a:gd name="connsiteY53" fmla="*/ 387057 h 513729"/>
                  <a:gd name="connsiteX54" fmla="*/ 346521 w 516748"/>
                  <a:gd name="connsiteY54" fmla="*/ 392107 h 513729"/>
                  <a:gd name="connsiteX55" fmla="*/ 332646 w 516748"/>
                  <a:gd name="connsiteY55" fmla="*/ 428558 h 513729"/>
                  <a:gd name="connsiteX56" fmla="*/ 297977 w 516748"/>
                  <a:gd name="connsiteY56" fmla="*/ 477399 h 513729"/>
                  <a:gd name="connsiteX57" fmla="*/ 297553 w 516748"/>
                  <a:gd name="connsiteY57" fmla="*/ 487074 h 513729"/>
                  <a:gd name="connsiteX58" fmla="*/ 128835 w 516748"/>
                  <a:gd name="connsiteY58" fmla="*/ 248765 h 513729"/>
                  <a:gd name="connsiteX59" fmla="*/ 22156 w 516748"/>
                  <a:gd name="connsiteY59" fmla="*/ 248765 h 513729"/>
                  <a:gd name="connsiteX60" fmla="*/ 50799 w 516748"/>
                  <a:gd name="connsiteY60" fmla="*/ 146202 h 513729"/>
                  <a:gd name="connsiteX61" fmla="*/ 138340 w 516748"/>
                  <a:gd name="connsiteY61" fmla="*/ 162200 h 513729"/>
                  <a:gd name="connsiteX62" fmla="*/ 128835 w 516748"/>
                  <a:gd name="connsiteY62" fmla="*/ 248765 h 513729"/>
                  <a:gd name="connsiteX63" fmla="*/ 164904 w 516748"/>
                  <a:gd name="connsiteY63" fmla="*/ 80854 h 513729"/>
                  <a:gd name="connsiteX64" fmla="*/ 143135 w 516748"/>
                  <a:gd name="connsiteY64" fmla="*/ 141237 h 513729"/>
                  <a:gd name="connsiteX65" fmla="*/ 62511 w 516748"/>
                  <a:gd name="connsiteY65" fmla="*/ 127277 h 513729"/>
                  <a:gd name="connsiteX66" fmla="*/ 88735 w 516748"/>
                  <a:gd name="connsiteY66" fmla="*/ 95112 h 513729"/>
                  <a:gd name="connsiteX67" fmla="*/ 198639 w 516748"/>
                  <a:gd name="connsiteY67" fmla="*/ 30909 h 513729"/>
                  <a:gd name="connsiteX68" fmla="*/ 164904 w 516748"/>
                  <a:gd name="connsiteY68" fmla="*/ 80854 h 513729"/>
                  <a:gd name="connsiteX69" fmla="*/ 349068 w 516748"/>
                  <a:gd name="connsiteY69" fmla="*/ 75083 h 513729"/>
                  <a:gd name="connsiteX70" fmla="*/ 318345 w 516748"/>
                  <a:gd name="connsiteY70" fmla="*/ 30909 h 513729"/>
                  <a:gd name="connsiteX71" fmla="*/ 422988 w 516748"/>
                  <a:gd name="connsiteY71" fmla="*/ 89807 h 513729"/>
                  <a:gd name="connsiteX72" fmla="*/ 454516 w 516748"/>
                  <a:gd name="connsiteY72" fmla="*/ 127277 h 513729"/>
                  <a:gd name="connsiteX73" fmla="*/ 373891 w 516748"/>
                  <a:gd name="connsiteY73" fmla="*/ 141237 h 513729"/>
                  <a:gd name="connsiteX74" fmla="*/ 349067 w 516748"/>
                  <a:gd name="connsiteY74" fmla="*/ 75083 h 513729"/>
                  <a:gd name="connsiteX75" fmla="*/ 387937 w 516748"/>
                  <a:gd name="connsiteY75" fmla="*/ 248765 h 513729"/>
                  <a:gd name="connsiteX76" fmla="*/ 378559 w 516748"/>
                  <a:gd name="connsiteY76" fmla="*/ 162157 h 513729"/>
                  <a:gd name="connsiteX77" fmla="*/ 466100 w 516748"/>
                  <a:gd name="connsiteY77" fmla="*/ 146202 h 513729"/>
                  <a:gd name="connsiteX78" fmla="*/ 494786 w 516748"/>
                  <a:gd name="connsiteY78" fmla="*/ 248765 h 5137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</a:cxnLst>
                <a:rect l="l" t="t" r="r" b="b"/>
                <a:pathLst>
                  <a:path w="516748" h="513729">
                    <a:moveTo>
                      <a:pt x="297468" y="513680"/>
                    </a:moveTo>
                    <a:cubicBezTo>
                      <a:pt x="438497" y="492061"/>
                      <a:pt x="535297" y="360209"/>
                      <a:pt x="513678" y="219180"/>
                    </a:cubicBezTo>
                    <a:cubicBezTo>
                      <a:pt x="492059" y="78152"/>
                      <a:pt x="360207" y="-18649"/>
                      <a:pt x="219178" y="2970"/>
                    </a:cubicBezTo>
                    <a:cubicBezTo>
                      <a:pt x="78149" y="24589"/>
                      <a:pt x="-18651" y="156441"/>
                      <a:pt x="2968" y="297470"/>
                    </a:cubicBezTo>
                    <a:cubicBezTo>
                      <a:pt x="19919" y="408045"/>
                      <a:pt x="106112" y="495147"/>
                      <a:pt x="216504" y="513256"/>
                    </a:cubicBezTo>
                    <a:cubicBezTo>
                      <a:pt x="216504" y="509564"/>
                      <a:pt x="216504" y="495391"/>
                      <a:pt x="216504" y="488729"/>
                    </a:cubicBezTo>
                    <a:cubicBezTo>
                      <a:pt x="216504" y="484486"/>
                      <a:pt x="216504" y="480242"/>
                      <a:pt x="216886" y="476211"/>
                    </a:cubicBezTo>
                    <a:cubicBezTo>
                      <a:pt x="204460" y="463871"/>
                      <a:pt x="194203" y="449526"/>
                      <a:pt x="186545" y="433777"/>
                    </a:cubicBezTo>
                    <a:cubicBezTo>
                      <a:pt x="180364" y="421569"/>
                      <a:pt x="175102" y="408917"/>
                      <a:pt x="170802" y="395926"/>
                    </a:cubicBezTo>
                    <a:cubicBezTo>
                      <a:pt x="167790" y="393253"/>
                      <a:pt x="164649" y="390664"/>
                      <a:pt x="161212" y="388161"/>
                    </a:cubicBezTo>
                    <a:lnTo>
                      <a:pt x="157521" y="397114"/>
                    </a:lnTo>
                    <a:lnTo>
                      <a:pt x="152810" y="408741"/>
                    </a:lnTo>
                    <a:cubicBezTo>
                      <a:pt x="156984" y="420650"/>
                      <a:pt x="161931" y="432273"/>
                      <a:pt x="167620" y="443537"/>
                    </a:cubicBezTo>
                    <a:cubicBezTo>
                      <a:pt x="175657" y="459678"/>
                      <a:pt x="186007" y="474559"/>
                      <a:pt x="198342" y="487711"/>
                    </a:cubicBezTo>
                    <a:cubicBezTo>
                      <a:pt x="142819" y="473054"/>
                      <a:pt x="94460" y="438831"/>
                      <a:pt x="62171" y="391343"/>
                    </a:cubicBezTo>
                    <a:cubicBezTo>
                      <a:pt x="71337" y="388925"/>
                      <a:pt x="85595" y="385615"/>
                      <a:pt x="105157" y="382432"/>
                    </a:cubicBezTo>
                    <a:lnTo>
                      <a:pt x="89753" y="363422"/>
                    </a:lnTo>
                    <a:cubicBezTo>
                      <a:pt x="71634" y="366732"/>
                      <a:pt x="58692" y="370041"/>
                      <a:pt x="50587" y="372375"/>
                    </a:cubicBezTo>
                    <a:cubicBezTo>
                      <a:pt x="33279" y="340852"/>
                      <a:pt x="23518" y="305745"/>
                      <a:pt x="22071" y="269812"/>
                    </a:cubicBezTo>
                    <a:lnTo>
                      <a:pt x="216886" y="269812"/>
                    </a:lnTo>
                    <a:lnTo>
                      <a:pt x="216886" y="248595"/>
                    </a:lnTo>
                    <a:lnTo>
                      <a:pt x="150137" y="248595"/>
                    </a:lnTo>
                    <a:cubicBezTo>
                      <a:pt x="150651" y="220244"/>
                      <a:pt x="153805" y="192003"/>
                      <a:pt x="159557" y="164237"/>
                    </a:cubicBezTo>
                    <a:cubicBezTo>
                      <a:pt x="173136" y="165425"/>
                      <a:pt x="187606" y="166316"/>
                      <a:pt x="202628" y="166952"/>
                    </a:cubicBezTo>
                    <a:lnTo>
                      <a:pt x="204495" y="163558"/>
                    </a:lnTo>
                    <a:lnTo>
                      <a:pt x="214127" y="146117"/>
                    </a:lnTo>
                    <a:cubicBezTo>
                      <a:pt x="196814" y="145523"/>
                      <a:pt x="180180" y="144547"/>
                      <a:pt x="164565" y="143274"/>
                    </a:cubicBezTo>
                    <a:cubicBezTo>
                      <a:pt x="169399" y="124987"/>
                      <a:pt x="175920" y="107188"/>
                      <a:pt x="184042" y="90104"/>
                    </a:cubicBezTo>
                    <a:cubicBezTo>
                      <a:pt x="201906" y="53272"/>
                      <a:pt x="224439" y="30103"/>
                      <a:pt x="247693" y="24544"/>
                    </a:cubicBezTo>
                    <a:lnTo>
                      <a:pt x="247693" y="85352"/>
                    </a:lnTo>
                    <a:lnTo>
                      <a:pt x="257750" y="67190"/>
                    </a:lnTo>
                    <a:lnTo>
                      <a:pt x="268952" y="87474"/>
                    </a:lnTo>
                    <a:lnTo>
                      <a:pt x="268952" y="24502"/>
                    </a:lnTo>
                    <a:cubicBezTo>
                      <a:pt x="277983" y="26873"/>
                      <a:pt x="286375" y="31222"/>
                      <a:pt x="293521" y="37232"/>
                    </a:cubicBezTo>
                    <a:cubicBezTo>
                      <a:pt x="308913" y="50423"/>
                      <a:pt x="321361" y="66702"/>
                      <a:pt x="330057" y="85012"/>
                    </a:cubicBezTo>
                    <a:cubicBezTo>
                      <a:pt x="339467" y="103655"/>
                      <a:pt x="346877" y="123242"/>
                      <a:pt x="352165" y="143444"/>
                    </a:cubicBezTo>
                    <a:cubicBezTo>
                      <a:pt x="336252" y="144759"/>
                      <a:pt x="319194" y="145735"/>
                      <a:pt x="301457" y="146329"/>
                    </a:cubicBezTo>
                    <a:lnTo>
                      <a:pt x="312999" y="167207"/>
                    </a:lnTo>
                    <a:cubicBezTo>
                      <a:pt x="328402" y="166528"/>
                      <a:pt x="343296" y="165595"/>
                      <a:pt x="357215" y="164406"/>
                    </a:cubicBezTo>
                    <a:cubicBezTo>
                      <a:pt x="362948" y="192232"/>
                      <a:pt x="366087" y="220529"/>
                      <a:pt x="366593" y="248935"/>
                    </a:cubicBezTo>
                    <a:lnTo>
                      <a:pt x="298698" y="248935"/>
                    </a:lnTo>
                    <a:lnTo>
                      <a:pt x="298698" y="270152"/>
                    </a:lnTo>
                    <a:lnTo>
                      <a:pt x="494786" y="270152"/>
                    </a:lnTo>
                    <a:cubicBezTo>
                      <a:pt x="493298" y="306095"/>
                      <a:pt x="483494" y="341202"/>
                      <a:pt x="466143" y="372715"/>
                    </a:cubicBezTo>
                    <a:cubicBezTo>
                      <a:pt x="453021" y="369023"/>
                      <a:pt x="439723" y="365992"/>
                      <a:pt x="426297" y="363634"/>
                    </a:cubicBezTo>
                    <a:lnTo>
                      <a:pt x="410639" y="382390"/>
                    </a:lnTo>
                    <a:cubicBezTo>
                      <a:pt x="430583" y="385615"/>
                      <a:pt x="445096" y="388925"/>
                      <a:pt x="454431" y="391386"/>
                    </a:cubicBezTo>
                    <a:cubicBezTo>
                      <a:pt x="446656" y="402848"/>
                      <a:pt x="437895" y="413611"/>
                      <a:pt x="428249" y="423551"/>
                    </a:cubicBezTo>
                    <a:cubicBezTo>
                      <a:pt x="405829" y="446752"/>
                      <a:pt x="378877" y="465096"/>
                      <a:pt x="349068" y="477442"/>
                    </a:cubicBezTo>
                    <a:cubicBezTo>
                      <a:pt x="339069" y="481562"/>
                      <a:pt x="328805" y="485007"/>
                      <a:pt x="318345" y="487753"/>
                    </a:cubicBezTo>
                    <a:cubicBezTo>
                      <a:pt x="332094" y="472976"/>
                      <a:pt x="343422" y="456120"/>
                      <a:pt x="351911" y="437808"/>
                    </a:cubicBezTo>
                    <a:cubicBezTo>
                      <a:pt x="356175" y="428898"/>
                      <a:pt x="359984" y="419777"/>
                      <a:pt x="363325" y="410481"/>
                    </a:cubicBezTo>
                    <a:lnTo>
                      <a:pt x="357936" y="397199"/>
                    </a:lnTo>
                    <a:lnTo>
                      <a:pt x="353693" y="387057"/>
                    </a:lnTo>
                    <a:cubicBezTo>
                      <a:pt x="351232" y="388670"/>
                      <a:pt x="348855" y="390367"/>
                      <a:pt x="346521" y="392107"/>
                    </a:cubicBezTo>
                    <a:cubicBezTo>
                      <a:pt x="342556" y="404498"/>
                      <a:pt x="337924" y="416666"/>
                      <a:pt x="332646" y="428558"/>
                    </a:cubicBezTo>
                    <a:cubicBezTo>
                      <a:pt x="324273" y="446879"/>
                      <a:pt x="312510" y="463451"/>
                      <a:pt x="297977" y="477399"/>
                    </a:cubicBezTo>
                    <a:cubicBezTo>
                      <a:pt x="297722" y="480582"/>
                      <a:pt x="297553" y="483764"/>
                      <a:pt x="297553" y="487074"/>
                    </a:cubicBezTo>
                    <a:close/>
                    <a:moveTo>
                      <a:pt x="128835" y="248765"/>
                    </a:moveTo>
                    <a:lnTo>
                      <a:pt x="22156" y="248765"/>
                    </a:lnTo>
                    <a:cubicBezTo>
                      <a:pt x="23650" y="212823"/>
                      <a:pt x="33454" y="177717"/>
                      <a:pt x="50799" y="146202"/>
                    </a:cubicBezTo>
                    <a:cubicBezTo>
                      <a:pt x="79472" y="154011"/>
                      <a:pt x="108759" y="159363"/>
                      <a:pt x="138340" y="162200"/>
                    </a:cubicBezTo>
                    <a:cubicBezTo>
                      <a:pt x="132568" y="190709"/>
                      <a:pt x="129387" y="219682"/>
                      <a:pt x="128835" y="248765"/>
                    </a:cubicBezTo>
                    <a:close/>
                    <a:moveTo>
                      <a:pt x="164904" y="80854"/>
                    </a:moveTo>
                    <a:cubicBezTo>
                      <a:pt x="155692" y="100222"/>
                      <a:pt x="148401" y="120447"/>
                      <a:pt x="143135" y="141237"/>
                    </a:cubicBezTo>
                    <a:cubicBezTo>
                      <a:pt x="115951" y="138595"/>
                      <a:pt x="89001" y="133929"/>
                      <a:pt x="62511" y="127277"/>
                    </a:cubicBezTo>
                    <a:cubicBezTo>
                      <a:pt x="70298" y="115811"/>
                      <a:pt x="79072" y="105048"/>
                      <a:pt x="88735" y="95112"/>
                    </a:cubicBezTo>
                    <a:cubicBezTo>
                      <a:pt x="118804" y="64057"/>
                      <a:pt x="156820" y="41849"/>
                      <a:pt x="198639" y="30909"/>
                    </a:cubicBezTo>
                    <a:cubicBezTo>
                      <a:pt x="184818" y="45664"/>
                      <a:pt x="173430" y="62523"/>
                      <a:pt x="164904" y="80854"/>
                    </a:cubicBezTo>
                    <a:close/>
                    <a:moveTo>
                      <a:pt x="349068" y="75083"/>
                    </a:moveTo>
                    <a:cubicBezTo>
                      <a:pt x="341041" y="58936"/>
                      <a:pt x="330690" y="44053"/>
                      <a:pt x="318345" y="30909"/>
                    </a:cubicBezTo>
                    <a:cubicBezTo>
                      <a:pt x="357721" y="41190"/>
                      <a:pt x="393769" y="61480"/>
                      <a:pt x="422988" y="89807"/>
                    </a:cubicBezTo>
                    <a:cubicBezTo>
                      <a:pt x="434752" y="101185"/>
                      <a:pt x="445316" y="113741"/>
                      <a:pt x="454516" y="127277"/>
                    </a:cubicBezTo>
                    <a:cubicBezTo>
                      <a:pt x="428022" y="133909"/>
                      <a:pt x="401073" y="138576"/>
                      <a:pt x="373891" y="141237"/>
                    </a:cubicBezTo>
                    <a:cubicBezTo>
                      <a:pt x="368062" y="118344"/>
                      <a:pt x="359737" y="96160"/>
                      <a:pt x="349067" y="75083"/>
                    </a:cubicBezTo>
                    <a:close/>
                    <a:moveTo>
                      <a:pt x="387937" y="248765"/>
                    </a:moveTo>
                    <a:cubicBezTo>
                      <a:pt x="387401" y="219674"/>
                      <a:pt x="384263" y="190689"/>
                      <a:pt x="378559" y="162157"/>
                    </a:cubicBezTo>
                    <a:cubicBezTo>
                      <a:pt x="408139" y="159327"/>
                      <a:pt x="437424" y="153989"/>
                      <a:pt x="466100" y="146202"/>
                    </a:cubicBezTo>
                    <a:cubicBezTo>
                      <a:pt x="483468" y="177710"/>
                      <a:pt x="493287" y="212819"/>
                      <a:pt x="494786" y="248765"/>
                    </a:cubicBez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18" name="Freihandform: Form 217">
                <a:extLst>
                  <a:ext uri="{FF2B5EF4-FFF2-40B4-BE49-F238E27FC236}">
                    <a16:creationId xmlns:a16="http://schemas.microsoft.com/office/drawing/2014/main" id="{3199C835-0130-4A00-8798-2ACE93137672}"/>
                  </a:ext>
                </a:extLst>
              </p:cNvPr>
              <p:cNvSpPr/>
              <p:nvPr/>
            </p:nvSpPr>
            <p:spPr>
              <a:xfrm>
                <a:off x="2270099" y="2910673"/>
                <a:ext cx="209923" cy="222778"/>
              </a:xfrm>
              <a:custGeom>
                <a:avLst/>
                <a:gdLst>
                  <a:gd name="connsiteX0" fmla="*/ 100690 w 209923"/>
                  <a:gd name="connsiteY0" fmla="*/ -49 h 222778"/>
                  <a:gd name="connsiteX1" fmla="*/ 112062 w 209923"/>
                  <a:gd name="connsiteY1" fmla="*/ 28594 h 222778"/>
                  <a:gd name="connsiteX2" fmla="*/ 37633 w 209923"/>
                  <a:gd name="connsiteY2" fmla="*/ 86177 h 222778"/>
                  <a:gd name="connsiteX3" fmla="*/ 37124 w 209923"/>
                  <a:gd name="connsiteY3" fmla="*/ 86771 h 222778"/>
                  <a:gd name="connsiteX4" fmla="*/ 14888 w 209923"/>
                  <a:gd name="connsiteY4" fmla="*/ 123094 h 222778"/>
                  <a:gd name="connsiteX5" fmla="*/ 13870 w 209923"/>
                  <a:gd name="connsiteY5" fmla="*/ 125513 h 222778"/>
                  <a:gd name="connsiteX6" fmla="*/ 12045 w 209923"/>
                  <a:gd name="connsiteY6" fmla="*/ 129757 h 222778"/>
                  <a:gd name="connsiteX7" fmla="*/ 6019 w 209923"/>
                  <a:gd name="connsiteY7" fmla="*/ 148385 h 222778"/>
                  <a:gd name="connsiteX8" fmla="*/ -49 w 209923"/>
                  <a:gd name="connsiteY8" fmla="*/ 196760 h 222778"/>
                  <a:gd name="connsiteX9" fmla="*/ -49 w 209923"/>
                  <a:gd name="connsiteY9" fmla="*/ 222729 h 222778"/>
                  <a:gd name="connsiteX10" fmla="*/ 38481 w 209923"/>
                  <a:gd name="connsiteY10" fmla="*/ 222729 h 222778"/>
                  <a:gd name="connsiteX11" fmla="*/ 38736 w 209923"/>
                  <a:gd name="connsiteY11" fmla="*/ 195232 h 222778"/>
                  <a:gd name="connsiteX12" fmla="*/ 126617 w 209923"/>
                  <a:gd name="connsiteY12" fmla="*/ 64663 h 222778"/>
                  <a:gd name="connsiteX13" fmla="*/ 139899 w 209923"/>
                  <a:gd name="connsiteY13" fmla="*/ 97379 h 222778"/>
                  <a:gd name="connsiteX14" fmla="*/ 209872 w 209923"/>
                  <a:gd name="connsiteY14" fmla="*/ 11833 h 222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09923" h="222778">
                    <a:moveTo>
                      <a:pt x="100690" y="-49"/>
                    </a:moveTo>
                    <a:cubicBezTo>
                      <a:pt x="100690" y="-49"/>
                      <a:pt x="108073" y="18452"/>
                      <a:pt x="112062" y="28594"/>
                    </a:cubicBezTo>
                    <a:cubicBezTo>
                      <a:pt x="83410" y="42229"/>
                      <a:pt x="58026" y="61867"/>
                      <a:pt x="37633" y="86177"/>
                    </a:cubicBezTo>
                    <a:lnTo>
                      <a:pt x="37124" y="86771"/>
                    </a:lnTo>
                    <a:cubicBezTo>
                      <a:pt x="28249" y="97920"/>
                      <a:pt x="20781" y="110120"/>
                      <a:pt x="14888" y="123094"/>
                    </a:cubicBezTo>
                    <a:lnTo>
                      <a:pt x="13870" y="125513"/>
                    </a:lnTo>
                    <a:lnTo>
                      <a:pt x="12045" y="129757"/>
                    </a:lnTo>
                    <a:cubicBezTo>
                      <a:pt x="9650" y="135834"/>
                      <a:pt x="7637" y="142056"/>
                      <a:pt x="6019" y="148385"/>
                    </a:cubicBezTo>
                    <a:cubicBezTo>
                      <a:pt x="1904" y="164178"/>
                      <a:pt x="-136" y="180440"/>
                      <a:pt x="-49" y="196760"/>
                    </a:cubicBezTo>
                    <a:cubicBezTo>
                      <a:pt x="-49" y="203719"/>
                      <a:pt x="-49" y="221753"/>
                      <a:pt x="-49" y="222729"/>
                    </a:cubicBezTo>
                    <a:lnTo>
                      <a:pt x="38481" y="222729"/>
                    </a:lnTo>
                    <a:cubicBezTo>
                      <a:pt x="38481" y="221244"/>
                      <a:pt x="38736" y="206223"/>
                      <a:pt x="38736" y="195232"/>
                    </a:cubicBezTo>
                    <a:cubicBezTo>
                      <a:pt x="38736" y="135358"/>
                      <a:pt x="72047" y="92160"/>
                      <a:pt x="126617" y="64663"/>
                    </a:cubicBezTo>
                    <a:lnTo>
                      <a:pt x="139899" y="97379"/>
                    </a:lnTo>
                    <a:lnTo>
                      <a:pt x="209872" y="11833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11" name="Freihandform: Form 210">
              <a:extLst>
                <a:ext uri="{FF2B5EF4-FFF2-40B4-BE49-F238E27FC236}">
                  <a16:creationId xmlns:a16="http://schemas.microsoft.com/office/drawing/2014/main" id="{F9CC2B16-55E8-44F4-9475-732D3BA7041E}"/>
                </a:ext>
              </a:extLst>
            </p:cNvPr>
            <p:cNvSpPr/>
            <p:nvPr/>
          </p:nvSpPr>
          <p:spPr>
            <a:xfrm>
              <a:off x="2236621" y="2729692"/>
              <a:ext cx="107145" cy="252991"/>
            </a:xfrm>
            <a:custGeom>
              <a:avLst/>
              <a:gdLst>
                <a:gd name="connsiteX0" fmla="*/ 33811 w 107145"/>
                <a:gd name="connsiteY0" fmla="*/ 233762 h 252991"/>
                <a:gd name="connsiteX1" fmla="*/ 53458 w 107145"/>
                <a:gd name="connsiteY1" fmla="*/ 252942 h 252991"/>
                <a:gd name="connsiteX2" fmla="*/ 73147 w 107145"/>
                <a:gd name="connsiteY2" fmla="*/ 228840 h 252991"/>
                <a:gd name="connsiteX3" fmla="*/ 73147 w 107145"/>
                <a:gd name="connsiteY3" fmla="*/ 96828 h 252991"/>
                <a:gd name="connsiteX4" fmla="*/ 107095 w 107145"/>
                <a:gd name="connsiteY4" fmla="*/ 96828 h 252991"/>
                <a:gd name="connsiteX5" fmla="*/ 53585 w 107145"/>
                <a:gd name="connsiteY5" fmla="*/ -49 h 252991"/>
                <a:gd name="connsiteX6" fmla="*/ -51 w 107145"/>
                <a:gd name="connsiteY6" fmla="*/ 97040 h 252991"/>
                <a:gd name="connsiteX7" fmla="*/ 33896 w 107145"/>
                <a:gd name="connsiteY7" fmla="*/ 97040 h 252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7145" h="252991">
                  <a:moveTo>
                    <a:pt x="33811" y="233762"/>
                  </a:moveTo>
                  <a:cubicBezTo>
                    <a:pt x="45141" y="245262"/>
                    <a:pt x="46838" y="246195"/>
                    <a:pt x="53458" y="252942"/>
                  </a:cubicBezTo>
                  <a:cubicBezTo>
                    <a:pt x="60205" y="244456"/>
                    <a:pt x="66485" y="237030"/>
                    <a:pt x="73147" y="228840"/>
                  </a:cubicBezTo>
                  <a:lnTo>
                    <a:pt x="73147" y="96828"/>
                  </a:lnTo>
                  <a:lnTo>
                    <a:pt x="107095" y="96828"/>
                  </a:lnTo>
                  <a:cubicBezTo>
                    <a:pt x="89060" y="64196"/>
                    <a:pt x="71705" y="32710"/>
                    <a:pt x="53585" y="-49"/>
                  </a:cubicBezTo>
                  <a:cubicBezTo>
                    <a:pt x="35381" y="32837"/>
                    <a:pt x="17983" y="64323"/>
                    <a:pt x="-51" y="97040"/>
                  </a:cubicBezTo>
                  <a:lnTo>
                    <a:pt x="33896" y="97040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2" name="Freihandform: Form 211">
              <a:extLst>
                <a:ext uri="{FF2B5EF4-FFF2-40B4-BE49-F238E27FC236}">
                  <a16:creationId xmlns:a16="http://schemas.microsoft.com/office/drawing/2014/main" id="{85B9D64B-2DF0-4B5B-8C56-B68192952D49}"/>
                </a:ext>
              </a:extLst>
            </p:cNvPr>
            <p:cNvSpPr/>
            <p:nvPr/>
          </p:nvSpPr>
          <p:spPr>
            <a:xfrm>
              <a:off x="2101426" y="2910673"/>
              <a:ext cx="173597" cy="140795"/>
            </a:xfrm>
            <a:custGeom>
              <a:avLst/>
              <a:gdLst>
                <a:gd name="connsiteX0" fmla="*/ 96401 w 173597"/>
                <a:gd name="connsiteY0" fmla="*/ 29061 h 140795"/>
                <a:gd name="connsiteX1" fmla="*/ 109131 w 173597"/>
                <a:gd name="connsiteY1" fmla="*/ -49 h 140795"/>
                <a:gd name="connsiteX2" fmla="*/ -51 w 173597"/>
                <a:gd name="connsiteY2" fmla="*/ 12299 h 140795"/>
                <a:gd name="connsiteX3" fmla="*/ 68904 w 173597"/>
                <a:gd name="connsiteY3" fmla="*/ 97167 h 140795"/>
                <a:gd name="connsiteX4" fmla="*/ 81846 w 173597"/>
                <a:gd name="connsiteY4" fmla="*/ 64960 h 140795"/>
                <a:gd name="connsiteX5" fmla="*/ 154578 w 173597"/>
                <a:gd name="connsiteY5" fmla="*/ 140747 h 140795"/>
                <a:gd name="connsiteX6" fmla="*/ 160816 w 173597"/>
                <a:gd name="connsiteY6" fmla="*/ 121949 h 140795"/>
                <a:gd name="connsiteX7" fmla="*/ 160816 w 173597"/>
                <a:gd name="connsiteY7" fmla="*/ 121737 h 140795"/>
                <a:gd name="connsiteX8" fmla="*/ 160816 w 173597"/>
                <a:gd name="connsiteY8" fmla="*/ 121482 h 140795"/>
                <a:gd name="connsiteX9" fmla="*/ 161537 w 173597"/>
                <a:gd name="connsiteY9" fmla="*/ 119827 h 140795"/>
                <a:gd name="connsiteX10" fmla="*/ 162641 w 173597"/>
                <a:gd name="connsiteY10" fmla="*/ 117111 h 140795"/>
                <a:gd name="connsiteX11" fmla="*/ 163150 w 173597"/>
                <a:gd name="connsiteY11" fmla="*/ 115966 h 140795"/>
                <a:gd name="connsiteX12" fmla="*/ 163659 w 173597"/>
                <a:gd name="connsiteY12" fmla="*/ 114693 h 140795"/>
                <a:gd name="connsiteX13" fmla="*/ 163659 w 173597"/>
                <a:gd name="connsiteY13" fmla="*/ 114693 h 140795"/>
                <a:gd name="connsiteX14" fmla="*/ 163659 w 173597"/>
                <a:gd name="connsiteY14" fmla="*/ 114480 h 140795"/>
                <a:gd name="connsiteX15" fmla="*/ 172867 w 173597"/>
                <a:gd name="connsiteY15" fmla="*/ 96700 h 140795"/>
                <a:gd name="connsiteX16" fmla="*/ 173546 w 173597"/>
                <a:gd name="connsiteY16" fmla="*/ 95088 h 140795"/>
                <a:gd name="connsiteX17" fmla="*/ 96401 w 173597"/>
                <a:gd name="connsiteY17" fmla="*/ 29061 h 140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73597" h="140795">
                  <a:moveTo>
                    <a:pt x="96401" y="29061"/>
                  </a:moveTo>
                  <a:cubicBezTo>
                    <a:pt x="100390" y="18792"/>
                    <a:pt x="109131" y="-49"/>
                    <a:pt x="109131" y="-49"/>
                  </a:cubicBezTo>
                  <a:lnTo>
                    <a:pt x="-51" y="12299"/>
                  </a:lnTo>
                  <a:lnTo>
                    <a:pt x="68904" y="97167"/>
                  </a:lnTo>
                  <a:lnTo>
                    <a:pt x="81846" y="64960"/>
                  </a:lnTo>
                  <a:cubicBezTo>
                    <a:pt x="117915" y="85031"/>
                    <a:pt x="136119" y="105187"/>
                    <a:pt x="154578" y="140747"/>
                  </a:cubicBezTo>
                  <a:cubicBezTo>
                    <a:pt x="156306" y="134370"/>
                    <a:pt x="158388" y="128094"/>
                    <a:pt x="160816" y="121949"/>
                  </a:cubicBezTo>
                  <a:lnTo>
                    <a:pt x="160816" y="121737"/>
                  </a:lnTo>
                  <a:lnTo>
                    <a:pt x="160816" y="121482"/>
                  </a:lnTo>
                  <a:lnTo>
                    <a:pt x="161537" y="119827"/>
                  </a:lnTo>
                  <a:lnTo>
                    <a:pt x="162641" y="117111"/>
                  </a:lnTo>
                  <a:lnTo>
                    <a:pt x="163150" y="115966"/>
                  </a:lnTo>
                  <a:lnTo>
                    <a:pt x="163659" y="114693"/>
                  </a:lnTo>
                  <a:lnTo>
                    <a:pt x="163659" y="114693"/>
                  </a:lnTo>
                  <a:lnTo>
                    <a:pt x="163659" y="114480"/>
                  </a:lnTo>
                  <a:cubicBezTo>
                    <a:pt x="166406" y="108392"/>
                    <a:pt x="169480" y="102457"/>
                    <a:pt x="172867" y="96700"/>
                  </a:cubicBezTo>
                  <a:cubicBezTo>
                    <a:pt x="173122" y="96149"/>
                    <a:pt x="173334" y="95597"/>
                    <a:pt x="173546" y="95088"/>
                  </a:cubicBezTo>
                  <a:cubicBezTo>
                    <a:pt x="154239" y="63390"/>
                    <a:pt x="131112" y="45143"/>
                    <a:pt x="96401" y="29061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3" name="Freihandform: Form 212">
              <a:extLst>
                <a:ext uri="{FF2B5EF4-FFF2-40B4-BE49-F238E27FC236}">
                  <a16:creationId xmlns:a16="http://schemas.microsoft.com/office/drawing/2014/main" id="{EDCFBD1B-01EC-4993-8433-69EC7EF32DA9}"/>
                </a:ext>
              </a:extLst>
            </p:cNvPr>
            <p:cNvSpPr/>
            <p:nvPr/>
          </p:nvSpPr>
          <p:spPr>
            <a:xfrm>
              <a:off x="2032202" y="2618704"/>
              <a:ext cx="516748" cy="513729"/>
            </a:xfrm>
            <a:custGeom>
              <a:avLst/>
              <a:gdLst>
                <a:gd name="connsiteX0" fmla="*/ 297468 w 516748"/>
                <a:gd name="connsiteY0" fmla="*/ 513680 h 513729"/>
                <a:gd name="connsiteX1" fmla="*/ 513678 w 516748"/>
                <a:gd name="connsiteY1" fmla="*/ 219180 h 513729"/>
                <a:gd name="connsiteX2" fmla="*/ 219178 w 516748"/>
                <a:gd name="connsiteY2" fmla="*/ 2970 h 513729"/>
                <a:gd name="connsiteX3" fmla="*/ 2968 w 516748"/>
                <a:gd name="connsiteY3" fmla="*/ 297470 h 513729"/>
                <a:gd name="connsiteX4" fmla="*/ 216504 w 516748"/>
                <a:gd name="connsiteY4" fmla="*/ 513256 h 513729"/>
                <a:gd name="connsiteX5" fmla="*/ 216504 w 516748"/>
                <a:gd name="connsiteY5" fmla="*/ 488729 h 513729"/>
                <a:gd name="connsiteX6" fmla="*/ 216886 w 516748"/>
                <a:gd name="connsiteY6" fmla="*/ 476211 h 513729"/>
                <a:gd name="connsiteX7" fmla="*/ 186545 w 516748"/>
                <a:gd name="connsiteY7" fmla="*/ 433777 h 513729"/>
                <a:gd name="connsiteX8" fmla="*/ 170802 w 516748"/>
                <a:gd name="connsiteY8" fmla="*/ 395926 h 513729"/>
                <a:gd name="connsiteX9" fmla="*/ 161212 w 516748"/>
                <a:gd name="connsiteY9" fmla="*/ 388161 h 513729"/>
                <a:gd name="connsiteX10" fmla="*/ 157521 w 516748"/>
                <a:gd name="connsiteY10" fmla="*/ 397114 h 513729"/>
                <a:gd name="connsiteX11" fmla="*/ 152810 w 516748"/>
                <a:gd name="connsiteY11" fmla="*/ 408741 h 513729"/>
                <a:gd name="connsiteX12" fmla="*/ 167620 w 516748"/>
                <a:gd name="connsiteY12" fmla="*/ 443537 h 513729"/>
                <a:gd name="connsiteX13" fmla="*/ 198342 w 516748"/>
                <a:gd name="connsiteY13" fmla="*/ 487711 h 513729"/>
                <a:gd name="connsiteX14" fmla="*/ 62171 w 516748"/>
                <a:gd name="connsiteY14" fmla="*/ 391343 h 513729"/>
                <a:gd name="connsiteX15" fmla="*/ 105157 w 516748"/>
                <a:gd name="connsiteY15" fmla="*/ 382432 h 513729"/>
                <a:gd name="connsiteX16" fmla="*/ 89753 w 516748"/>
                <a:gd name="connsiteY16" fmla="*/ 363422 h 513729"/>
                <a:gd name="connsiteX17" fmla="*/ 50587 w 516748"/>
                <a:gd name="connsiteY17" fmla="*/ 372375 h 513729"/>
                <a:gd name="connsiteX18" fmla="*/ 22071 w 516748"/>
                <a:gd name="connsiteY18" fmla="*/ 269812 h 513729"/>
                <a:gd name="connsiteX19" fmla="*/ 216886 w 516748"/>
                <a:gd name="connsiteY19" fmla="*/ 269812 h 513729"/>
                <a:gd name="connsiteX20" fmla="*/ 216886 w 516748"/>
                <a:gd name="connsiteY20" fmla="*/ 248595 h 513729"/>
                <a:gd name="connsiteX21" fmla="*/ 150137 w 516748"/>
                <a:gd name="connsiteY21" fmla="*/ 248595 h 513729"/>
                <a:gd name="connsiteX22" fmla="*/ 159557 w 516748"/>
                <a:gd name="connsiteY22" fmla="*/ 164237 h 513729"/>
                <a:gd name="connsiteX23" fmla="*/ 202628 w 516748"/>
                <a:gd name="connsiteY23" fmla="*/ 166952 h 513729"/>
                <a:gd name="connsiteX24" fmla="*/ 204495 w 516748"/>
                <a:gd name="connsiteY24" fmla="*/ 163558 h 513729"/>
                <a:gd name="connsiteX25" fmla="*/ 214127 w 516748"/>
                <a:gd name="connsiteY25" fmla="*/ 146117 h 513729"/>
                <a:gd name="connsiteX26" fmla="*/ 164565 w 516748"/>
                <a:gd name="connsiteY26" fmla="*/ 143274 h 513729"/>
                <a:gd name="connsiteX27" fmla="*/ 184042 w 516748"/>
                <a:gd name="connsiteY27" fmla="*/ 90104 h 513729"/>
                <a:gd name="connsiteX28" fmla="*/ 247693 w 516748"/>
                <a:gd name="connsiteY28" fmla="*/ 24544 h 513729"/>
                <a:gd name="connsiteX29" fmla="*/ 247693 w 516748"/>
                <a:gd name="connsiteY29" fmla="*/ 85352 h 513729"/>
                <a:gd name="connsiteX30" fmla="*/ 257750 w 516748"/>
                <a:gd name="connsiteY30" fmla="*/ 67190 h 513729"/>
                <a:gd name="connsiteX31" fmla="*/ 268952 w 516748"/>
                <a:gd name="connsiteY31" fmla="*/ 87474 h 513729"/>
                <a:gd name="connsiteX32" fmla="*/ 268952 w 516748"/>
                <a:gd name="connsiteY32" fmla="*/ 24502 h 513729"/>
                <a:gd name="connsiteX33" fmla="*/ 293521 w 516748"/>
                <a:gd name="connsiteY33" fmla="*/ 37232 h 513729"/>
                <a:gd name="connsiteX34" fmla="*/ 330057 w 516748"/>
                <a:gd name="connsiteY34" fmla="*/ 85012 h 513729"/>
                <a:gd name="connsiteX35" fmla="*/ 352165 w 516748"/>
                <a:gd name="connsiteY35" fmla="*/ 143444 h 513729"/>
                <a:gd name="connsiteX36" fmla="*/ 301457 w 516748"/>
                <a:gd name="connsiteY36" fmla="*/ 146329 h 513729"/>
                <a:gd name="connsiteX37" fmla="*/ 312999 w 516748"/>
                <a:gd name="connsiteY37" fmla="*/ 167207 h 513729"/>
                <a:gd name="connsiteX38" fmla="*/ 357215 w 516748"/>
                <a:gd name="connsiteY38" fmla="*/ 164406 h 513729"/>
                <a:gd name="connsiteX39" fmla="*/ 366593 w 516748"/>
                <a:gd name="connsiteY39" fmla="*/ 248935 h 513729"/>
                <a:gd name="connsiteX40" fmla="*/ 298698 w 516748"/>
                <a:gd name="connsiteY40" fmla="*/ 248935 h 513729"/>
                <a:gd name="connsiteX41" fmla="*/ 298698 w 516748"/>
                <a:gd name="connsiteY41" fmla="*/ 270152 h 513729"/>
                <a:gd name="connsiteX42" fmla="*/ 494786 w 516748"/>
                <a:gd name="connsiteY42" fmla="*/ 270152 h 513729"/>
                <a:gd name="connsiteX43" fmla="*/ 466143 w 516748"/>
                <a:gd name="connsiteY43" fmla="*/ 372715 h 513729"/>
                <a:gd name="connsiteX44" fmla="*/ 426297 w 516748"/>
                <a:gd name="connsiteY44" fmla="*/ 363634 h 513729"/>
                <a:gd name="connsiteX45" fmla="*/ 410639 w 516748"/>
                <a:gd name="connsiteY45" fmla="*/ 382390 h 513729"/>
                <a:gd name="connsiteX46" fmla="*/ 454431 w 516748"/>
                <a:gd name="connsiteY46" fmla="*/ 391386 h 513729"/>
                <a:gd name="connsiteX47" fmla="*/ 428249 w 516748"/>
                <a:gd name="connsiteY47" fmla="*/ 423551 h 513729"/>
                <a:gd name="connsiteX48" fmla="*/ 349068 w 516748"/>
                <a:gd name="connsiteY48" fmla="*/ 477442 h 513729"/>
                <a:gd name="connsiteX49" fmla="*/ 318345 w 516748"/>
                <a:gd name="connsiteY49" fmla="*/ 487753 h 513729"/>
                <a:gd name="connsiteX50" fmla="*/ 351911 w 516748"/>
                <a:gd name="connsiteY50" fmla="*/ 437808 h 513729"/>
                <a:gd name="connsiteX51" fmla="*/ 363325 w 516748"/>
                <a:gd name="connsiteY51" fmla="*/ 410481 h 513729"/>
                <a:gd name="connsiteX52" fmla="*/ 357936 w 516748"/>
                <a:gd name="connsiteY52" fmla="*/ 397199 h 513729"/>
                <a:gd name="connsiteX53" fmla="*/ 353693 w 516748"/>
                <a:gd name="connsiteY53" fmla="*/ 387057 h 513729"/>
                <a:gd name="connsiteX54" fmla="*/ 346521 w 516748"/>
                <a:gd name="connsiteY54" fmla="*/ 392107 h 513729"/>
                <a:gd name="connsiteX55" fmla="*/ 332646 w 516748"/>
                <a:gd name="connsiteY55" fmla="*/ 428558 h 513729"/>
                <a:gd name="connsiteX56" fmla="*/ 297977 w 516748"/>
                <a:gd name="connsiteY56" fmla="*/ 477399 h 513729"/>
                <a:gd name="connsiteX57" fmla="*/ 297553 w 516748"/>
                <a:gd name="connsiteY57" fmla="*/ 487074 h 513729"/>
                <a:gd name="connsiteX58" fmla="*/ 128835 w 516748"/>
                <a:gd name="connsiteY58" fmla="*/ 248765 h 513729"/>
                <a:gd name="connsiteX59" fmla="*/ 22156 w 516748"/>
                <a:gd name="connsiteY59" fmla="*/ 248765 h 513729"/>
                <a:gd name="connsiteX60" fmla="*/ 50799 w 516748"/>
                <a:gd name="connsiteY60" fmla="*/ 146202 h 513729"/>
                <a:gd name="connsiteX61" fmla="*/ 138340 w 516748"/>
                <a:gd name="connsiteY61" fmla="*/ 162200 h 513729"/>
                <a:gd name="connsiteX62" fmla="*/ 128835 w 516748"/>
                <a:gd name="connsiteY62" fmla="*/ 248765 h 513729"/>
                <a:gd name="connsiteX63" fmla="*/ 164904 w 516748"/>
                <a:gd name="connsiteY63" fmla="*/ 80854 h 513729"/>
                <a:gd name="connsiteX64" fmla="*/ 143135 w 516748"/>
                <a:gd name="connsiteY64" fmla="*/ 141237 h 513729"/>
                <a:gd name="connsiteX65" fmla="*/ 62511 w 516748"/>
                <a:gd name="connsiteY65" fmla="*/ 127277 h 513729"/>
                <a:gd name="connsiteX66" fmla="*/ 88735 w 516748"/>
                <a:gd name="connsiteY66" fmla="*/ 95112 h 513729"/>
                <a:gd name="connsiteX67" fmla="*/ 198639 w 516748"/>
                <a:gd name="connsiteY67" fmla="*/ 30909 h 513729"/>
                <a:gd name="connsiteX68" fmla="*/ 164904 w 516748"/>
                <a:gd name="connsiteY68" fmla="*/ 80854 h 513729"/>
                <a:gd name="connsiteX69" fmla="*/ 349068 w 516748"/>
                <a:gd name="connsiteY69" fmla="*/ 75083 h 513729"/>
                <a:gd name="connsiteX70" fmla="*/ 318345 w 516748"/>
                <a:gd name="connsiteY70" fmla="*/ 30909 h 513729"/>
                <a:gd name="connsiteX71" fmla="*/ 422988 w 516748"/>
                <a:gd name="connsiteY71" fmla="*/ 89807 h 513729"/>
                <a:gd name="connsiteX72" fmla="*/ 454516 w 516748"/>
                <a:gd name="connsiteY72" fmla="*/ 127277 h 513729"/>
                <a:gd name="connsiteX73" fmla="*/ 373891 w 516748"/>
                <a:gd name="connsiteY73" fmla="*/ 141237 h 513729"/>
                <a:gd name="connsiteX74" fmla="*/ 349067 w 516748"/>
                <a:gd name="connsiteY74" fmla="*/ 75083 h 513729"/>
                <a:gd name="connsiteX75" fmla="*/ 387937 w 516748"/>
                <a:gd name="connsiteY75" fmla="*/ 248765 h 513729"/>
                <a:gd name="connsiteX76" fmla="*/ 378559 w 516748"/>
                <a:gd name="connsiteY76" fmla="*/ 162157 h 513729"/>
                <a:gd name="connsiteX77" fmla="*/ 466100 w 516748"/>
                <a:gd name="connsiteY77" fmla="*/ 146202 h 513729"/>
                <a:gd name="connsiteX78" fmla="*/ 494786 w 516748"/>
                <a:gd name="connsiteY78" fmla="*/ 248765 h 513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516748" h="513729">
                  <a:moveTo>
                    <a:pt x="297468" y="513680"/>
                  </a:moveTo>
                  <a:cubicBezTo>
                    <a:pt x="438497" y="492061"/>
                    <a:pt x="535297" y="360209"/>
                    <a:pt x="513678" y="219180"/>
                  </a:cubicBezTo>
                  <a:cubicBezTo>
                    <a:pt x="492059" y="78152"/>
                    <a:pt x="360207" y="-18649"/>
                    <a:pt x="219178" y="2970"/>
                  </a:cubicBezTo>
                  <a:cubicBezTo>
                    <a:pt x="78149" y="24589"/>
                    <a:pt x="-18651" y="156441"/>
                    <a:pt x="2968" y="297470"/>
                  </a:cubicBezTo>
                  <a:cubicBezTo>
                    <a:pt x="19919" y="408045"/>
                    <a:pt x="106112" y="495147"/>
                    <a:pt x="216504" y="513256"/>
                  </a:cubicBezTo>
                  <a:cubicBezTo>
                    <a:pt x="216504" y="509564"/>
                    <a:pt x="216504" y="495391"/>
                    <a:pt x="216504" y="488729"/>
                  </a:cubicBezTo>
                  <a:cubicBezTo>
                    <a:pt x="216504" y="484486"/>
                    <a:pt x="216504" y="480242"/>
                    <a:pt x="216886" y="476211"/>
                  </a:cubicBezTo>
                  <a:cubicBezTo>
                    <a:pt x="204460" y="463871"/>
                    <a:pt x="194203" y="449526"/>
                    <a:pt x="186545" y="433777"/>
                  </a:cubicBezTo>
                  <a:cubicBezTo>
                    <a:pt x="180364" y="421569"/>
                    <a:pt x="175102" y="408917"/>
                    <a:pt x="170802" y="395926"/>
                  </a:cubicBezTo>
                  <a:cubicBezTo>
                    <a:pt x="167790" y="393253"/>
                    <a:pt x="164649" y="390664"/>
                    <a:pt x="161212" y="388161"/>
                  </a:cubicBezTo>
                  <a:lnTo>
                    <a:pt x="157521" y="397114"/>
                  </a:lnTo>
                  <a:lnTo>
                    <a:pt x="152810" y="408741"/>
                  </a:lnTo>
                  <a:cubicBezTo>
                    <a:pt x="156984" y="420650"/>
                    <a:pt x="161931" y="432273"/>
                    <a:pt x="167620" y="443537"/>
                  </a:cubicBezTo>
                  <a:cubicBezTo>
                    <a:pt x="175657" y="459678"/>
                    <a:pt x="186007" y="474559"/>
                    <a:pt x="198342" y="487711"/>
                  </a:cubicBezTo>
                  <a:cubicBezTo>
                    <a:pt x="142819" y="473054"/>
                    <a:pt x="94460" y="438831"/>
                    <a:pt x="62171" y="391343"/>
                  </a:cubicBezTo>
                  <a:cubicBezTo>
                    <a:pt x="71337" y="388925"/>
                    <a:pt x="85595" y="385615"/>
                    <a:pt x="105157" y="382432"/>
                  </a:cubicBezTo>
                  <a:lnTo>
                    <a:pt x="89753" y="363422"/>
                  </a:lnTo>
                  <a:cubicBezTo>
                    <a:pt x="71634" y="366732"/>
                    <a:pt x="58692" y="370041"/>
                    <a:pt x="50587" y="372375"/>
                  </a:cubicBezTo>
                  <a:cubicBezTo>
                    <a:pt x="33279" y="340852"/>
                    <a:pt x="23518" y="305745"/>
                    <a:pt x="22071" y="269812"/>
                  </a:cubicBezTo>
                  <a:lnTo>
                    <a:pt x="216886" y="269812"/>
                  </a:lnTo>
                  <a:lnTo>
                    <a:pt x="216886" y="248595"/>
                  </a:lnTo>
                  <a:lnTo>
                    <a:pt x="150137" y="248595"/>
                  </a:lnTo>
                  <a:cubicBezTo>
                    <a:pt x="150651" y="220244"/>
                    <a:pt x="153805" y="192003"/>
                    <a:pt x="159557" y="164237"/>
                  </a:cubicBezTo>
                  <a:cubicBezTo>
                    <a:pt x="173136" y="165425"/>
                    <a:pt x="187606" y="166316"/>
                    <a:pt x="202628" y="166952"/>
                  </a:cubicBezTo>
                  <a:lnTo>
                    <a:pt x="204495" y="163558"/>
                  </a:lnTo>
                  <a:lnTo>
                    <a:pt x="214127" y="146117"/>
                  </a:lnTo>
                  <a:cubicBezTo>
                    <a:pt x="196814" y="145523"/>
                    <a:pt x="180180" y="144547"/>
                    <a:pt x="164565" y="143274"/>
                  </a:cubicBezTo>
                  <a:cubicBezTo>
                    <a:pt x="169399" y="124987"/>
                    <a:pt x="175920" y="107188"/>
                    <a:pt x="184042" y="90104"/>
                  </a:cubicBezTo>
                  <a:cubicBezTo>
                    <a:pt x="201906" y="53272"/>
                    <a:pt x="224439" y="30103"/>
                    <a:pt x="247693" y="24544"/>
                  </a:cubicBezTo>
                  <a:lnTo>
                    <a:pt x="247693" y="85352"/>
                  </a:lnTo>
                  <a:lnTo>
                    <a:pt x="257750" y="67190"/>
                  </a:lnTo>
                  <a:lnTo>
                    <a:pt x="268952" y="87474"/>
                  </a:lnTo>
                  <a:lnTo>
                    <a:pt x="268952" y="24502"/>
                  </a:lnTo>
                  <a:cubicBezTo>
                    <a:pt x="277983" y="26873"/>
                    <a:pt x="286375" y="31222"/>
                    <a:pt x="293521" y="37232"/>
                  </a:cubicBezTo>
                  <a:cubicBezTo>
                    <a:pt x="308913" y="50423"/>
                    <a:pt x="321361" y="66702"/>
                    <a:pt x="330057" y="85012"/>
                  </a:cubicBezTo>
                  <a:cubicBezTo>
                    <a:pt x="339467" y="103655"/>
                    <a:pt x="346877" y="123242"/>
                    <a:pt x="352165" y="143444"/>
                  </a:cubicBezTo>
                  <a:cubicBezTo>
                    <a:pt x="336252" y="144759"/>
                    <a:pt x="319194" y="145735"/>
                    <a:pt x="301457" y="146329"/>
                  </a:cubicBezTo>
                  <a:lnTo>
                    <a:pt x="312999" y="167207"/>
                  </a:lnTo>
                  <a:cubicBezTo>
                    <a:pt x="328402" y="166528"/>
                    <a:pt x="343296" y="165595"/>
                    <a:pt x="357215" y="164406"/>
                  </a:cubicBezTo>
                  <a:cubicBezTo>
                    <a:pt x="362948" y="192232"/>
                    <a:pt x="366087" y="220529"/>
                    <a:pt x="366593" y="248935"/>
                  </a:cubicBezTo>
                  <a:lnTo>
                    <a:pt x="298698" y="248935"/>
                  </a:lnTo>
                  <a:lnTo>
                    <a:pt x="298698" y="270152"/>
                  </a:lnTo>
                  <a:lnTo>
                    <a:pt x="494786" y="270152"/>
                  </a:lnTo>
                  <a:cubicBezTo>
                    <a:pt x="493298" y="306095"/>
                    <a:pt x="483494" y="341202"/>
                    <a:pt x="466143" y="372715"/>
                  </a:cubicBezTo>
                  <a:cubicBezTo>
                    <a:pt x="453021" y="369023"/>
                    <a:pt x="439723" y="365992"/>
                    <a:pt x="426297" y="363634"/>
                  </a:cubicBezTo>
                  <a:lnTo>
                    <a:pt x="410639" y="382390"/>
                  </a:lnTo>
                  <a:cubicBezTo>
                    <a:pt x="430583" y="385615"/>
                    <a:pt x="445096" y="388925"/>
                    <a:pt x="454431" y="391386"/>
                  </a:cubicBezTo>
                  <a:cubicBezTo>
                    <a:pt x="446656" y="402848"/>
                    <a:pt x="437895" y="413611"/>
                    <a:pt x="428249" y="423551"/>
                  </a:cubicBezTo>
                  <a:cubicBezTo>
                    <a:pt x="405829" y="446752"/>
                    <a:pt x="378877" y="465096"/>
                    <a:pt x="349068" y="477442"/>
                  </a:cubicBezTo>
                  <a:cubicBezTo>
                    <a:pt x="339069" y="481562"/>
                    <a:pt x="328805" y="485007"/>
                    <a:pt x="318345" y="487753"/>
                  </a:cubicBezTo>
                  <a:cubicBezTo>
                    <a:pt x="332094" y="472976"/>
                    <a:pt x="343422" y="456120"/>
                    <a:pt x="351911" y="437808"/>
                  </a:cubicBezTo>
                  <a:cubicBezTo>
                    <a:pt x="356175" y="428898"/>
                    <a:pt x="359984" y="419777"/>
                    <a:pt x="363325" y="410481"/>
                  </a:cubicBezTo>
                  <a:lnTo>
                    <a:pt x="357936" y="397199"/>
                  </a:lnTo>
                  <a:lnTo>
                    <a:pt x="353693" y="387057"/>
                  </a:lnTo>
                  <a:cubicBezTo>
                    <a:pt x="351232" y="388670"/>
                    <a:pt x="348855" y="390367"/>
                    <a:pt x="346521" y="392107"/>
                  </a:cubicBezTo>
                  <a:cubicBezTo>
                    <a:pt x="342556" y="404498"/>
                    <a:pt x="337924" y="416666"/>
                    <a:pt x="332646" y="428558"/>
                  </a:cubicBezTo>
                  <a:cubicBezTo>
                    <a:pt x="324273" y="446879"/>
                    <a:pt x="312510" y="463451"/>
                    <a:pt x="297977" y="477399"/>
                  </a:cubicBezTo>
                  <a:cubicBezTo>
                    <a:pt x="297722" y="480582"/>
                    <a:pt x="297553" y="483764"/>
                    <a:pt x="297553" y="487074"/>
                  </a:cubicBezTo>
                  <a:close/>
                  <a:moveTo>
                    <a:pt x="128835" y="248765"/>
                  </a:moveTo>
                  <a:lnTo>
                    <a:pt x="22156" y="248765"/>
                  </a:lnTo>
                  <a:cubicBezTo>
                    <a:pt x="23650" y="212823"/>
                    <a:pt x="33454" y="177717"/>
                    <a:pt x="50799" y="146202"/>
                  </a:cubicBezTo>
                  <a:cubicBezTo>
                    <a:pt x="79472" y="154011"/>
                    <a:pt x="108759" y="159363"/>
                    <a:pt x="138340" y="162200"/>
                  </a:cubicBezTo>
                  <a:cubicBezTo>
                    <a:pt x="132568" y="190709"/>
                    <a:pt x="129387" y="219682"/>
                    <a:pt x="128835" y="248765"/>
                  </a:cubicBezTo>
                  <a:close/>
                  <a:moveTo>
                    <a:pt x="164904" y="80854"/>
                  </a:moveTo>
                  <a:cubicBezTo>
                    <a:pt x="155692" y="100222"/>
                    <a:pt x="148401" y="120447"/>
                    <a:pt x="143135" y="141237"/>
                  </a:cubicBezTo>
                  <a:cubicBezTo>
                    <a:pt x="115951" y="138595"/>
                    <a:pt x="89001" y="133929"/>
                    <a:pt x="62511" y="127277"/>
                  </a:cubicBezTo>
                  <a:cubicBezTo>
                    <a:pt x="70298" y="115811"/>
                    <a:pt x="79072" y="105048"/>
                    <a:pt x="88735" y="95112"/>
                  </a:cubicBezTo>
                  <a:cubicBezTo>
                    <a:pt x="118804" y="64057"/>
                    <a:pt x="156820" y="41849"/>
                    <a:pt x="198639" y="30909"/>
                  </a:cubicBezTo>
                  <a:cubicBezTo>
                    <a:pt x="184818" y="45664"/>
                    <a:pt x="173430" y="62523"/>
                    <a:pt x="164904" y="80854"/>
                  </a:cubicBezTo>
                  <a:close/>
                  <a:moveTo>
                    <a:pt x="349068" y="75083"/>
                  </a:moveTo>
                  <a:cubicBezTo>
                    <a:pt x="341041" y="58936"/>
                    <a:pt x="330690" y="44053"/>
                    <a:pt x="318345" y="30909"/>
                  </a:cubicBezTo>
                  <a:cubicBezTo>
                    <a:pt x="357721" y="41190"/>
                    <a:pt x="393769" y="61480"/>
                    <a:pt x="422988" y="89807"/>
                  </a:cubicBezTo>
                  <a:cubicBezTo>
                    <a:pt x="434752" y="101185"/>
                    <a:pt x="445316" y="113741"/>
                    <a:pt x="454516" y="127277"/>
                  </a:cubicBezTo>
                  <a:cubicBezTo>
                    <a:pt x="428022" y="133909"/>
                    <a:pt x="401073" y="138576"/>
                    <a:pt x="373891" y="141237"/>
                  </a:cubicBezTo>
                  <a:cubicBezTo>
                    <a:pt x="368062" y="118344"/>
                    <a:pt x="359737" y="96160"/>
                    <a:pt x="349067" y="75083"/>
                  </a:cubicBezTo>
                  <a:close/>
                  <a:moveTo>
                    <a:pt x="387937" y="248765"/>
                  </a:moveTo>
                  <a:cubicBezTo>
                    <a:pt x="387401" y="219674"/>
                    <a:pt x="384263" y="190689"/>
                    <a:pt x="378559" y="162157"/>
                  </a:cubicBezTo>
                  <a:cubicBezTo>
                    <a:pt x="408139" y="159327"/>
                    <a:pt x="437424" y="153989"/>
                    <a:pt x="466100" y="146202"/>
                  </a:cubicBezTo>
                  <a:cubicBezTo>
                    <a:pt x="483468" y="177710"/>
                    <a:pt x="493287" y="212819"/>
                    <a:pt x="494786" y="248765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4" name="Freihandform: Form 213">
              <a:extLst>
                <a:ext uri="{FF2B5EF4-FFF2-40B4-BE49-F238E27FC236}">
                  <a16:creationId xmlns:a16="http://schemas.microsoft.com/office/drawing/2014/main" id="{DF566BF2-7FEA-4505-9384-B45DEE33A065}"/>
                </a:ext>
              </a:extLst>
            </p:cNvPr>
            <p:cNvSpPr/>
            <p:nvPr/>
          </p:nvSpPr>
          <p:spPr>
            <a:xfrm>
              <a:off x="2270099" y="2910673"/>
              <a:ext cx="209923" cy="222778"/>
            </a:xfrm>
            <a:custGeom>
              <a:avLst/>
              <a:gdLst>
                <a:gd name="connsiteX0" fmla="*/ 100690 w 209923"/>
                <a:gd name="connsiteY0" fmla="*/ -49 h 222778"/>
                <a:gd name="connsiteX1" fmla="*/ 112062 w 209923"/>
                <a:gd name="connsiteY1" fmla="*/ 28594 h 222778"/>
                <a:gd name="connsiteX2" fmla="*/ 37633 w 209923"/>
                <a:gd name="connsiteY2" fmla="*/ 86177 h 222778"/>
                <a:gd name="connsiteX3" fmla="*/ 37124 w 209923"/>
                <a:gd name="connsiteY3" fmla="*/ 86771 h 222778"/>
                <a:gd name="connsiteX4" fmla="*/ 14888 w 209923"/>
                <a:gd name="connsiteY4" fmla="*/ 123094 h 222778"/>
                <a:gd name="connsiteX5" fmla="*/ 13870 w 209923"/>
                <a:gd name="connsiteY5" fmla="*/ 125513 h 222778"/>
                <a:gd name="connsiteX6" fmla="*/ 12045 w 209923"/>
                <a:gd name="connsiteY6" fmla="*/ 129757 h 222778"/>
                <a:gd name="connsiteX7" fmla="*/ 6019 w 209923"/>
                <a:gd name="connsiteY7" fmla="*/ 148385 h 222778"/>
                <a:gd name="connsiteX8" fmla="*/ -49 w 209923"/>
                <a:gd name="connsiteY8" fmla="*/ 196760 h 222778"/>
                <a:gd name="connsiteX9" fmla="*/ -49 w 209923"/>
                <a:gd name="connsiteY9" fmla="*/ 222729 h 222778"/>
                <a:gd name="connsiteX10" fmla="*/ 38481 w 209923"/>
                <a:gd name="connsiteY10" fmla="*/ 222729 h 222778"/>
                <a:gd name="connsiteX11" fmla="*/ 38736 w 209923"/>
                <a:gd name="connsiteY11" fmla="*/ 195232 h 222778"/>
                <a:gd name="connsiteX12" fmla="*/ 126617 w 209923"/>
                <a:gd name="connsiteY12" fmla="*/ 64663 h 222778"/>
                <a:gd name="connsiteX13" fmla="*/ 139899 w 209923"/>
                <a:gd name="connsiteY13" fmla="*/ 97379 h 222778"/>
                <a:gd name="connsiteX14" fmla="*/ 209872 w 209923"/>
                <a:gd name="connsiteY14" fmla="*/ 11833 h 222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9923" h="222778">
                  <a:moveTo>
                    <a:pt x="100690" y="-49"/>
                  </a:moveTo>
                  <a:cubicBezTo>
                    <a:pt x="100690" y="-49"/>
                    <a:pt x="108073" y="18452"/>
                    <a:pt x="112062" y="28594"/>
                  </a:cubicBezTo>
                  <a:cubicBezTo>
                    <a:pt x="83410" y="42229"/>
                    <a:pt x="58026" y="61867"/>
                    <a:pt x="37633" y="86177"/>
                  </a:cubicBezTo>
                  <a:lnTo>
                    <a:pt x="37124" y="86771"/>
                  </a:lnTo>
                  <a:cubicBezTo>
                    <a:pt x="28249" y="97920"/>
                    <a:pt x="20781" y="110120"/>
                    <a:pt x="14888" y="123094"/>
                  </a:cubicBezTo>
                  <a:lnTo>
                    <a:pt x="13870" y="125513"/>
                  </a:lnTo>
                  <a:lnTo>
                    <a:pt x="12045" y="129757"/>
                  </a:lnTo>
                  <a:cubicBezTo>
                    <a:pt x="9650" y="135834"/>
                    <a:pt x="7637" y="142056"/>
                    <a:pt x="6019" y="148385"/>
                  </a:cubicBezTo>
                  <a:cubicBezTo>
                    <a:pt x="1904" y="164178"/>
                    <a:pt x="-136" y="180440"/>
                    <a:pt x="-49" y="196760"/>
                  </a:cubicBezTo>
                  <a:cubicBezTo>
                    <a:pt x="-49" y="203719"/>
                    <a:pt x="-49" y="221753"/>
                    <a:pt x="-49" y="222729"/>
                  </a:cubicBezTo>
                  <a:lnTo>
                    <a:pt x="38481" y="222729"/>
                  </a:lnTo>
                  <a:cubicBezTo>
                    <a:pt x="38481" y="221244"/>
                    <a:pt x="38736" y="206223"/>
                    <a:pt x="38736" y="195232"/>
                  </a:cubicBezTo>
                  <a:cubicBezTo>
                    <a:pt x="38736" y="135358"/>
                    <a:pt x="72047" y="92160"/>
                    <a:pt x="126617" y="64663"/>
                  </a:cubicBezTo>
                  <a:lnTo>
                    <a:pt x="139899" y="97379"/>
                  </a:lnTo>
                  <a:lnTo>
                    <a:pt x="209872" y="11833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23" name="Gruppieren 222">
            <a:extLst>
              <a:ext uri="{FF2B5EF4-FFF2-40B4-BE49-F238E27FC236}">
                <a16:creationId xmlns:a16="http://schemas.microsoft.com/office/drawing/2014/main" id="{872BA11B-825E-4EDB-B8F4-EBE944762DA0}"/>
              </a:ext>
            </a:extLst>
          </p:cNvPr>
          <p:cNvGrpSpPr/>
          <p:nvPr/>
        </p:nvGrpSpPr>
        <p:grpSpPr>
          <a:xfrm>
            <a:off x="5720046" y="3717440"/>
            <a:ext cx="755830" cy="755976"/>
            <a:chOff x="5720046" y="2500122"/>
            <a:chExt cx="755830" cy="755976"/>
          </a:xfrm>
          <a:solidFill>
            <a:schemeClr val="bg1"/>
          </a:solidFill>
        </p:grpSpPr>
        <p:grpSp>
          <p:nvGrpSpPr>
            <p:cNvPr id="224" name="Grafik 79">
              <a:extLst>
                <a:ext uri="{FF2B5EF4-FFF2-40B4-BE49-F238E27FC236}">
                  <a16:creationId xmlns:a16="http://schemas.microsoft.com/office/drawing/2014/main" id="{F9091DFB-A84D-48AD-96E9-8FD0CF60B18A}"/>
                </a:ext>
              </a:extLst>
            </p:cNvPr>
            <p:cNvGrpSpPr/>
            <p:nvPr/>
          </p:nvGrpSpPr>
          <p:grpSpPr>
            <a:xfrm>
              <a:off x="5720046" y="2500122"/>
              <a:ext cx="755830" cy="755976"/>
              <a:chOff x="5720046" y="2500122"/>
              <a:chExt cx="755830" cy="755976"/>
            </a:xfrm>
            <a:grpFill/>
          </p:grpSpPr>
          <p:sp>
            <p:nvSpPr>
              <p:cNvPr id="232" name="Freihandform: Form 231">
                <a:extLst>
                  <a:ext uri="{FF2B5EF4-FFF2-40B4-BE49-F238E27FC236}">
                    <a16:creationId xmlns:a16="http://schemas.microsoft.com/office/drawing/2014/main" id="{E851BC07-53B0-41CC-AC22-3B14363D1B84}"/>
                  </a:ext>
                </a:extLst>
              </p:cNvPr>
              <p:cNvSpPr/>
              <p:nvPr/>
            </p:nvSpPr>
            <p:spPr>
              <a:xfrm>
                <a:off x="5720046" y="2500122"/>
                <a:ext cx="683436" cy="466182"/>
              </a:xfrm>
              <a:custGeom>
                <a:avLst/>
                <a:gdLst>
                  <a:gd name="connsiteX0" fmla="*/ 10556 w 683436"/>
                  <a:gd name="connsiteY0" fmla="*/ 466133 h 466182"/>
                  <a:gd name="connsiteX1" fmla="*/ 289200 w 683436"/>
                  <a:gd name="connsiteY1" fmla="*/ 10485 h 466182"/>
                  <a:gd name="connsiteX2" fmla="*/ 683389 w 683436"/>
                  <a:gd name="connsiteY2" fmla="*/ 155856 h 466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36" h="466182">
                    <a:moveTo>
                      <a:pt x="10556" y="466133"/>
                    </a:moveTo>
                    <a:cubicBezTo>
                      <a:pt x="-38322" y="263364"/>
                      <a:pt x="86431" y="59364"/>
                      <a:pt x="289200" y="10485"/>
                    </a:cubicBezTo>
                    <a:cubicBezTo>
                      <a:pt x="437911" y="-25362"/>
                      <a:pt x="593560" y="32039"/>
                      <a:pt x="683389" y="155856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3" name="Freihandform: Form 232">
                <a:extLst>
                  <a:ext uri="{FF2B5EF4-FFF2-40B4-BE49-F238E27FC236}">
                    <a16:creationId xmlns:a16="http://schemas.microsoft.com/office/drawing/2014/main" id="{1947AD6B-A5F1-4E0F-9C21-0E833089AF56}"/>
                  </a:ext>
                </a:extLst>
              </p:cNvPr>
              <p:cNvSpPr/>
              <p:nvPr/>
            </p:nvSpPr>
            <p:spPr>
              <a:xfrm>
                <a:off x="6351416" y="2617539"/>
                <a:ext cx="89068" cy="101502"/>
              </a:xfrm>
              <a:custGeom>
                <a:avLst/>
                <a:gdLst>
                  <a:gd name="connsiteX0" fmla="*/ 0 w 89068"/>
                  <a:gd name="connsiteY0" fmla="*/ 52788 h 101502"/>
                  <a:gd name="connsiteX1" fmla="*/ 89069 w 89068"/>
                  <a:gd name="connsiteY1" fmla="*/ 101502 h 101502"/>
                  <a:gd name="connsiteX2" fmla="*/ 86735 w 89068"/>
                  <a:gd name="connsiteY2" fmla="*/ 0 h 101502"/>
                  <a:gd name="connsiteX3" fmla="*/ 0 w 89068"/>
                  <a:gd name="connsiteY3" fmla="*/ 52788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0" y="52788"/>
                    </a:moveTo>
                    <a:lnTo>
                      <a:pt x="89069" y="101502"/>
                    </a:lnTo>
                    <a:lnTo>
                      <a:pt x="86735" y="0"/>
                    </a:lnTo>
                    <a:lnTo>
                      <a:pt x="0" y="52788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4" name="Freihandform: Form 233">
                <a:extLst>
                  <a:ext uri="{FF2B5EF4-FFF2-40B4-BE49-F238E27FC236}">
                    <a16:creationId xmlns:a16="http://schemas.microsoft.com/office/drawing/2014/main" id="{6D69FB1C-0416-4B07-AAA7-13DD588C551D}"/>
                  </a:ext>
                </a:extLst>
              </p:cNvPr>
              <p:cNvSpPr/>
              <p:nvPr/>
            </p:nvSpPr>
            <p:spPr>
              <a:xfrm>
                <a:off x="5792433" y="2790415"/>
                <a:ext cx="683443" cy="465683"/>
              </a:xfrm>
              <a:custGeom>
                <a:avLst/>
                <a:gdLst>
                  <a:gd name="connsiteX0" fmla="*/ 672913 w 683443"/>
                  <a:gd name="connsiteY0" fmla="*/ -49 h 465683"/>
                  <a:gd name="connsiteX1" fmla="*/ 393650 w 683443"/>
                  <a:gd name="connsiteY1" fmla="*/ 455220 h 465683"/>
                  <a:gd name="connsiteX2" fmla="*/ -47 w 683443"/>
                  <a:gd name="connsiteY2" fmla="*/ 309719 h 465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43" h="465683">
                    <a:moveTo>
                      <a:pt x="672913" y="-49"/>
                    </a:moveTo>
                    <a:cubicBezTo>
                      <a:pt x="721516" y="202786"/>
                      <a:pt x="596485" y="406617"/>
                      <a:pt x="393650" y="455220"/>
                    </a:cubicBezTo>
                    <a:cubicBezTo>
                      <a:pt x="245067" y="490822"/>
                      <a:pt x="89671" y="433392"/>
                      <a:pt x="-47" y="309719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5" name="Freihandform: Form 234">
                <a:extLst>
                  <a:ext uri="{FF2B5EF4-FFF2-40B4-BE49-F238E27FC236}">
                    <a16:creationId xmlns:a16="http://schemas.microsoft.com/office/drawing/2014/main" id="{59A4DBAF-9997-4D0C-B626-38AE37316383}"/>
                  </a:ext>
                </a:extLst>
              </p:cNvPr>
              <p:cNvSpPr/>
              <p:nvPr/>
            </p:nvSpPr>
            <p:spPr>
              <a:xfrm>
                <a:off x="5755473" y="3037254"/>
                <a:ext cx="89068" cy="101502"/>
              </a:xfrm>
              <a:custGeom>
                <a:avLst/>
                <a:gdLst>
                  <a:gd name="connsiteX0" fmla="*/ 89069 w 89068"/>
                  <a:gd name="connsiteY0" fmla="*/ 48714 h 101502"/>
                  <a:gd name="connsiteX1" fmla="*/ 0 w 89068"/>
                  <a:gd name="connsiteY1" fmla="*/ 0 h 101502"/>
                  <a:gd name="connsiteX2" fmla="*/ 2334 w 89068"/>
                  <a:gd name="connsiteY2" fmla="*/ 101502 h 101502"/>
                  <a:gd name="connsiteX3" fmla="*/ 89069 w 89068"/>
                  <a:gd name="connsiteY3" fmla="*/ 48714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89069" y="48714"/>
                    </a:moveTo>
                    <a:lnTo>
                      <a:pt x="0" y="0"/>
                    </a:lnTo>
                    <a:lnTo>
                      <a:pt x="2334" y="101502"/>
                    </a:lnTo>
                    <a:lnTo>
                      <a:pt x="89069" y="48714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25" name="Freihandform: Form 224">
              <a:extLst>
                <a:ext uri="{FF2B5EF4-FFF2-40B4-BE49-F238E27FC236}">
                  <a16:creationId xmlns:a16="http://schemas.microsoft.com/office/drawing/2014/main" id="{A4242B81-6950-4EBF-AA3B-987AB47E5E63}"/>
                </a:ext>
              </a:extLst>
            </p:cNvPr>
            <p:cNvSpPr/>
            <p:nvPr/>
          </p:nvSpPr>
          <p:spPr>
            <a:xfrm>
              <a:off x="6351416" y="2617539"/>
              <a:ext cx="89068" cy="101502"/>
            </a:xfrm>
            <a:custGeom>
              <a:avLst/>
              <a:gdLst>
                <a:gd name="connsiteX0" fmla="*/ 0 w 89068"/>
                <a:gd name="connsiteY0" fmla="*/ 52788 h 101502"/>
                <a:gd name="connsiteX1" fmla="*/ 89069 w 89068"/>
                <a:gd name="connsiteY1" fmla="*/ 101502 h 101502"/>
                <a:gd name="connsiteX2" fmla="*/ 86735 w 89068"/>
                <a:gd name="connsiteY2" fmla="*/ 0 h 101502"/>
                <a:gd name="connsiteX3" fmla="*/ 0 w 89068"/>
                <a:gd name="connsiteY3" fmla="*/ 52788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0" y="52788"/>
                  </a:moveTo>
                  <a:lnTo>
                    <a:pt x="89069" y="101502"/>
                  </a:lnTo>
                  <a:lnTo>
                    <a:pt x="86735" y="0"/>
                  </a:lnTo>
                  <a:lnTo>
                    <a:pt x="0" y="52788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6" name="Freihandform: Form 225">
              <a:extLst>
                <a:ext uri="{FF2B5EF4-FFF2-40B4-BE49-F238E27FC236}">
                  <a16:creationId xmlns:a16="http://schemas.microsoft.com/office/drawing/2014/main" id="{0BCD4FFB-0F20-472B-B49F-CB6839415994}"/>
                </a:ext>
              </a:extLst>
            </p:cNvPr>
            <p:cNvSpPr/>
            <p:nvPr/>
          </p:nvSpPr>
          <p:spPr>
            <a:xfrm>
              <a:off x="5755473" y="3037254"/>
              <a:ext cx="89068" cy="101502"/>
            </a:xfrm>
            <a:custGeom>
              <a:avLst/>
              <a:gdLst>
                <a:gd name="connsiteX0" fmla="*/ 89069 w 89068"/>
                <a:gd name="connsiteY0" fmla="*/ 48714 h 101502"/>
                <a:gd name="connsiteX1" fmla="*/ 0 w 89068"/>
                <a:gd name="connsiteY1" fmla="*/ 0 h 101502"/>
                <a:gd name="connsiteX2" fmla="*/ 2334 w 89068"/>
                <a:gd name="connsiteY2" fmla="*/ 101502 h 101502"/>
                <a:gd name="connsiteX3" fmla="*/ 89069 w 89068"/>
                <a:gd name="connsiteY3" fmla="*/ 48714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89069" y="48714"/>
                  </a:moveTo>
                  <a:lnTo>
                    <a:pt x="0" y="0"/>
                  </a:lnTo>
                  <a:lnTo>
                    <a:pt x="2334" y="101502"/>
                  </a:lnTo>
                  <a:lnTo>
                    <a:pt x="89069" y="48714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27" name="Grafik 79">
              <a:extLst>
                <a:ext uri="{FF2B5EF4-FFF2-40B4-BE49-F238E27FC236}">
                  <a16:creationId xmlns:a16="http://schemas.microsoft.com/office/drawing/2014/main" id="{13F06A84-AB31-45FC-9B09-54EE774B3D61}"/>
                </a:ext>
              </a:extLst>
            </p:cNvPr>
            <p:cNvGrpSpPr/>
            <p:nvPr/>
          </p:nvGrpSpPr>
          <p:grpSpPr>
            <a:xfrm>
              <a:off x="5846748" y="2639817"/>
              <a:ext cx="457845" cy="501883"/>
              <a:chOff x="5846748" y="2639817"/>
              <a:chExt cx="457845" cy="501883"/>
            </a:xfrm>
            <a:grpFill/>
          </p:grpSpPr>
          <p:sp>
            <p:nvSpPr>
              <p:cNvPr id="230" name="Freihandform: Form 229">
                <a:extLst>
                  <a:ext uri="{FF2B5EF4-FFF2-40B4-BE49-F238E27FC236}">
                    <a16:creationId xmlns:a16="http://schemas.microsoft.com/office/drawing/2014/main" id="{8D73CE97-5938-4043-99C4-83832C1E1EDE}"/>
                  </a:ext>
                </a:extLst>
              </p:cNvPr>
              <p:cNvSpPr/>
              <p:nvPr/>
            </p:nvSpPr>
            <p:spPr>
              <a:xfrm>
                <a:off x="5846748" y="2639817"/>
                <a:ext cx="457845" cy="501883"/>
              </a:xfrm>
              <a:custGeom>
                <a:avLst/>
                <a:gdLst>
                  <a:gd name="connsiteX0" fmla="*/ 455991 w 457845"/>
                  <a:gd name="connsiteY0" fmla="*/ 100647 h 501883"/>
                  <a:gd name="connsiteX1" fmla="*/ 401930 w 457845"/>
                  <a:gd name="connsiteY1" fmla="*/ 7292 h 501883"/>
                  <a:gd name="connsiteX2" fmla="*/ 390048 w 457845"/>
                  <a:gd name="connsiteY2" fmla="*/ -49 h 501883"/>
                  <a:gd name="connsiteX3" fmla="*/ 281842 w 457845"/>
                  <a:gd name="connsiteY3" fmla="*/ -49 h 501883"/>
                  <a:gd name="connsiteX4" fmla="*/ 269833 w 457845"/>
                  <a:gd name="connsiteY4" fmla="*/ 6910 h 501883"/>
                  <a:gd name="connsiteX5" fmla="*/ 219803 w 457845"/>
                  <a:gd name="connsiteY5" fmla="*/ 93518 h 501883"/>
                  <a:gd name="connsiteX6" fmla="*/ 125897 w 457845"/>
                  <a:gd name="connsiteY6" fmla="*/ 93518 h 501883"/>
                  <a:gd name="connsiteX7" fmla="*/ 100691 w 457845"/>
                  <a:gd name="connsiteY7" fmla="*/ 50023 h 501883"/>
                  <a:gd name="connsiteX8" fmla="*/ 88767 w 457845"/>
                  <a:gd name="connsiteY8" fmla="*/ 43106 h 501883"/>
                  <a:gd name="connsiteX9" fmla="*/ 74880 w 457845"/>
                  <a:gd name="connsiteY9" fmla="*/ 56886 h 501883"/>
                  <a:gd name="connsiteX10" fmla="*/ 76758 w 457845"/>
                  <a:gd name="connsiteY10" fmla="*/ 63899 h 501883"/>
                  <a:gd name="connsiteX11" fmla="*/ 102728 w 457845"/>
                  <a:gd name="connsiteY11" fmla="*/ 108921 h 501883"/>
                  <a:gd name="connsiteX12" fmla="*/ 57493 w 457845"/>
                  <a:gd name="connsiteY12" fmla="*/ 187212 h 501883"/>
                  <a:gd name="connsiteX13" fmla="*/ 13829 w 457845"/>
                  <a:gd name="connsiteY13" fmla="*/ 187212 h 501883"/>
                  <a:gd name="connsiteX14" fmla="*/ -47 w 457845"/>
                  <a:gd name="connsiteY14" fmla="*/ 201088 h 501883"/>
                  <a:gd name="connsiteX15" fmla="*/ 13829 w 457845"/>
                  <a:gd name="connsiteY15" fmla="*/ 214964 h 501883"/>
                  <a:gd name="connsiteX16" fmla="*/ 57239 w 457845"/>
                  <a:gd name="connsiteY16" fmla="*/ 214964 h 501883"/>
                  <a:gd name="connsiteX17" fmla="*/ 103152 w 457845"/>
                  <a:gd name="connsiteY17" fmla="*/ 294443 h 501883"/>
                  <a:gd name="connsiteX18" fmla="*/ 81171 w 457845"/>
                  <a:gd name="connsiteY18" fmla="*/ 332633 h 501883"/>
                  <a:gd name="connsiteX19" fmla="*/ 86844 w 457845"/>
                  <a:gd name="connsiteY19" fmla="*/ 351419 h 501883"/>
                  <a:gd name="connsiteX20" fmla="*/ 105189 w 457845"/>
                  <a:gd name="connsiteY20" fmla="*/ 346509 h 501883"/>
                  <a:gd name="connsiteX21" fmla="*/ 127043 w 457845"/>
                  <a:gd name="connsiteY21" fmla="*/ 308743 h 501883"/>
                  <a:gd name="connsiteX22" fmla="*/ 212165 w 457845"/>
                  <a:gd name="connsiteY22" fmla="*/ 308743 h 501883"/>
                  <a:gd name="connsiteX23" fmla="*/ 186026 w 457845"/>
                  <a:gd name="connsiteY23" fmla="*/ 369636 h 501883"/>
                  <a:gd name="connsiteX24" fmla="*/ 184031 w 457845"/>
                  <a:gd name="connsiteY24" fmla="*/ 374303 h 501883"/>
                  <a:gd name="connsiteX25" fmla="*/ 154328 w 457845"/>
                  <a:gd name="connsiteY25" fmla="*/ 443895 h 501883"/>
                  <a:gd name="connsiteX26" fmla="*/ 165742 w 457845"/>
                  <a:gd name="connsiteY26" fmla="*/ 492822 h 501883"/>
                  <a:gd name="connsiteX27" fmla="*/ 193706 w 457845"/>
                  <a:gd name="connsiteY27" fmla="*/ 501733 h 501883"/>
                  <a:gd name="connsiteX28" fmla="*/ 354574 w 457845"/>
                  <a:gd name="connsiteY28" fmla="*/ 501733 h 501883"/>
                  <a:gd name="connsiteX29" fmla="*/ 381392 w 457845"/>
                  <a:gd name="connsiteY29" fmla="*/ 492991 h 501883"/>
                  <a:gd name="connsiteX30" fmla="*/ 392807 w 457845"/>
                  <a:gd name="connsiteY30" fmla="*/ 443131 h 501883"/>
                  <a:gd name="connsiteX31" fmla="*/ 331617 w 457845"/>
                  <a:gd name="connsiteY31" fmla="*/ 300214 h 501883"/>
                  <a:gd name="connsiteX32" fmla="*/ 328137 w 457845"/>
                  <a:gd name="connsiteY32" fmla="*/ 284725 h 501883"/>
                  <a:gd name="connsiteX33" fmla="*/ 328137 w 457845"/>
                  <a:gd name="connsiteY33" fmla="*/ 215176 h 501883"/>
                  <a:gd name="connsiteX34" fmla="*/ 382495 w 457845"/>
                  <a:gd name="connsiteY34" fmla="*/ 215176 h 501883"/>
                  <a:gd name="connsiteX35" fmla="*/ 405409 w 457845"/>
                  <a:gd name="connsiteY35" fmla="*/ 254852 h 501883"/>
                  <a:gd name="connsiteX36" fmla="*/ 424377 w 457845"/>
                  <a:gd name="connsiteY36" fmla="*/ 259901 h 501883"/>
                  <a:gd name="connsiteX37" fmla="*/ 429427 w 457845"/>
                  <a:gd name="connsiteY37" fmla="*/ 240933 h 501883"/>
                  <a:gd name="connsiteX38" fmla="*/ 406343 w 457845"/>
                  <a:gd name="connsiteY38" fmla="*/ 200961 h 501883"/>
                  <a:gd name="connsiteX39" fmla="*/ 455991 w 457845"/>
                  <a:gd name="connsiteY39" fmla="*/ 114523 h 501883"/>
                  <a:gd name="connsiteX40" fmla="*/ 455991 w 457845"/>
                  <a:gd name="connsiteY40" fmla="*/ 100647 h 501883"/>
                  <a:gd name="connsiteX41" fmla="*/ 245773 w 457845"/>
                  <a:gd name="connsiteY41" fmla="*/ 271995 h 501883"/>
                  <a:gd name="connsiteX42" fmla="*/ 245773 w 457845"/>
                  <a:gd name="connsiteY42" fmla="*/ 262999 h 501883"/>
                  <a:gd name="connsiteX43" fmla="*/ 245773 w 457845"/>
                  <a:gd name="connsiteY43" fmla="*/ 172445 h 501883"/>
                  <a:gd name="connsiteX44" fmla="*/ 302040 w 457845"/>
                  <a:gd name="connsiteY44" fmla="*/ 172445 h 501883"/>
                  <a:gd name="connsiteX45" fmla="*/ 302040 w 457845"/>
                  <a:gd name="connsiteY45" fmla="*/ 211824 h 501883"/>
                  <a:gd name="connsiteX46" fmla="*/ 302040 w 457845"/>
                  <a:gd name="connsiteY46" fmla="*/ 274584 h 501883"/>
                  <a:gd name="connsiteX47" fmla="*/ 311758 w 457845"/>
                  <a:gd name="connsiteY47" fmla="*/ 321813 h 501883"/>
                  <a:gd name="connsiteX48" fmla="*/ 360217 w 457845"/>
                  <a:gd name="connsiteY48" fmla="*/ 434517 h 501883"/>
                  <a:gd name="connsiteX49" fmla="*/ 367346 w 457845"/>
                  <a:gd name="connsiteY49" fmla="*/ 451491 h 501883"/>
                  <a:gd name="connsiteX50" fmla="*/ 367346 w 457845"/>
                  <a:gd name="connsiteY50" fmla="*/ 451491 h 501883"/>
                  <a:gd name="connsiteX51" fmla="*/ 370316 w 457845"/>
                  <a:gd name="connsiteY51" fmla="*/ 463500 h 501883"/>
                  <a:gd name="connsiteX52" fmla="*/ 355465 w 457845"/>
                  <a:gd name="connsiteY52" fmla="*/ 474872 h 501883"/>
                  <a:gd name="connsiteX53" fmla="*/ 257654 w 457845"/>
                  <a:gd name="connsiteY53" fmla="*/ 474872 h 501883"/>
                  <a:gd name="connsiteX54" fmla="*/ 194385 w 457845"/>
                  <a:gd name="connsiteY54" fmla="*/ 474872 h 501883"/>
                  <a:gd name="connsiteX55" fmla="*/ 182419 w 457845"/>
                  <a:gd name="connsiteY55" fmla="*/ 472029 h 501883"/>
                  <a:gd name="connsiteX56" fmla="*/ 178770 w 457845"/>
                  <a:gd name="connsiteY56" fmla="*/ 454461 h 501883"/>
                  <a:gd name="connsiteX57" fmla="*/ 238432 w 457845"/>
                  <a:gd name="connsiteY57" fmla="*/ 316169 h 501883"/>
                  <a:gd name="connsiteX58" fmla="*/ 245773 w 457845"/>
                  <a:gd name="connsiteY58" fmla="*/ 271995 h 501883"/>
                  <a:gd name="connsiteX59" fmla="*/ 218191 w 457845"/>
                  <a:gd name="connsiteY59" fmla="*/ 172318 h 501883"/>
                  <a:gd name="connsiteX60" fmla="*/ 219676 w 457845"/>
                  <a:gd name="connsiteY60" fmla="*/ 172318 h 501883"/>
                  <a:gd name="connsiteX61" fmla="*/ 219676 w 457845"/>
                  <a:gd name="connsiteY61" fmla="*/ 175161 h 501883"/>
                  <a:gd name="connsiteX62" fmla="*/ 219676 w 457845"/>
                  <a:gd name="connsiteY62" fmla="*/ 202021 h 501883"/>
                  <a:gd name="connsiteX63" fmla="*/ 219676 w 457845"/>
                  <a:gd name="connsiteY63" fmla="*/ 215049 h 501883"/>
                  <a:gd name="connsiteX64" fmla="*/ 219676 w 457845"/>
                  <a:gd name="connsiteY64" fmla="*/ 280652 h 501883"/>
                  <a:gd name="connsiteX65" fmla="*/ 219336 w 457845"/>
                  <a:gd name="connsiteY65" fmla="*/ 280652 h 501883"/>
                  <a:gd name="connsiteX66" fmla="*/ 127467 w 457845"/>
                  <a:gd name="connsiteY66" fmla="*/ 280652 h 501883"/>
                  <a:gd name="connsiteX67" fmla="*/ 81553 w 457845"/>
                  <a:gd name="connsiteY67" fmla="*/ 201300 h 501883"/>
                  <a:gd name="connsiteX68" fmla="*/ 81553 w 457845"/>
                  <a:gd name="connsiteY68" fmla="*/ 201003 h 501883"/>
                  <a:gd name="connsiteX69" fmla="*/ 127467 w 457845"/>
                  <a:gd name="connsiteY69" fmla="*/ 121439 h 501883"/>
                  <a:gd name="connsiteX70" fmla="*/ 219506 w 457845"/>
                  <a:gd name="connsiteY70" fmla="*/ 121439 h 501883"/>
                  <a:gd name="connsiteX71" fmla="*/ 234019 w 457845"/>
                  <a:gd name="connsiteY71" fmla="*/ 146348 h 501883"/>
                  <a:gd name="connsiteX72" fmla="*/ 219167 w 457845"/>
                  <a:gd name="connsiteY72" fmla="*/ 146348 h 501883"/>
                  <a:gd name="connsiteX73" fmla="*/ 209152 w 457845"/>
                  <a:gd name="connsiteY73" fmla="*/ 150210 h 501883"/>
                  <a:gd name="connsiteX74" fmla="*/ 205588 w 457845"/>
                  <a:gd name="connsiteY74" fmla="*/ 159460 h 501883"/>
                  <a:gd name="connsiteX75" fmla="*/ 217242 w 457845"/>
                  <a:gd name="connsiteY75" fmla="*/ 172304 h 501883"/>
                  <a:gd name="connsiteX76" fmla="*/ 217979 w 457845"/>
                  <a:gd name="connsiteY76" fmla="*/ 172318 h 501883"/>
                  <a:gd name="connsiteX77" fmla="*/ 328222 w 457845"/>
                  <a:gd name="connsiteY77" fmla="*/ 184326 h 501883"/>
                  <a:gd name="connsiteX78" fmla="*/ 328222 w 457845"/>
                  <a:gd name="connsiteY78" fmla="*/ 176604 h 501883"/>
                  <a:gd name="connsiteX79" fmla="*/ 328222 w 457845"/>
                  <a:gd name="connsiteY79" fmla="*/ 172360 h 501883"/>
                  <a:gd name="connsiteX80" fmla="*/ 330047 w 457845"/>
                  <a:gd name="connsiteY80" fmla="*/ 172360 h 501883"/>
                  <a:gd name="connsiteX81" fmla="*/ 341813 w 457845"/>
                  <a:gd name="connsiteY81" fmla="*/ 160365 h 501883"/>
                  <a:gd name="connsiteX82" fmla="*/ 341801 w 457845"/>
                  <a:gd name="connsiteY82" fmla="*/ 159927 h 501883"/>
                  <a:gd name="connsiteX83" fmla="*/ 338194 w 457845"/>
                  <a:gd name="connsiteY83" fmla="*/ 150040 h 501883"/>
                  <a:gd name="connsiteX84" fmla="*/ 329707 w 457845"/>
                  <a:gd name="connsiteY84" fmla="*/ 146560 h 501883"/>
                  <a:gd name="connsiteX85" fmla="*/ 266693 w 457845"/>
                  <a:gd name="connsiteY85" fmla="*/ 146560 h 501883"/>
                  <a:gd name="connsiteX86" fmla="*/ 244160 w 457845"/>
                  <a:gd name="connsiteY86" fmla="*/ 107818 h 501883"/>
                  <a:gd name="connsiteX87" fmla="*/ 290159 w 457845"/>
                  <a:gd name="connsiteY87" fmla="*/ 28127 h 501883"/>
                  <a:gd name="connsiteX88" fmla="*/ 382198 w 457845"/>
                  <a:gd name="connsiteY88" fmla="*/ 28127 h 501883"/>
                  <a:gd name="connsiteX89" fmla="*/ 428197 w 457845"/>
                  <a:gd name="connsiteY89" fmla="*/ 107818 h 501883"/>
                  <a:gd name="connsiteX90" fmla="*/ 382198 w 457845"/>
                  <a:gd name="connsiteY90" fmla="*/ 187509 h 501883"/>
                  <a:gd name="connsiteX91" fmla="*/ 328307 w 457845"/>
                  <a:gd name="connsiteY91" fmla="*/ 187509 h 501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</a:cxnLst>
                <a:rect l="l" t="t" r="r" b="b"/>
                <a:pathLst>
                  <a:path w="457845" h="501883">
                    <a:moveTo>
                      <a:pt x="455991" y="100647"/>
                    </a:moveTo>
                    <a:lnTo>
                      <a:pt x="401930" y="7292"/>
                    </a:lnTo>
                    <a:cubicBezTo>
                      <a:pt x="399573" y="2891"/>
                      <a:pt x="395039" y="90"/>
                      <a:pt x="390048" y="-49"/>
                    </a:cubicBezTo>
                    <a:lnTo>
                      <a:pt x="281842" y="-49"/>
                    </a:lnTo>
                    <a:cubicBezTo>
                      <a:pt x="276883" y="-42"/>
                      <a:pt x="272305" y="2611"/>
                      <a:pt x="269833" y="6910"/>
                    </a:cubicBezTo>
                    <a:lnTo>
                      <a:pt x="219803" y="93518"/>
                    </a:lnTo>
                    <a:lnTo>
                      <a:pt x="125897" y="93518"/>
                    </a:lnTo>
                    <a:lnTo>
                      <a:pt x="100691" y="50023"/>
                    </a:lnTo>
                    <a:cubicBezTo>
                      <a:pt x="98217" y="45773"/>
                      <a:pt x="93685" y="43143"/>
                      <a:pt x="88767" y="43106"/>
                    </a:cubicBezTo>
                    <a:cubicBezTo>
                      <a:pt x="81127" y="43077"/>
                      <a:pt x="74910" y="49246"/>
                      <a:pt x="74880" y="56886"/>
                    </a:cubicBezTo>
                    <a:cubicBezTo>
                      <a:pt x="74871" y="59349"/>
                      <a:pt x="75519" y="61770"/>
                      <a:pt x="76758" y="63899"/>
                    </a:cubicBezTo>
                    <a:lnTo>
                      <a:pt x="102728" y="108921"/>
                    </a:lnTo>
                    <a:lnTo>
                      <a:pt x="57493" y="187212"/>
                    </a:lnTo>
                    <a:lnTo>
                      <a:pt x="13829" y="187212"/>
                    </a:lnTo>
                    <a:cubicBezTo>
                      <a:pt x="6165" y="187212"/>
                      <a:pt x="-47" y="193425"/>
                      <a:pt x="-47" y="201088"/>
                    </a:cubicBezTo>
                    <a:cubicBezTo>
                      <a:pt x="-47" y="208751"/>
                      <a:pt x="6165" y="214964"/>
                      <a:pt x="13829" y="214964"/>
                    </a:cubicBezTo>
                    <a:lnTo>
                      <a:pt x="57239" y="214964"/>
                    </a:lnTo>
                    <a:lnTo>
                      <a:pt x="103152" y="294443"/>
                    </a:lnTo>
                    <a:lnTo>
                      <a:pt x="81171" y="332633"/>
                    </a:lnTo>
                    <a:cubicBezTo>
                      <a:pt x="77550" y="339387"/>
                      <a:pt x="80090" y="347798"/>
                      <a:pt x="86844" y="351419"/>
                    </a:cubicBezTo>
                    <a:cubicBezTo>
                      <a:pt x="93297" y="354879"/>
                      <a:pt x="101327" y="352729"/>
                      <a:pt x="105189" y="346509"/>
                    </a:cubicBezTo>
                    <a:lnTo>
                      <a:pt x="127043" y="308743"/>
                    </a:lnTo>
                    <a:lnTo>
                      <a:pt x="212165" y="308743"/>
                    </a:lnTo>
                    <a:cubicBezTo>
                      <a:pt x="205885" y="323255"/>
                      <a:pt x="195955" y="346467"/>
                      <a:pt x="186026" y="369636"/>
                    </a:cubicBezTo>
                    <a:lnTo>
                      <a:pt x="184031" y="374303"/>
                    </a:lnTo>
                    <a:cubicBezTo>
                      <a:pt x="171726" y="403031"/>
                      <a:pt x="158995" y="432777"/>
                      <a:pt x="154328" y="443895"/>
                    </a:cubicBezTo>
                    <a:cubicBezTo>
                      <a:pt x="146145" y="460858"/>
                      <a:pt x="150898" y="481231"/>
                      <a:pt x="165742" y="492822"/>
                    </a:cubicBezTo>
                    <a:cubicBezTo>
                      <a:pt x="173716" y="499007"/>
                      <a:pt x="183624" y="502164"/>
                      <a:pt x="193706" y="501733"/>
                    </a:cubicBezTo>
                    <a:lnTo>
                      <a:pt x="354574" y="501733"/>
                    </a:lnTo>
                    <a:cubicBezTo>
                      <a:pt x="364314" y="502455"/>
                      <a:pt x="373948" y="499315"/>
                      <a:pt x="381392" y="492991"/>
                    </a:cubicBezTo>
                    <a:cubicBezTo>
                      <a:pt x="396838" y="480813"/>
                      <a:pt x="401081" y="462184"/>
                      <a:pt x="392807" y="443131"/>
                    </a:cubicBezTo>
                    <a:cubicBezTo>
                      <a:pt x="372735" y="396836"/>
                      <a:pt x="352155" y="348758"/>
                      <a:pt x="331617" y="300214"/>
                    </a:cubicBezTo>
                    <a:cubicBezTo>
                      <a:pt x="329481" y="295320"/>
                      <a:pt x="328300" y="290063"/>
                      <a:pt x="328137" y="284725"/>
                    </a:cubicBezTo>
                    <a:cubicBezTo>
                      <a:pt x="328137" y="260750"/>
                      <a:pt x="328137" y="236478"/>
                      <a:pt x="328137" y="215176"/>
                    </a:cubicBezTo>
                    <a:lnTo>
                      <a:pt x="382495" y="215176"/>
                    </a:lnTo>
                    <a:lnTo>
                      <a:pt x="405409" y="254852"/>
                    </a:lnTo>
                    <a:cubicBezTo>
                      <a:pt x="409253" y="261484"/>
                      <a:pt x="417745" y="263745"/>
                      <a:pt x="424377" y="259901"/>
                    </a:cubicBezTo>
                    <a:cubicBezTo>
                      <a:pt x="431010" y="256058"/>
                      <a:pt x="433271" y="247566"/>
                      <a:pt x="429427" y="240933"/>
                    </a:cubicBezTo>
                    <a:lnTo>
                      <a:pt x="406343" y="200961"/>
                    </a:lnTo>
                    <a:lnTo>
                      <a:pt x="455991" y="114523"/>
                    </a:lnTo>
                    <a:cubicBezTo>
                      <a:pt x="458401" y="110211"/>
                      <a:pt x="458401" y="104958"/>
                      <a:pt x="455991" y="100647"/>
                    </a:cubicBezTo>
                    <a:close/>
                    <a:moveTo>
                      <a:pt x="245773" y="271995"/>
                    </a:moveTo>
                    <a:cubicBezTo>
                      <a:pt x="245773" y="269025"/>
                      <a:pt x="245773" y="262999"/>
                      <a:pt x="245773" y="262999"/>
                    </a:cubicBezTo>
                    <a:lnTo>
                      <a:pt x="245773" y="172445"/>
                    </a:lnTo>
                    <a:lnTo>
                      <a:pt x="302040" y="172445"/>
                    </a:lnTo>
                    <a:lnTo>
                      <a:pt x="302040" y="211824"/>
                    </a:lnTo>
                    <a:cubicBezTo>
                      <a:pt x="302040" y="211824"/>
                      <a:pt x="302040" y="243395"/>
                      <a:pt x="302040" y="274584"/>
                    </a:cubicBezTo>
                    <a:cubicBezTo>
                      <a:pt x="301739" y="290852"/>
                      <a:pt x="305058" y="306984"/>
                      <a:pt x="311758" y="321813"/>
                    </a:cubicBezTo>
                    <a:cubicBezTo>
                      <a:pt x="328477" y="359452"/>
                      <a:pt x="344602" y="397600"/>
                      <a:pt x="360217" y="434517"/>
                    </a:cubicBezTo>
                    <a:lnTo>
                      <a:pt x="367346" y="451491"/>
                    </a:lnTo>
                    <a:lnTo>
                      <a:pt x="367346" y="451491"/>
                    </a:lnTo>
                    <a:cubicBezTo>
                      <a:pt x="369150" y="455247"/>
                      <a:pt x="370162" y="459335"/>
                      <a:pt x="370316" y="463500"/>
                    </a:cubicBezTo>
                    <a:cubicBezTo>
                      <a:pt x="369892" y="470416"/>
                      <a:pt x="364206" y="474745"/>
                      <a:pt x="355465" y="474872"/>
                    </a:cubicBezTo>
                    <a:cubicBezTo>
                      <a:pt x="343838" y="474872"/>
                      <a:pt x="302592" y="474872"/>
                      <a:pt x="257654" y="474872"/>
                    </a:cubicBezTo>
                    <a:lnTo>
                      <a:pt x="194385" y="474872"/>
                    </a:lnTo>
                    <a:cubicBezTo>
                      <a:pt x="190192" y="475276"/>
                      <a:pt x="185982" y="474276"/>
                      <a:pt x="182419" y="472029"/>
                    </a:cubicBezTo>
                    <a:cubicBezTo>
                      <a:pt x="176818" y="467785"/>
                      <a:pt x="175587" y="462057"/>
                      <a:pt x="178770" y="454461"/>
                    </a:cubicBezTo>
                    <a:cubicBezTo>
                      <a:pt x="185814" y="437488"/>
                      <a:pt x="234401" y="323722"/>
                      <a:pt x="238432" y="316169"/>
                    </a:cubicBezTo>
                    <a:cubicBezTo>
                      <a:pt x="246197" y="301444"/>
                      <a:pt x="245773" y="287144"/>
                      <a:pt x="245773" y="271995"/>
                    </a:cubicBezTo>
                    <a:close/>
                    <a:moveTo>
                      <a:pt x="218191" y="172318"/>
                    </a:moveTo>
                    <a:lnTo>
                      <a:pt x="219676" y="172318"/>
                    </a:lnTo>
                    <a:lnTo>
                      <a:pt x="219676" y="175161"/>
                    </a:lnTo>
                    <a:cubicBezTo>
                      <a:pt x="219676" y="180635"/>
                      <a:pt x="219676" y="190352"/>
                      <a:pt x="219676" y="202021"/>
                    </a:cubicBezTo>
                    <a:lnTo>
                      <a:pt x="219676" y="215049"/>
                    </a:lnTo>
                    <a:cubicBezTo>
                      <a:pt x="219676" y="242419"/>
                      <a:pt x="219676" y="268303"/>
                      <a:pt x="219676" y="280652"/>
                    </a:cubicBezTo>
                    <a:lnTo>
                      <a:pt x="219336" y="280652"/>
                    </a:lnTo>
                    <a:lnTo>
                      <a:pt x="127467" y="280652"/>
                    </a:lnTo>
                    <a:lnTo>
                      <a:pt x="81553" y="201300"/>
                    </a:lnTo>
                    <a:lnTo>
                      <a:pt x="81553" y="201003"/>
                    </a:lnTo>
                    <a:lnTo>
                      <a:pt x="127467" y="121439"/>
                    </a:lnTo>
                    <a:lnTo>
                      <a:pt x="219506" y="121439"/>
                    </a:lnTo>
                    <a:lnTo>
                      <a:pt x="234019" y="146348"/>
                    </a:lnTo>
                    <a:lnTo>
                      <a:pt x="219167" y="146348"/>
                    </a:lnTo>
                    <a:cubicBezTo>
                      <a:pt x="215442" y="146215"/>
                      <a:pt x="211824" y="147610"/>
                      <a:pt x="209152" y="150210"/>
                    </a:cubicBezTo>
                    <a:cubicBezTo>
                      <a:pt x="206783" y="152698"/>
                      <a:pt x="205501" y="156026"/>
                      <a:pt x="205588" y="159460"/>
                    </a:cubicBezTo>
                    <a:cubicBezTo>
                      <a:pt x="205259" y="166225"/>
                      <a:pt x="210477" y="171976"/>
                      <a:pt x="217242" y="172304"/>
                    </a:cubicBezTo>
                    <a:cubicBezTo>
                      <a:pt x="217487" y="172316"/>
                      <a:pt x="217733" y="172321"/>
                      <a:pt x="217979" y="172318"/>
                    </a:cubicBezTo>
                    <a:close/>
                    <a:moveTo>
                      <a:pt x="328222" y="184326"/>
                    </a:moveTo>
                    <a:cubicBezTo>
                      <a:pt x="328222" y="182926"/>
                      <a:pt x="328222" y="181823"/>
                      <a:pt x="328222" y="176604"/>
                    </a:cubicBezTo>
                    <a:lnTo>
                      <a:pt x="328222" y="172360"/>
                    </a:lnTo>
                    <a:lnTo>
                      <a:pt x="330047" y="172360"/>
                    </a:lnTo>
                    <a:cubicBezTo>
                      <a:pt x="336608" y="172297"/>
                      <a:pt x="341876" y="166926"/>
                      <a:pt x="341813" y="160365"/>
                    </a:cubicBezTo>
                    <a:cubicBezTo>
                      <a:pt x="341812" y="160219"/>
                      <a:pt x="341808" y="160073"/>
                      <a:pt x="341801" y="159927"/>
                    </a:cubicBezTo>
                    <a:cubicBezTo>
                      <a:pt x="341967" y="156282"/>
                      <a:pt x="340668" y="152722"/>
                      <a:pt x="338194" y="150040"/>
                    </a:cubicBezTo>
                    <a:cubicBezTo>
                      <a:pt x="335942" y="147795"/>
                      <a:pt x="332887" y="146542"/>
                      <a:pt x="329707" y="146560"/>
                    </a:cubicBezTo>
                    <a:lnTo>
                      <a:pt x="266693" y="146560"/>
                    </a:lnTo>
                    <a:lnTo>
                      <a:pt x="244160" y="107818"/>
                    </a:lnTo>
                    <a:lnTo>
                      <a:pt x="290159" y="28127"/>
                    </a:lnTo>
                    <a:lnTo>
                      <a:pt x="382198" y="28127"/>
                    </a:lnTo>
                    <a:lnTo>
                      <a:pt x="428197" y="107818"/>
                    </a:lnTo>
                    <a:lnTo>
                      <a:pt x="382198" y="187509"/>
                    </a:lnTo>
                    <a:lnTo>
                      <a:pt x="328307" y="187509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1" name="Freihandform: Form 230">
                <a:extLst>
                  <a:ext uri="{FF2B5EF4-FFF2-40B4-BE49-F238E27FC236}">
                    <a16:creationId xmlns:a16="http://schemas.microsoft.com/office/drawing/2014/main" id="{58EE86EE-E19E-4250-B89B-05C8237FCA6B}"/>
                  </a:ext>
                </a:extLst>
              </p:cNvPr>
              <p:cNvSpPr/>
              <p:nvPr/>
            </p:nvSpPr>
            <p:spPr>
              <a:xfrm>
                <a:off x="6050172" y="3009332"/>
                <a:ext cx="140662" cy="85481"/>
              </a:xfrm>
              <a:custGeom>
                <a:avLst/>
                <a:gdLst>
                  <a:gd name="connsiteX0" fmla="*/ 38105 w 140662"/>
                  <a:gd name="connsiteY0" fmla="*/ 205 h 85481"/>
                  <a:gd name="connsiteX1" fmla="*/ 38105 w 140662"/>
                  <a:gd name="connsiteY1" fmla="*/ 205 h 85481"/>
                  <a:gd name="connsiteX2" fmla="*/ 32844 w 140662"/>
                  <a:gd name="connsiteY2" fmla="*/ 3388 h 85481"/>
                  <a:gd name="connsiteX3" fmla="*/ 30255 w 140662"/>
                  <a:gd name="connsiteY3" fmla="*/ 8692 h 85481"/>
                  <a:gd name="connsiteX4" fmla="*/ 5601 w 140662"/>
                  <a:gd name="connsiteY4" fmla="*/ 67081 h 85481"/>
                  <a:gd name="connsiteX5" fmla="*/ 4116 w 140662"/>
                  <a:gd name="connsiteY5" fmla="*/ 70603 h 85481"/>
                  <a:gd name="connsiteX6" fmla="*/ 509 w 140662"/>
                  <a:gd name="connsiteY6" fmla="*/ 79684 h 85481"/>
                  <a:gd name="connsiteX7" fmla="*/ 1758 w 140662"/>
                  <a:gd name="connsiteY7" fmla="*/ 84877 h 85481"/>
                  <a:gd name="connsiteX8" fmla="*/ 4116 w 140662"/>
                  <a:gd name="connsiteY8" fmla="*/ 85413 h 85481"/>
                  <a:gd name="connsiteX9" fmla="*/ 135364 w 140662"/>
                  <a:gd name="connsiteY9" fmla="*/ 85413 h 85481"/>
                  <a:gd name="connsiteX10" fmla="*/ 139862 w 140662"/>
                  <a:gd name="connsiteY10" fmla="*/ 78496 h 85481"/>
                  <a:gd name="connsiteX11" fmla="*/ 133200 w 140662"/>
                  <a:gd name="connsiteY11" fmla="*/ 62499 h 85481"/>
                  <a:gd name="connsiteX12" fmla="*/ 123610 w 140662"/>
                  <a:gd name="connsiteY12" fmla="*/ 39881 h 85481"/>
                  <a:gd name="connsiteX13" fmla="*/ 108885 w 140662"/>
                  <a:gd name="connsiteY13" fmla="*/ 5128 h 85481"/>
                  <a:gd name="connsiteX14" fmla="*/ 102478 w 140662"/>
                  <a:gd name="connsiteY14" fmla="*/ -49 h 85481"/>
                  <a:gd name="connsiteX15" fmla="*/ 38105 w 140662"/>
                  <a:gd name="connsiteY15" fmla="*/ 205 h 854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40662" h="85481">
                    <a:moveTo>
                      <a:pt x="38105" y="205"/>
                    </a:moveTo>
                    <a:lnTo>
                      <a:pt x="38105" y="205"/>
                    </a:lnTo>
                    <a:cubicBezTo>
                      <a:pt x="35826" y="-78"/>
                      <a:pt x="33650" y="1238"/>
                      <a:pt x="32844" y="3388"/>
                    </a:cubicBezTo>
                    <a:cubicBezTo>
                      <a:pt x="32462" y="4237"/>
                      <a:pt x="30637" y="7631"/>
                      <a:pt x="30255" y="8692"/>
                    </a:cubicBezTo>
                    <a:cubicBezTo>
                      <a:pt x="22023" y="28155"/>
                      <a:pt x="13805" y="47618"/>
                      <a:pt x="5601" y="67081"/>
                    </a:cubicBezTo>
                    <a:cubicBezTo>
                      <a:pt x="5134" y="68270"/>
                      <a:pt x="4625" y="69458"/>
                      <a:pt x="4116" y="70603"/>
                    </a:cubicBezTo>
                    <a:cubicBezTo>
                      <a:pt x="2631" y="74041"/>
                      <a:pt x="1909" y="76247"/>
                      <a:pt x="509" y="79684"/>
                    </a:cubicBezTo>
                    <a:cubicBezTo>
                      <a:pt x="-580" y="81463"/>
                      <a:pt x="-21" y="83788"/>
                      <a:pt x="1758" y="84877"/>
                    </a:cubicBezTo>
                    <a:cubicBezTo>
                      <a:pt x="2464" y="85309"/>
                      <a:pt x="3292" y="85497"/>
                      <a:pt x="4116" y="85413"/>
                    </a:cubicBezTo>
                    <a:lnTo>
                      <a:pt x="135364" y="85413"/>
                    </a:lnTo>
                    <a:cubicBezTo>
                      <a:pt x="140202" y="85413"/>
                      <a:pt x="141687" y="83079"/>
                      <a:pt x="139862" y="78496"/>
                    </a:cubicBezTo>
                    <a:cubicBezTo>
                      <a:pt x="137740" y="73149"/>
                      <a:pt x="135619" y="67718"/>
                      <a:pt x="133200" y="62499"/>
                    </a:cubicBezTo>
                    <a:lnTo>
                      <a:pt x="123610" y="39881"/>
                    </a:lnTo>
                    <a:cubicBezTo>
                      <a:pt x="118688" y="28283"/>
                      <a:pt x="113779" y="16698"/>
                      <a:pt x="108885" y="5128"/>
                    </a:cubicBezTo>
                    <a:cubicBezTo>
                      <a:pt x="107188" y="884"/>
                      <a:pt x="105745" y="-7"/>
                      <a:pt x="102478" y="-49"/>
                    </a:cubicBezTo>
                    <a:cubicBezTo>
                      <a:pt x="81940" y="205"/>
                      <a:pt x="61868" y="248"/>
                      <a:pt x="38105" y="205"/>
                    </a:cubicBez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28" name="Freihandform: Form 227">
              <a:extLst>
                <a:ext uri="{FF2B5EF4-FFF2-40B4-BE49-F238E27FC236}">
                  <a16:creationId xmlns:a16="http://schemas.microsoft.com/office/drawing/2014/main" id="{5C2DBAD5-175A-4ED3-885F-34E9E032B0C0}"/>
                </a:ext>
              </a:extLst>
            </p:cNvPr>
            <p:cNvSpPr/>
            <p:nvPr/>
          </p:nvSpPr>
          <p:spPr>
            <a:xfrm>
              <a:off x="5846748" y="2639817"/>
              <a:ext cx="457845" cy="501883"/>
            </a:xfrm>
            <a:custGeom>
              <a:avLst/>
              <a:gdLst>
                <a:gd name="connsiteX0" fmla="*/ 455991 w 457845"/>
                <a:gd name="connsiteY0" fmla="*/ 100647 h 501883"/>
                <a:gd name="connsiteX1" fmla="*/ 401930 w 457845"/>
                <a:gd name="connsiteY1" fmla="*/ 7292 h 501883"/>
                <a:gd name="connsiteX2" fmla="*/ 390048 w 457845"/>
                <a:gd name="connsiteY2" fmla="*/ -49 h 501883"/>
                <a:gd name="connsiteX3" fmla="*/ 281842 w 457845"/>
                <a:gd name="connsiteY3" fmla="*/ -49 h 501883"/>
                <a:gd name="connsiteX4" fmla="*/ 269833 w 457845"/>
                <a:gd name="connsiteY4" fmla="*/ 6910 h 501883"/>
                <a:gd name="connsiteX5" fmla="*/ 219803 w 457845"/>
                <a:gd name="connsiteY5" fmla="*/ 93518 h 501883"/>
                <a:gd name="connsiteX6" fmla="*/ 125897 w 457845"/>
                <a:gd name="connsiteY6" fmla="*/ 93518 h 501883"/>
                <a:gd name="connsiteX7" fmla="*/ 100691 w 457845"/>
                <a:gd name="connsiteY7" fmla="*/ 50023 h 501883"/>
                <a:gd name="connsiteX8" fmla="*/ 88767 w 457845"/>
                <a:gd name="connsiteY8" fmla="*/ 43106 h 501883"/>
                <a:gd name="connsiteX9" fmla="*/ 74880 w 457845"/>
                <a:gd name="connsiteY9" fmla="*/ 56886 h 501883"/>
                <a:gd name="connsiteX10" fmla="*/ 76758 w 457845"/>
                <a:gd name="connsiteY10" fmla="*/ 63899 h 501883"/>
                <a:gd name="connsiteX11" fmla="*/ 102728 w 457845"/>
                <a:gd name="connsiteY11" fmla="*/ 108921 h 501883"/>
                <a:gd name="connsiteX12" fmla="*/ 57493 w 457845"/>
                <a:gd name="connsiteY12" fmla="*/ 187212 h 501883"/>
                <a:gd name="connsiteX13" fmla="*/ 13829 w 457845"/>
                <a:gd name="connsiteY13" fmla="*/ 187212 h 501883"/>
                <a:gd name="connsiteX14" fmla="*/ -47 w 457845"/>
                <a:gd name="connsiteY14" fmla="*/ 201088 h 501883"/>
                <a:gd name="connsiteX15" fmla="*/ 13829 w 457845"/>
                <a:gd name="connsiteY15" fmla="*/ 214964 h 501883"/>
                <a:gd name="connsiteX16" fmla="*/ 57239 w 457845"/>
                <a:gd name="connsiteY16" fmla="*/ 214964 h 501883"/>
                <a:gd name="connsiteX17" fmla="*/ 103152 w 457845"/>
                <a:gd name="connsiteY17" fmla="*/ 294443 h 501883"/>
                <a:gd name="connsiteX18" fmla="*/ 81171 w 457845"/>
                <a:gd name="connsiteY18" fmla="*/ 332633 h 501883"/>
                <a:gd name="connsiteX19" fmla="*/ 86844 w 457845"/>
                <a:gd name="connsiteY19" fmla="*/ 351419 h 501883"/>
                <a:gd name="connsiteX20" fmla="*/ 105189 w 457845"/>
                <a:gd name="connsiteY20" fmla="*/ 346509 h 501883"/>
                <a:gd name="connsiteX21" fmla="*/ 127043 w 457845"/>
                <a:gd name="connsiteY21" fmla="*/ 308743 h 501883"/>
                <a:gd name="connsiteX22" fmla="*/ 212165 w 457845"/>
                <a:gd name="connsiteY22" fmla="*/ 308743 h 501883"/>
                <a:gd name="connsiteX23" fmla="*/ 186026 w 457845"/>
                <a:gd name="connsiteY23" fmla="*/ 369636 h 501883"/>
                <a:gd name="connsiteX24" fmla="*/ 184031 w 457845"/>
                <a:gd name="connsiteY24" fmla="*/ 374303 h 501883"/>
                <a:gd name="connsiteX25" fmla="*/ 154328 w 457845"/>
                <a:gd name="connsiteY25" fmla="*/ 443895 h 501883"/>
                <a:gd name="connsiteX26" fmla="*/ 165742 w 457845"/>
                <a:gd name="connsiteY26" fmla="*/ 492822 h 501883"/>
                <a:gd name="connsiteX27" fmla="*/ 193706 w 457845"/>
                <a:gd name="connsiteY27" fmla="*/ 501733 h 501883"/>
                <a:gd name="connsiteX28" fmla="*/ 354574 w 457845"/>
                <a:gd name="connsiteY28" fmla="*/ 501733 h 501883"/>
                <a:gd name="connsiteX29" fmla="*/ 381392 w 457845"/>
                <a:gd name="connsiteY29" fmla="*/ 492991 h 501883"/>
                <a:gd name="connsiteX30" fmla="*/ 392807 w 457845"/>
                <a:gd name="connsiteY30" fmla="*/ 443131 h 501883"/>
                <a:gd name="connsiteX31" fmla="*/ 331617 w 457845"/>
                <a:gd name="connsiteY31" fmla="*/ 300214 h 501883"/>
                <a:gd name="connsiteX32" fmla="*/ 328137 w 457845"/>
                <a:gd name="connsiteY32" fmla="*/ 284725 h 501883"/>
                <a:gd name="connsiteX33" fmla="*/ 328137 w 457845"/>
                <a:gd name="connsiteY33" fmla="*/ 215176 h 501883"/>
                <a:gd name="connsiteX34" fmla="*/ 382495 w 457845"/>
                <a:gd name="connsiteY34" fmla="*/ 215176 h 501883"/>
                <a:gd name="connsiteX35" fmla="*/ 405409 w 457845"/>
                <a:gd name="connsiteY35" fmla="*/ 254852 h 501883"/>
                <a:gd name="connsiteX36" fmla="*/ 424377 w 457845"/>
                <a:gd name="connsiteY36" fmla="*/ 259901 h 501883"/>
                <a:gd name="connsiteX37" fmla="*/ 429427 w 457845"/>
                <a:gd name="connsiteY37" fmla="*/ 240933 h 501883"/>
                <a:gd name="connsiteX38" fmla="*/ 406343 w 457845"/>
                <a:gd name="connsiteY38" fmla="*/ 200961 h 501883"/>
                <a:gd name="connsiteX39" fmla="*/ 455991 w 457845"/>
                <a:gd name="connsiteY39" fmla="*/ 114523 h 501883"/>
                <a:gd name="connsiteX40" fmla="*/ 455991 w 457845"/>
                <a:gd name="connsiteY40" fmla="*/ 100647 h 501883"/>
                <a:gd name="connsiteX41" fmla="*/ 245773 w 457845"/>
                <a:gd name="connsiteY41" fmla="*/ 271995 h 501883"/>
                <a:gd name="connsiteX42" fmla="*/ 245773 w 457845"/>
                <a:gd name="connsiteY42" fmla="*/ 262999 h 501883"/>
                <a:gd name="connsiteX43" fmla="*/ 245773 w 457845"/>
                <a:gd name="connsiteY43" fmla="*/ 172445 h 501883"/>
                <a:gd name="connsiteX44" fmla="*/ 302040 w 457845"/>
                <a:gd name="connsiteY44" fmla="*/ 172445 h 501883"/>
                <a:gd name="connsiteX45" fmla="*/ 302040 w 457845"/>
                <a:gd name="connsiteY45" fmla="*/ 211824 h 501883"/>
                <a:gd name="connsiteX46" fmla="*/ 302040 w 457845"/>
                <a:gd name="connsiteY46" fmla="*/ 274584 h 501883"/>
                <a:gd name="connsiteX47" fmla="*/ 311758 w 457845"/>
                <a:gd name="connsiteY47" fmla="*/ 321813 h 501883"/>
                <a:gd name="connsiteX48" fmla="*/ 360217 w 457845"/>
                <a:gd name="connsiteY48" fmla="*/ 434517 h 501883"/>
                <a:gd name="connsiteX49" fmla="*/ 367346 w 457845"/>
                <a:gd name="connsiteY49" fmla="*/ 451491 h 501883"/>
                <a:gd name="connsiteX50" fmla="*/ 367346 w 457845"/>
                <a:gd name="connsiteY50" fmla="*/ 451491 h 501883"/>
                <a:gd name="connsiteX51" fmla="*/ 370316 w 457845"/>
                <a:gd name="connsiteY51" fmla="*/ 463500 h 501883"/>
                <a:gd name="connsiteX52" fmla="*/ 355465 w 457845"/>
                <a:gd name="connsiteY52" fmla="*/ 474872 h 501883"/>
                <a:gd name="connsiteX53" fmla="*/ 257654 w 457845"/>
                <a:gd name="connsiteY53" fmla="*/ 474872 h 501883"/>
                <a:gd name="connsiteX54" fmla="*/ 194385 w 457845"/>
                <a:gd name="connsiteY54" fmla="*/ 474872 h 501883"/>
                <a:gd name="connsiteX55" fmla="*/ 182419 w 457845"/>
                <a:gd name="connsiteY55" fmla="*/ 472029 h 501883"/>
                <a:gd name="connsiteX56" fmla="*/ 178770 w 457845"/>
                <a:gd name="connsiteY56" fmla="*/ 454461 h 501883"/>
                <a:gd name="connsiteX57" fmla="*/ 238432 w 457845"/>
                <a:gd name="connsiteY57" fmla="*/ 316169 h 501883"/>
                <a:gd name="connsiteX58" fmla="*/ 245773 w 457845"/>
                <a:gd name="connsiteY58" fmla="*/ 271995 h 501883"/>
                <a:gd name="connsiteX59" fmla="*/ 218191 w 457845"/>
                <a:gd name="connsiteY59" fmla="*/ 172318 h 501883"/>
                <a:gd name="connsiteX60" fmla="*/ 219676 w 457845"/>
                <a:gd name="connsiteY60" fmla="*/ 172318 h 501883"/>
                <a:gd name="connsiteX61" fmla="*/ 219676 w 457845"/>
                <a:gd name="connsiteY61" fmla="*/ 175161 h 501883"/>
                <a:gd name="connsiteX62" fmla="*/ 219676 w 457845"/>
                <a:gd name="connsiteY62" fmla="*/ 202021 h 501883"/>
                <a:gd name="connsiteX63" fmla="*/ 219676 w 457845"/>
                <a:gd name="connsiteY63" fmla="*/ 215049 h 501883"/>
                <a:gd name="connsiteX64" fmla="*/ 219676 w 457845"/>
                <a:gd name="connsiteY64" fmla="*/ 280652 h 501883"/>
                <a:gd name="connsiteX65" fmla="*/ 219336 w 457845"/>
                <a:gd name="connsiteY65" fmla="*/ 280652 h 501883"/>
                <a:gd name="connsiteX66" fmla="*/ 127467 w 457845"/>
                <a:gd name="connsiteY66" fmla="*/ 280652 h 501883"/>
                <a:gd name="connsiteX67" fmla="*/ 81553 w 457845"/>
                <a:gd name="connsiteY67" fmla="*/ 201300 h 501883"/>
                <a:gd name="connsiteX68" fmla="*/ 81553 w 457845"/>
                <a:gd name="connsiteY68" fmla="*/ 201003 h 501883"/>
                <a:gd name="connsiteX69" fmla="*/ 127467 w 457845"/>
                <a:gd name="connsiteY69" fmla="*/ 121439 h 501883"/>
                <a:gd name="connsiteX70" fmla="*/ 219506 w 457845"/>
                <a:gd name="connsiteY70" fmla="*/ 121439 h 501883"/>
                <a:gd name="connsiteX71" fmla="*/ 234019 w 457845"/>
                <a:gd name="connsiteY71" fmla="*/ 146348 h 501883"/>
                <a:gd name="connsiteX72" fmla="*/ 219167 w 457845"/>
                <a:gd name="connsiteY72" fmla="*/ 146348 h 501883"/>
                <a:gd name="connsiteX73" fmla="*/ 209152 w 457845"/>
                <a:gd name="connsiteY73" fmla="*/ 150210 h 501883"/>
                <a:gd name="connsiteX74" fmla="*/ 205588 w 457845"/>
                <a:gd name="connsiteY74" fmla="*/ 159460 h 501883"/>
                <a:gd name="connsiteX75" fmla="*/ 217242 w 457845"/>
                <a:gd name="connsiteY75" fmla="*/ 172304 h 501883"/>
                <a:gd name="connsiteX76" fmla="*/ 217979 w 457845"/>
                <a:gd name="connsiteY76" fmla="*/ 172318 h 501883"/>
                <a:gd name="connsiteX77" fmla="*/ 328222 w 457845"/>
                <a:gd name="connsiteY77" fmla="*/ 184326 h 501883"/>
                <a:gd name="connsiteX78" fmla="*/ 328222 w 457845"/>
                <a:gd name="connsiteY78" fmla="*/ 176604 h 501883"/>
                <a:gd name="connsiteX79" fmla="*/ 328222 w 457845"/>
                <a:gd name="connsiteY79" fmla="*/ 172360 h 501883"/>
                <a:gd name="connsiteX80" fmla="*/ 330047 w 457845"/>
                <a:gd name="connsiteY80" fmla="*/ 172360 h 501883"/>
                <a:gd name="connsiteX81" fmla="*/ 341813 w 457845"/>
                <a:gd name="connsiteY81" fmla="*/ 160365 h 501883"/>
                <a:gd name="connsiteX82" fmla="*/ 341801 w 457845"/>
                <a:gd name="connsiteY82" fmla="*/ 159927 h 501883"/>
                <a:gd name="connsiteX83" fmla="*/ 338194 w 457845"/>
                <a:gd name="connsiteY83" fmla="*/ 150040 h 501883"/>
                <a:gd name="connsiteX84" fmla="*/ 329707 w 457845"/>
                <a:gd name="connsiteY84" fmla="*/ 146560 h 501883"/>
                <a:gd name="connsiteX85" fmla="*/ 266693 w 457845"/>
                <a:gd name="connsiteY85" fmla="*/ 146560 h 501883"/>
                <a:gd name="connsiteX86" fmla="*/ 244160 w 457845"/>
                <a:gd name="connsiteY86" fmla="*/ 107818 h 501883"/>
                <a:gd name="connsiteX87" fmla="*/ 290159 w 457845"/>
                <a:gd name="connsiteY87" fmla="*/ 28127 h 501883"/>
                <a:gd name="connsiteX88" fmla="*/ 382198 w 457845"/>
                <a:gd name="connsiteY88" fmla="*/ 28127 h 501883"/>
                <a:gd name="connsiteX89" fmla="*/ 428197 w 457845"/>
                <a:gd name="connsiteY89" fmla="*/ 107818 h 501883"/>
                <a:gd name="connsiteX90" fmla="*/ 382198 w 457845"/>
                <a:gd name="connsiteY90" fmla="*/ 187509 h 501883"/>
                <a:gd name="connsiteX91" fmla="*/ 328307 w 457845"/>
                <a:gd name="connsiteY91" fmla="*/ 187509 h 501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457845" h="501883">
                  <a:moveTo>
                    <a:pt x="455991" y="100647"/>
                  </a:moveTo>
                  <a:lnTo>
                    <a:pt x="401930" y="7292"/>
                  </a:lnTo>
                  <a:cubicBezTo>
                    <a:pt x="399573" y="2891"/>
                    <a:pt x="395039" y="90"/>
                    <a:pt x="390048" y="-49"/>
                  </a:cubicBezTo>
                  <a:lnTo>
                    <a:pt x="281842" y="-49"/>
                  </a:lnTo>
                  <a:cubicBezTo>
                    <a:pt x="276883" y="-42"/>
                    <a:pt x="272305" y="2611"/>
                    <a:pt x="269833" y="6910"/>
                  </a:cubicBezTo>
                  <a:lnTo>
                    <a:pt x="219803" y="93518"/>
                  </a:lnTo>
                  <a:lnTo>
                    <a:pt x="125897" y="93518"/>
                  </a:lnTo>
                  <a:lnTo>
                    <a:pt x="100691" y="50023"/>
                  </a:lnTo>
                  <a:cubicBezTo>
                    <a:pt x="98217" y="45773"/>
                    <a:pt x="93685" y="43143"/>
                    <a:pt x="88767" y="43106"/>
                  </a:cubicBezTo>
                  <a:cubicBezTo>
                    <a:pt x="81127" y="43077"/>
                    <a:pt x="74910" y="49246"/>
                    <a:pt x="74880" y="56886"/>
                  </a:cubicBezTo>
                  <a:cubicBezTo>
                    <a:pt x="74871" y="59349"/>
                    <a:pt x="75519" y="61770"/>
                    <a:pt x="76758" y="63899"/>
                  </a:cubicBezTo>
                  <a:lnTo>
                    <a:pt x="102728" y="108921"/>
                  </a:lnTo>
                  <a:lnTo>
                    <a:pt x="57493" y="187212"/>
                  </a:lnTo>
                  <a:lnTo>
                    <a:pt x="13829" y="187212"/>
                  </a:lnTo>
                  <a:cubicBezTo>
                    <a:pt x="6165" y="187212"/>
                    <a:pt x="-47" y="193425"/>
                    <a:pt x="-47" y="201088"/>
                  </a:cubicBezTo>
                  <a:cubicBezTo>
                    <a:pt x="-47" y="208751"/>
                    <a:pt x="6165" y="214964"/>
                    <a:pt x="13829" y="214964"/>
                  </a:cubicBezTo>
                  <a:lnTo>
                    <a:pt x="57239" y="214964"/>
                  </a:lnTo>
                  <a:lnTo>
                    <a:pt x="103152" y="294443"/>
                  </a:lnTo>
                  <a:lnTo>
                    <a:pt x="81171" y="332633"/>
                  </a:lnTo>
                  <a:cubicBezTo>
                    <a:pt x="77550" y="339387"/>
                    <a:pt x="80090" y="347798"/>
                    <a:pt x="86844" y="351419"/>
                  </a:cubicBezTo>
                  <a:cubicBezTo>
                    <a:pt x="93297" y="354879"/>
                    <a:pt x="101327" y="352729"/>
                    <a:pt x="105189" y="346509"/>
                  </a:cubicBezTo>
                  <a:lnTo>
                    <a:pt x="127043" y="308743"/>
                  </a:lnTo>
                  <a:lnTo>
                    <a:pt x="212165" y="308743"/>
                  </a:lnTo>
                  <a:cubicBezTo>
                    <a:pt x="205885" y="323255"/>
                    <a:pt x="195955" y="346467"/>
                    <a:pt x="186026" y="369636"/>
                  </a:cubicBezTo>
                  <a:lnTo>
                    <a:pt x="184031" y="374303"/>
                  </a:lnTo>
                  <a:cubicBezTo>
                    <a:pt x="171726" y="403031"/>
                    <a:pt x="158995" y="432777"/>
                    <a:pt x="154328" y="443895"/>
                  </a:cubicBezTo>
                  <a:cubicBezTo>
                    <a:pt x="146145" y="460858"/>
                    <a:pt x="150898" y="481231"/>
                    <a:pt x="165742" y="492822"/>
                  </a:cubicBezTo>
                  <a:cubicBezTo>
                    <a:pt x="173716" y="499007"/>
                    <a:pt x="183624" y="502164"/>
                    <a:pt x="193706" y="501733"/>
                  </a:cubicBezTo>
                  <a:lnTo>
                    <a:pt x="354574" y="501733"/>
                  </a:lnTo>
                  <a:cubicBezTo>
                    <a:pt x="364314" y="502455"/>
                    <a:pt x="373948" y="499315"/>
                    <a:pt x="381392" y="492991"/>
                  </a:cubicBezTo>
                  <a:cubicBezTo>
                    <a:pt x="396838" y="480813"/>
                    <a:pt x="401081" y="462184"/>
                    <a:pt x="392807" y="443131"/>
                  </a:cubicBezTo>
                  <a:cubicBezTo>
                    <a:pt x="372735" y="396836"/>
                    <a:pt x="352155" y="348758"/>
                    <a:pt x="331617" y="300214"/>
                  </a:cubicBezTo>
                  <a:cubicBezTo>
                    <a:pt x="329481" y="295320"/>
                    <a:pt x="328300" y="290063"/>
                    <a:pt x="328137" y="284725"/>
                  </a:cubicBezTo>
                  <a:cubicBezTo>
                    <a:pt x="328137" y="260750"/>
                    <a:pt x="328137" y="236478"/>
                    <a:pt x="328137" y="215176"/>
                  </a:cubicBezTo>
                  <a:lnTo>
                    <a:pt x="382495" y="215176"/>
                  </a:lnTo>
                  <a:lnTo>
                    <a:pt x="405409" y="254852"/>
                  </a:lnTo>
                  <a:cubicBezTo>
                    <a:pt x="409253" y="261484"/>
                    <a:pt x="417745" y="263745"/>
                    <a:pt x="424377" y="259901"/>
                  </a:cubicBezTo>
                  <a:cubicBezTo>
                    <a:pt x="431010" y="256058"/>
                    <a:pt x="433271" y="247566"/>
                    <a:pt x="429427" y="240933"/>
                  </a:cubicBezTo>
                  <a:lnTo>
                    <a:pt x="406343" y="200961"/>
                  </a:lnTo>
                  <a:lnTo>
                    <a:pt x="455991" y="114523"/>
                  </a:lnTo>
                  <a:cubicBezTo>
                    <a:pt x="458401" y="110211"/>
                    <a:pt x="458401" y="104958"/>
                    <a:pt x="455991" y="100647"/>
                  </a:cubicBezTo>
                  <a:close/>
                  <a:moveTo>
                    <a:pt x="245773" y="271995"/>
                  </a:moveTo>
                  <a:cubicBezTo>
                    <a:pt x="245773" y="269025"/>
                    <a:pt x="245773" y="262999"/>
                    <a:pt x="245773" y="262999"/>
                  </a:cubicBezTo>
                  <a:lnTo>
                    <a:pt x="245773" y="172445"/>
                  </a:lnTo>
                  <a:lnTo>
                    <a:pt x="302040" y="172445"/>
                  </a:lnTo>
                  <a:lnTo>
                    <a:pt x="302040" y="211824"/>
                  </a:lnTo>
                  <a:cubicBezTo>
                    <a:pt x="302040" y="211824"/>
                    <a:pt x="302040" y="243395"/>
                    <a:pt x="302040" y="274584"/>
                  </a:cubicBezTo>
                  <a:cubicBezTo>
                    <a:pt x="301739" y="290852"/>
                    <a:pt x="305058" y="306984"/>
                    <a:pt x="311758" y="321813"/>
                  </a:cubicBezTo>
                  <a:cubicBezTo>
                    <a:pt x="328477" y="359452"/>
                    <a:pt x="344602" y="397600"/>
                    <a:pt x="360217" y="434517"/>
                  </a:cubicBezTo>
                  <a:lnTo>
                    <a:pt x="367346" y="451491"/>
                  </a:lnTo>
                  <a:lnTo>
                    <a:pt x="367346" y="451491"/>
                  </a:lnTo>
                  <a:cubicBezTo>
                    <a:pt x="369150" y="455247"/>
                    <a:pt x="370162" y="459335"/>
                    <a:pt x="370316" y="463500"/>
                  </a:cubicBezTo>
                  <a:cubicBezTo>
                    <a:pt x="369892" y="470416"/>
                    <a:pt x="364206" y="474745"/>
                    <a:pt x="355465" y="474872"/>
                  </a:cubicBezTo>
                  <a:cubicBezTo>
                    <a:pt x="343838" y="474872"/>
                    <a:pt x="302592" y="474872"/>
                    <a:pt x="257654" y="474872"/>
                  </a:cubicBezTo>
                  <a:lnTo>
                    <a:pt x="194385" y="474872"/>
                  </a:lnTo>
                  <a:cubicBezTo>
                    <a:pt x="190192" y="475276"/>
                    <a:pt x="185982" y="474276"/>
                    <a:pt x="182419" y="472029"/>
                  </a:cubicBezTo>
                  <a:cubicBezTo>
                    <a:pt x="176818" y="467785"/>
                    <a:pt x="175587" y="462057"/>
                    <a:pt x="178770" y="454461"/>
                  </a:cubicBezTo>
                  <a:cubicBezTo>
                    <a:pt x="185814" y="437488"/>
                    <a:pt x="234401" y="323722"/>
                    <a:pt x="238432" y="316169"/>
                  </a:cubicBezTo>
                  <a:cubicBezTo>
                    <a:pt x="246197" y="301444"/>
                    <a:pt x="245773" y="287144"/>
                    <a:pt x="245773" y="271995"/>
                  </a:cubicBezTo>
                  <a:close/>
                  <a:moveTo>
                    <a:pt x="218191" y="172318"/>
                  </a:moveTo>
                  <a:lnTo>
                    <a:pt x="219676" y="172318"/>
                  </a:lnTo>
                  <a:lnTo>
                    <a:pt x="219676" y="175161"/>
                  </a:lnTo>
                  <a:cubicBezTo>
                    <a:pt x="219676" y="180635"/>
                    <a:pt x="219676" y="190352"/>
                    <a:pt x="219676" y="202021"/>
                  </a:cubicBezTo>
                  <a:lnTo>
                    <a:pt x="219676" y="215049"/>
                  </a:lnTo>
                  <a:cubicBezTo>
                    <a:pt x="219676" y="242419"/>
                    <a:pt x="219676" y="268303"/>
                    <a:pt x="219676" y="280652"/>
                  </a:cubicBezTo>
                  <a:lnTo>
                    <a:pt x="219336" y="280652"/>
                  </a:lnTo>
                  <a:lnTo>
                    <a:pt x="127467" y="280652"/>
                  </a:lnTo>
                  <a:lnTo>
                    <a:pt x="81553" y="201300"/>
                  </a:lnTo>
                  <a:lnTo>
                    <a:pt x="81553" y="201003"/>
                  </a:lnTo>
                  <a:lnTo>
                    <a:pt x="127467" y="121439"/>
                  </a:lnTo>
                  <a:lnTo>
                    <a:pt x="219506" y="121439"/>
                  </a:lnTo>
                  <a:lnTo>
                    <a:pt x="234019" y="146348"/>
                  </a:lnTo>
                  <a:lnTo>
                    <a:pt x="219167" y="146348"/>
                  </a:lnTo>
                  <a:cubicBezTo>
                    <a:pt x="215442" y="146215"/>
                    <a:pt x="211824" y="147610"/>
                    <a:pt x="209152" y="150210"/>
                  </a:cubicBezTo>
                  <a:cubicBezTo>
                    <a:pt x="206783" y="152698"/>
                    <a:pt x="205501" y="156026"/>
                    <a:pt x="205588" y="159460"/>
                  </a:cubicBezTo>
                  <a:cubicBezTo>
                    <a:pt x="205259" y="166225"/>
                    <a:pt x="210477" y="171976"/>
                    <a:pt x="217242" y="172304"/>
                  </a:cubicBezTo>
                  <a:cubicBezTo>
                    <a:pt x="217487" y="172316"/>
                    <a:pt x="217733" y="172321"/>
                    <a:pt x="217979" y="172318"/>
                  </a:cubicBezTo>
                  <a:close/>
                  <a:moveTo>
                    <a:pt x="328222" y="184326"/>
                  </a:moveTo>
                  <a:cubicBezTo>
                    <a:pt x="328222" y="182926"/>
                    <a:pt x="328222" y="181823"/>
                    <a:pt x="328222" y="176604"/>
                  </a:cubicBezTo>
                  <a:lnTo>
                    <a:pt x="328222" y="172360"/>
                  </a:lnTo>
                  <a:lnTo>
                    <a:pt x="330047" y="172360"/>
                  </a:lnTo>
                  <a:cubicBezTo>
                    <a:pt x="336608" y="172297"/>
                    <a:pt x="341876" y="166926"/>
                    <a:pt x="341813" y="160365"/>
                  </a:cubicBezTo>
                  <a:cubicBezTo>
                    <a:pt x="341812" y="160219"/>
                    <a:pt x="341808" y="160073"/>
                    <a:pt x="341801" y="159927"/>
                  </a:cubicBezTo>
                  <a:cubicBezTo>
                    <a:pt x="341967" y="156282"/>
                    <a:pt x="340668" y="152722"/>
                    <a:pt x="338194" y="150040"/>
                  </a:cubicBezTo>
                  <a:cubicBezTo>
                    <a:pt x="335942" y="147795"/>
                    <a:pt x="332887" y="146542"/>
                    <a:pt x="329707" y="146560"/>
                  </a:cubicBezTo>
                  <a:lnTo>
                    <a:pt x="266693" y="146560"/>
                  </a:lnTo>
                  <a:lnTo>
                    <a:pt x="244160" y="107818"/>
                  </a:lnTo>
                  <a:lnTo>
                    <a:pt x="290159" y="28127"/>
                  </a:lnTo>
                  <a:lnTo>
                    <a:pt x="382198" y="28127"/>
                  </a:lnTo>
                  <a:lnTo>
                    <a:pt x="428197" y="107818"/>
                  </a:lnTo>
                  <a:lnTo>
                    <a:pt x="382198" y="187509"/>
                  </a:lnTo>
                  <a:lnTo>
                    <a:pt x="328307" y="187509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9" name="Freihandform: Form 228">
              <a:extLst>
                <a:ext uri="{FF2B5EF4-FFF2-40B4-BE49-F238E27FC236}">
                  <a16:creationId xmlns:a16="http://schemas.microsoft.com/office/drawing/2014/main" id="{88CA9A32-EC29-43A2-A934-5F3494C5CC1B}"/>
                </a:ext>
              </a:extLst>
            </p:cNvPr>
            <p:cNvSpPr/>
            <p:nvPr/>
          </p:nvSpPr>
          <p:spPr>
            <a:xfrm>
              <a:off x="6050172" y="3009332"/>
              <a:ext cx="140662" cy="85481"/>
            </a:xfrm>
            <a:custGeom>
              <a:avLst/>
              <a:gdLst>
                <a:gd name="connsiteX0" fmla="*/ 38105 w 140662"/>
                <a:gd name="connsiteY0" fmla="*/ 205 h 85481"/>
                <a:gd name="connsiteX1" fmla="*/ 38105 w 140662"/>
                <a:gd name="connsiteY1" fmla="*/ 205 h 85481"/>
                <a:gd name="connsiteX2" fmla="*/ 32844 w 140662"/>
                <a:gd name="connsiteY2" fmla="*/ 3388 h 85481"/>
                <a:gd name="connsiteX3" fmla="*/ 30255 w 140662"/>
                <a:gd name="connsiteY3" fmla="*/ 8692 h 85481"/>
                <a:gd name="connsiteX4" fmla="*/ 5601 w 140662"/>
                <a:gd name="connsiteY4" fmla="*/ 67081 h 85481"/>
                <a:gd name="connsiteX5" fmla="*/ 4116 w 140662"/>
                <a:gd name="connsiteY5" fmla="*/ 70603 h 85481"/>
                <a:gd name="connsiteX6" fmla="*/ 509 w 140662"/>
                <a:gd name="connsiteY6" fmla="*/ 79684 h 85481"/>
                <a:gd name="connsiteX7" fmla="*/ 1758 w 140662"/>
                <a:gd name="connsiteY7" fmla="*/ 84877 h 85481"/>
                <a:gd name="connsiteX8" fmla="*/ 4116 w 140662"/>
                <a:gd name="connsiteY8" fmla="*/ 85413 h 85481"/>
                <a:gd name="connsiteX9" fmla="*/ 135364 w 140662"/>
                <a:gd name="connsiteY9" fmla="*/ 85413 h 85481"/>
                <a:gd name="connsiteX10" fmla="*/ 139862 w 140662"/>
                <a:gd name="connsiteY10" fmla="*/ 78496 h 85481"/>
                <a:gd name="connsiteX11" fmla="*/ 133200 w 140662"/>
                <a:gd name="connsiteY11" fmla="*/ 62499 h 85481"/>
                <a:gd name="connsiteX12" fmla="*/ 123610 w 140662"/>
                <a:gd name="connsiteY12" fmla="*/ 39881 h 85481"/>
                <a:gd name="connsiteX13" fmla="*/ 108885 w 140662"/>
                <a:gd name="connsiteY13" fmla="*/ 5128 h 85481"/>
                <a:gd name="connsiteX14" fmla="*/ 102478 w 140662"/>
                <a:gd name="connsiteY14" fmla="*/ -49 h 85481"/>
                <a:gd name="connsiteX15" fmla="*/ 38105 w 140662"/>
                <a:gd name="connsiteY15" fmla="*/ 205 h 85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0662" h="85481">
                  <a:moveTo>
                    <a:pt x="38105" y="205"/>
                  </a:moveTo>
                  <a:lnTo>
                    <a:pt x="38105" y="205"/>
                  </a:lnTo>
                  <a:cubicBezTo>
                    <a:pt x="35826" y="-78"/>
                    <a:pt x="33650" y="1238"/>
                    <a:pt x="32844" y="3388"/>
                  </a:cubicBezTo>
                  <a:cubicBezTo>
                    <a:pt x="32462" y="4237"/>
                    <a:pt x="30637" y="7631"/>
                    <a:pt x="30255" y="8692"/>
                  </a:cubicBezTo>
                  <a:cubicBezTo>
                    <a:pt x="22023" y="28155"/>
                    <a:pt x="13805" y="47618"/>
                    <a:pt x="5601" y="67081"/>
                  </a:cubicBezTo>
                  <a:cubicBezTo>
                    <a:pt x="5134" y="68270"/>
                    <a:pt x="4625" y="69458"/>
                    <a:pt x="4116" y="70603"/>
                  </a:cubicBezTo>
                  <a:cubicBezTo>
                    <a:pt x="2631" y="74041"/>
                    <a:pt x="1909" y="76247"/>
                    <a:pt x="509" y="79684"/>
                  </a:cubicBezTo>
                  <a:cubicBezTo>
                    <a:pt x="-580" y="81463"/>
                    <a:pt x="-21" y="83788"/>
                    <a:pt x="1758" y="84877"/>
                  </a:cubicBezTo>
                  <a:cubicBezTo>
                    <a:pt x="2464" y="85309"/>
                    <a:pt x="3292" y="85497"/>
                    <a:pt x="4116" y="85413"/>
                  </a:cubicBezTo>
                  <a:lnTo>
                    <a:pt x="135364" y="85413"/>
                  </a:lnTo>
                  <a:cubicBezTo>
                    <a:pt x="140202" y="85413"/>
                    <a:pt x="141687" y="83079"/>
                    <a:pt x="139862" y="78496"/>
                  </a:cubicBezTo>
                  <a:cubicBezTo>
                    <a:pt x="137740" y="73149"/>
                    <a:pt x="135619" y="67718"/>
                    <a:pt x="133200" y="62499"/>
                  </a:cubicBezTo>
                  <a:lnTo>
                    <a:pt x="123610" y="39881"/>
                  </a:lnTo>
                  <a:cubicBezTo>
                    <a:pt x="118688" y="28283"/>
                    <a:pt x="113779" y="16698"/>
                    <a:pt x="108885" y="5128"/>
                  </a:cubicBezTo>
                  <a:cubicBezTo>
                    <a:pt x="107188" y="884"/>
                    <a:pt x="105745" y="-7"/>
                    <a:pt x="102478" y="-49"/>
                  </a:cubicBezTo>
                  <a:cubicBezTo>
                    <a:pt x="81940" y="205"/>
                    <a:pt x="61868" y="248"/>
                    <a:pt x="38105" y="205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36" name="Gruppieren 235">
            <a:extLst>
              <a:ext uri="{FF2B5EF4-FFF2-40B4-BE49-F238E27FC236}">
                <a16:creationId xmlns:a16="http://schemas.microsoft.com/office/drawing/2014/main" id="{A782860C-1060-4A66-BEF0-8A408DF81440}"/>
              </a:ext>
            </a:extLst>
          </p:cNvPr>
          <p:cNvGrpSpPr/>
          <p:nvPr/>
        </p:nvGrpSpPr>
        <p:grpSpPr>
          <a:xfrm>
            <a:off x="9527364" y="3717440"/>
            <a:ext cx="755830" cy="755976"/>
            <a:chOff x="9527364" y="2500122"/>
            <a:chExt cx="755830" cy="755976"/>
          </a:xfrm>
          <a:solidFill>
            <a:schemeClr val="bg1"/>
          </a:solidFill>
        </p:grpSpPr>
        <p:grpSp>
          <p:nvGrpSpPr>
            <p:cNvPr id="237" name="Grafik 80">
              <a:extLst>
                <a:ext uri="{FF2B5EF4-FFF2-40B4-BE49-F238E27FC236}">
                  <a16:creationId xmlns:a16="http://schemas.microsoft.com/office/drawing/2014/main" id="{15705306-9DCF-4282-B4B7-940F85684ACE}"/>
                </a:ext>
              </a:extLst>
            </p:cNvPr>
            <p:cNvGrpSpPr/>
            <p:nvPr/>
          </p:nvGrpSpPr>
          <p:grpSpPr>
            <a:xfrm>
              <a:off x="9527364" y="2500122"/>
              <a:ext cx="755830" cy="755976"/>
              <a:chOff x="9527364" y="2500122"/>
              <a:chExt cx="755830" cy="755976"/>
            </a:xfrm>
            <a:grpFill/>
          </p:grpSpPr>
          <p:sp>
            <p:nvSpPr>
              <p:cNvPr id="255" name="Freihandform: Form 254">
                <a:extLst>
                  <a:ext uri="{FF2B5EF4-FFF2-40B4-BE49-F238E27FC236}">
                    <a16:creationId xmlns:a16="http://schemas.microsoft.com/office/drawing/2014/main" id="{150971CB-818B-40E0-92AF-FC6A680B176C}"/>
                  </a:ext>
                </a:extLst>
              </p:cNvPr>
              <p:cNvSpPr/>
              <p:nvPr/>
            </p:nvSpPr>
            <p:spPr>
              <a:xfrm>
                <a:off x="9527364" y="2500122"/>
                <a:ext cx="683436" cy="466182"/>
              </a:xfrm>
              <a:custGeom>
                <a:avLst/>
                <a:gdLst>
                  <a:gd name="connsiteX0" fmla="*/ 10556 w 683436"/>
                  <a:gd name="connsiteY0" fmla="*/ 466133 h 466182"/>
                  <a:gd name="connsiteX1" fmla="*/ 289200 w 683436"/>
                  <a:gd name="connsiteY1" fmla="*/ 10485 h 466182"/>
                  <a:gd name="connsiteX2" fmla="*/ 683389 w 683436"/>
                  <a:gd name="connsiteY2" fmla="*/ 155856 h 466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36" h="466182">
                    <a:moveTo>
                      <a:pt x="10556" y="466133"/>
                    </a:moveTo>
                    <a:cubicBezTo>
                      <a:pt x="-38322" y="263364"/>
                      <a:pt x="86431" y="59364"/>
                      <a:pt x="289200" y="10485"/>
                    </a:cubicBezTo>
                    <a:cubicBezTo>
                      <a:pt x="437911" y="-25362"/>
                      <a:pt x="593560" y="32039"/>
                      <a:pt x="683389" y="155856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56" name="Freihandform: Form 255">
                <a:extLst>
                  <a:ext uri="{FF2B5EF4-FFF2-40B4-BE49-F238E27FC236}">
                    <a16:creationId xmlns:a16="http://schemas.microsoft.com/office/drawing/2014/main" id="{A084EB4E-DDAE-4A3C-B81A-326CA8C947EA}"/>
                  </a:ext>
                </a:extLst>
              </p:cNvPr>
              <p:cNvSpPr/>
              <p:nvPr/>
            </p:nvSpPr>
            <p:spPr>
              <a:xfrm>
                <a:off x="10158734" y="2617539"/>
                <a:ext cx="89068" cy="101502"/>
              </a:xfrm>
              <a:custGeom>
                <a:avLst/>
                <a:gdLst>
                  <a:gd name="connsiteX0" fmla="*/ 0 w 89068"/>
                  <a:gd name="connsiteY0" fmla="*/ 52788 h 101502"/>
                  <a:gd name="connsiteX1" fmla="*/ 89069 w 89068"/>
                  <a:gd name="connsiteY1" fmla="*/ 101502 h 101502"/>
                  <a:gd name="connsiteX2" fmla="*/ 86735 w 89068"/>
                  <a:gd name="connsiteY2" fmla="*/ 0 h 101502"/>
                  <a:gd name="connsiteX3" fmla="*/ 0 w 89068"/>
                  <a:gd name="connsiteY3" fmla="*/ 52788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0" y="52788"/>
                    </a:moveTo>
                    <a:lnTo>
                      <a:pt x="89069" y="101502"/>
                    </a:lnTo>
                    <a:lnTo>
                      <a:pt x="86735" y="0"/>
                    </a:lnTo>
                    <a:lnTo>
                      <a:pt x="0" y="52788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7" name="Freihandform: Form 256">
                <a:extLst>
                  <a:ext uri="{FF2B5EF4-FFF2-40B4-BE49-F238E27FC236}">
                    <a16:creationId xmlns:a16="http://schemas.microsoft.com/office/drawing/2014/main" id="{05C26002-0E0E-4BA8-AA58-37CFB83F0260}"/>
                  </a:ext>
                </a:extLst>
              </p:cNvPr>
              <p:cNvSpPr/>
              <p:nvPr/>
            </p:nvSpPr>
            <p:spPr>
              <a:xfrm>
                <a:off x="9599751" y="2790415"/>
                <a:ext cx="683443" cy="465683"/>
              </a:xfrm>
              <a:custGeom>
                <a:avLst/>
                <a:gdLst>
                  <a:gd name="connsiteX0" fmla="*/ 672913 w 683443"/>
                  <a:gd name="connsiteY0" fmla="*/ -49 h 465683"/>
                  <a:gd name="connsiteX1" fmla="*/ 393650 w 683443"/>
                  <a:gd name="connsiteY1" fmla="*/ 455220 h 465683"/>
                  <a:gd name="connsiteX2" fmla="*/ -47 w 683443"/>
                  <a:gd name="connsiteY2" fmla="*/ 309719 h 465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43" h="465683">
                    <a:moveTo>
                      <a:pt x="672913" y="-49"/>
                    </a:moveTo>
                    <a:cubicBezTo>
                      <a:pt x="721516" y="202786"/>
                      <a:pt x="596485" y="406617"/>
                      <a:pt x="393650" y="455220"/>
                    </a:cubicBezTo>
                    <a:cubicBezTo>
                      <a:pt x="245067" y="490822"/>
                      <a:pt x="89671" y="433392"/>
                      <a:pt x="-47" y="309719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58" name="Freihandform: Form 257">
                <a:extLst>
                  <a:ext uri="{FF2B5EF4-FFF2-40B4-BE49-F238E27FC236}">
                    <a16:creationId xmlns:a16="http://schemas.microsoft.com/office/drawing/2014/main" id="{BC3CA9DD-D520-47D5-97C7-1C13B977EE7A}"/>
                  </a:ext>
                </a:extLst>
              </p:cNvPr>
              <p:cNvSpPr/>
              <p:nvPr/>
            </p:nvSpPr>
            <p:spPr>
              <a:xfrm>
                <a:off x="9562791" y="3037254"/>
                <a:ext cx="89068" cy="101502"/>
              </a:xfrm>
              <a:custGeom>
                <a:avLst/>
                <a:gdLst>
                  <a:gd name="connsiteX0" fmla="*/ 89069 w 89068"/>
                  <a:gd name="connsiteY0" fmla="*/ 48714 h 101502"/>
                  <a:gd name="connsiteX1" fmla="*/ 0 w 89068"/>
                  <a:gd name="connsiteY1" fmla="*/ 0 h 101502"/>
                  <a:gd name="connsiteX2" fmla="*/ 2334 w 89068"/>
                  <a:gd name="connsiteY2" fmla="*/ 101502 h 101502"/>
                  <a:gd name="connsiteX3" fmla="*/ 89069 w 89068"/>
                  <a:gd name="connsiteY3" fmla="*/ 48714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89069" y="48714"/>
                    </a:moveTo>
                    <a:lnTo>
                      <a:pt x="0" y="0"/>
                    </a:lnTo>
                    <a:lnTo>
                      <a:pt x="2334" y="101502"/>
                    </a:lnTo>
                    <a:lnTo>
                      <a:pt x="89069" y="48714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38" name="Freihandform: Form 237">
              <a:extLst>
                <a:ext uri="{FF2B5EF4-FFF2-40B4-BE49-F238E27FC236}">
                  <a16:creationId xmlns:a16="http://schemas.microsoft.com/office/drawing/2014/main" id="{B7B8BD9E-7AFA-40EC-9282-139923BAD257}"/>
                </a:ext>
              </a:extLst>
            </p:cNvPr>
            <p:cNvSpPr/>
            <p:nvPr/>
          </p:nvSpPr>
          <p:spPr>
            <a:xfrm>
              <a:off x="10158734" y="2617539"/>
              <a:ext cx="89068" cy="101502"/>
            </a:xfrm>
            <a:custGeom>
              <a:avLst/>
              <a:gdLst>
                <a:gd name="connsiteX0" fmla="*/ 0 w 89068"/>
                <a:gd name="connsiteY0" fmla="*/ 52788 h 101502"/>
                <a:gd name="connsiteX1" fmla="*/ 89069 w 89068"/>
                <a:gd name="connsiteY1" fmla="*/ 101502 h 101502"/>
                <a:gd name="connsiteX2" fmla="*/ 86735 w 89068"/>
                <a:gd name="connsiteY2" fmla="*/ 0 h 101502"/>
                <a:gd name="connsiteX3" fmla="*/ 0 w 89068"/>
                <a:gd name="connsiteY3" fmla="*/ 52788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0" y="52788"/>
                  </a:moveTo>
                  <a:lnTo>
                    <a:pt x="89069" y="101502"/>
                  </a:lnTo>
                  <a:lnTo>
                    <a:pt x="86735" y="0"/>
                  </a:lnTo>
                  <a:lnTo>
                    <a:pt x="0" y="52788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9" name="Freihandform: Form 238">
              <a:extLst>
                <a:ext uri="{FF2B5EF4-FFF2-40B4-BE49-F238E27FC236}">
                  <a16:creationId xmlns:a16="http://schemas.microsoft.com/office/drawing/2014/main" id="{452B2D58-39AC-4E0D-9144-1CEFB2AECDD9}"/>
                </a:ext>
              </a:extLst>
            </p:cNvPr>
            <p:cNvSpPr/>
            <p:nvPr/>
          </p:nvSpPr>
          <p:spPr>
            <a:xfrm>
              <a:off x="9562791" y="3037254"/>
              <a:ext cx="89068" cy="101502"/>
            </a:xfrm>
            <a:custGeom>
              <a:avLst/>
              <a:gdLst>
                <a:gd name="connsiteX0" fmla="*/ 89069 w 89068"/>
                <a:gd name="connsiteY0" fmla="*/ 48714 h 101502"/>
                <a:gd name="connsiteX1" fmla="*/ 0 w 89068"/>
                <a:gd name="connsiteY1" fmla="*/ 0 h 101502"/>
                <a:gd name="connsiteX2" fmla="*/ 2334 w 89068"/>
                <a:gd name="connsiteY2" fmla="*/ 101502 h 101502"/>
                <a:gd name="connsiteX3" fmla="*/ 89069 w 89068"/>
                <a:gd name="connsiteY3" fmla="*/ 48714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89069" y="48714"/>
                  </a:moveTo>
                  <a:lnTo>
                    <a:pt x="0" y="0"/>
                  </a:lnTo>
                  <a:lnTo>
                    <a:pt x="2334" y="101502"/>
                  </a:lnTo>
                  <a:lnTo>
                    <a:pt x="89069" y="48714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40" name="Grafik 80">
              <a:extLst>
                <a:ext uri="{FF2B5EF4-FFF2-40B4-BE49-F238E27FC236}">
                  <a16:creationId xmlns:a16="http://schemas.microsoft.com/office/drawing/2014/main" id="{7608E324-CE2D-49DE-A451-F03D2C02AC4C}"/>
                </a:ext>
              </a:extLst>
            </p:cNvPr>
            <p:cNvGrpSpPr/>
            <p:nvPr/>
          </p:nvGrpSpPr>
          <p:grpSpPr>
            <a:xfrm>
              <a:off x="9688183" y="2644612"/>
              <a:ext cx="425740" cy="463421"/>
              <a:chOff x="9688183" y="2644612"/>
              <a:chExt cx="425740" cy="463421"/>
            </a:xfrm>
            <a:grpFill/>
          </p:grpSpPr>
          <p:sp>
            <p:nvSpPr>
              <p:cNvPr id="248" name="Freihandform: Form 247">
                <a:extLst>
                  <a:ext uri="{FF2B5EF4-FFF2-40B4-BE49-F238E27FC236}">
                    <a16:creationId xmlns:a16="http://schemas.microsoft.com/office/drawing/2014/main" id="{66DB29EF-8E02-41BD-B599-8D93121E21A1}"/>
                  </a:ext>
                </a:extLst>
              </p:cNvPr>
              <p:cNvSpPr/>
              <p:nvPr/>
            </p:nvSpPr>
            <p:spPr>
              <a:xfrm>
                <a:off x="9688183" y="2644612"/>
                <a:ext cx="425740" cy="463421"/>
              </a:xfrm>
              <a:custGeom>
                <a:avLst/>
                <a:gdLst>
                  <a:gd name="connsiteX0" fmla="*/ 425693 w 425740"/>
                  <a:gd name="connsiteY0" fmla="*/ 76926 h 463421"/>
                  <a:gd name="connsiteX1" fmla="*/ 425693 w 425740"/>
                  <a:gd name="connsiteY1" fmla="*/ 50023 h 463421"/>
                  <a:gd name="connsiteX2" fmla="*/ 121059 w 425740"/>
                  <a:gd name="connsiteY2" fmla="*/ 50023 h 463421"/>
                  <a:gd name="connsiteX3" fmla="*/ 121059 w 425740"/>
                  <a:gd name="connsiteY3" fmla="*/ -49 h 463421"/>
                  <a:gd name="connsiteX4" fmla="*/ 90210 w 425740"/>
                  <a:gd name="connsiteY4" fmla="*/ -49 h 463421"/>
                  <a:gd name="connsiteX5" fmla="*/ 90210 w 425740"/>
                  <a:gd name="connsiteY5" fmla="*/ 49429 h 463421"/>
                  <a:gd name="connsiteX6" fmla="*/ -47 w 425740"/>
                  <a:gd name="connsiteY6" fmla="*/ 49429 h 463421"/>
                  <a:gd name="connsiteX7" fmla="*/ -47 w 425740"/>
                  <a:gd name="connsiteY7" fmla="*/ 76459 h 463421"/>
                  <a:gd name="connsiteX8" fmla="*/ 88597 w 425740"/>
                  <a:gd name="connsiteY8" fmla="*/ 76459 h 463421"/>
                  <a:gd name="connsiteX9" fmla="*/ 88597 w 425740"/>
                  <a:gd name="connsiteY9" fmla="*/ 309167 h 463421"/>
                  <a:gd name="connsiteX10" fmla="*/ 37677 w 425740"/>
                  <a:gd name="connsiteY10" fmla="*/ 309167 h 463421"/>
                  <a:gd name="connsiteX11" fmla="*/ 37677 w 425740"/>
                  <a:gd name="connsiteY11" fmla="*/ 463372 h 463421"/>
                  <a:gd name="connsiteX12" fmla="*/ 424802 w 425740"/>
                  <a:gd name="connsiteY12" fmla="*/ 463372 h 463421"/>
                  <a:gd name="connsiteX13" fmla="*/ 424802 w 425740"/>
                  <a:gd name="connsiteY13" fmla="*/ 232022 h 463421"/>
                  <a:gd name="connsiteX14" fmla="*/ 193240 w 425740"/>
                  <a:gd name="connsiteY14" fmla="*/ 232022 h 463421"/>
                  <a:gd name="connsiteX15" fmla="*/ 193240 w 425740"/>
                  <a:gd name="connsiteY15" fmla="*/ 308658 h 463421"/>
                  <a:gd name="connsiteX16" fmla="*/ 121102 w 425740"/>
                  <a:gd name="connsiteY16" fmla="*/ 308658 h 463421"/>
                  <a:gd name="connsiteX17" fmla="*/ 121102 w 425740"/>
                  <a:gd name="connsiteY17" fmla="*/ 77350 h 463421"/>
                  <a:gd name="connsiteX18" fmla="*/ 341164 w 425740"/>
                  <a:gd name="connsiteY18" fmla="*/ 77350 h 463421"/>
                  <a:gd name="connsiteX19" fmla="*/ 341164 w 425740"/>
                  <a:gd name="connsiteY19" fmla="*/ 99162 h 463421"/>
                  <a:gd name="connsiteX20" fmla="*/ 304119 w 425740"/>
                  <a:gd name="connsiteY20" fmla="*/ 135273 h 463421"/>
                  <a:gd name="connsiteX21" fmla="*/ 290965 w 425740"/>
                  <a:gd name="connsiteY21" fmla="*/ 135273 h 463421"/>
                  <a:gd name="connsiteX22" fmla="*/ 290965 w 425740"/>
                  <a:gd name="connsiteY22" fmla="*/ 185769 h 463421"/>
                  <a:gd name="connsiteX23" fmla="*/ 405961 w 425740"/>
                  <a:gd name="connsiteY23" fmla="*/ 185769 h 463421"/>
                  <a:gd name="connsiteX24" fmla="*/ 405961 w 425740"/>
                  <a:gd name="connsiteY24" fmla="*/ 135867 h 463421"/>
                  <a:gd name="connsiteX25" fmla="*/ 391152 w 425740"/>
                  <a:gd name="connsiteY25" fmla="*/ 135867 h 463421"/>
                  <a:gd name="connsiteX26" fmla="*/ 355337 w 425740"/>
                  <a:gd name="connsiteY26" fmla="*/ 99501 h 463421"/>
                  <a:gd name="connsiteX27" fmla="*/ 355337 w 425740"/>
                  <a:gd name="connsiteY27" fmla="*/ 76926 h 463421"/>
                  <a:gd name="connsiteX28" fmla="*/ 219464 w 425740"/>
                  <a:gd name="connsiteY28" fmla="*/ 334331 h 463421"/>
                  <a:gd name="connsiteX29" fmla="*/ 219464 w 425740"/>
                  <a:gd name="connsiteY29" fmla="*/ 257652 h 463421"/>
                  <a:gd name="connsiteX30" fmla="*/ 399808 w 425740"/>
                  <a:gd name="connsiteY30" fmla="*/ 257652 h 463421"/>
                  <a:gd name="connsiteX31" fmla="*/ 399808 w 425740"/>
                  <a:gd name="connsiteY31" fmla="*/ 437615 h 463421"/>
                  <a:gd name="connsiteX32" fmla="*/ 64580 w 425740"/>
                  <a:gd name="connsiteY32" fmla="*/ 437615 h 463421"/>
                  <a:gd name="connsiteX33" fmla="*/ 64580 w 425740"/>
                  <a:gd name="connsiteY33" fmla="*/ 334331 h 463421"/>
                  <a:gd name="connsiteX34" fmla="*/ 371335 w 425740"/>
                  <a:gd name="connsiteY34" fmla="*/ 134891 h 463421"/>
                  <a:gd name="connsiteX35" fmla="*/ 326228 w 425740"/>
                  <a:gd name="connsiteY35" fmla="*/ 134891 h 463421"/>
                  <a:gd name="connsiteX36" fmla="*/ 348166 w 425740"/>
                  <a:gd name="connsiteY36" fmla="*/ 114310 h 4634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425740" h="463421">
                    <a:moveTo>
                      <a:pt x="425693" y="76926"/>
                    </a:moveTo>
                    <a:lnTo>
                      <a:pt x="425693" y="50023"/>
                    </a:lnTo>
                    <a:lnTo>
                      <a:pt x="121059" y="50023"/>
                    </a:lnTo>
                    <a:lnTo>
                      <a:pt x="121059" y="-49"/>
                    </a:lnTo>
                    <a:lnTo>
                      <a:pt x="90210" y="-49"/>
                    </a:lnTo>
                    <a:lnTo>
                      <a:pt x="90210" y="49429"/>
                    </a:lnTo>
                    <a:lnTo>
                      <a:pt x="-47" y="49429"/>
                    </a:lnTo>
                    <a:lnTo>
                      <a:pt x="-47" y="76459"/>
                    </a:lnTo>
                    <a:lnTo>
                      <a:pt x="88597" y="76459"/>
                    </a:lnTo>
                    <a:lnTo>
                      <a:pt x="88597" y="309167"/>
                    </a:lnTo>
                    <a:lnTo>
                      <a:pt x="37677" y="309167"/>
                    </a:lnTo>
                    <a:lnTo>
                      <a:pt x="37677" y="463372"/>
                    </a:lnTo>
                    <a:lnTo>
                      <a:pt x="424802" y="463372"/>
                    </a:lnTo>
                    <a:lnTo>
                      <a:pt x="424802" y="232022"/>
                    </a:lnTo>
                    <a:lnTo>
                      <a:pt x="193240" y="232022"/>
                    </a:lnTo>
                    <a:lnTo>
                      <a:pt x="193240" y="308658"/>
                    </a:lnTo>
                    <a:lnTo>
                      <a:pt x="121102" y="308658"/>
                    </a:lnTo>
                    <a:lnTo>
                      <a:pt x="121102" y="77350"/>
                    </a:lnTo>
                    <a:lnTo>
                      <a:pt x="341164" y="77350"/>
                    </a:lnTo>
                    <a:lnTo>
                      <a:pt x="341164" y="99162"/>
                    </a:lnTo>
                    <a:cubicBezTo>
                      <a:pt x="329580" y="110449"/>
                      <a:pt x="317741" y="121949"/>
                      <a:pt x="304119" y="135273"/>
                    </a:cubicBezTo>
                    <a:lnTo>
                      <a:pt x="290965" y="135273"/>
                    </a:lnTo>
                    <a:lnTo>
                      <a:pt x="290965" y="185769"/>
                    </a:lnTo>
                    <a:lnTo>
                      <a:pt x="405961" y="185769"/>
                    </a:lnTo>
                    <a:lnTo>
                      <a:pt x="405961" y="135867"/>
                    </a:lnTo>
                    <a:lnTo>
                      <a:pt x="391152" y="135867"/>
                    </a:lnTo>
                    <a:lnTo>
                      <a:pt x="355337" y="99501"/>
                    </a:lnTo>
                    <a:lnTo>
                      <a:pt x="355337" y="76926"/>
                    </a:lnTo>
                    <a:close/>
                    <a:moveTo>
                      <a:pt x="219464" y="334331"/>
                    </a:moveTo>
                    <a:lnTo>
                      <a:pt x="219464" y="257652"/>
                    </a:lnTo>
                    <a:lnTo>
                      <a:pt x="399808" y="257652"/>
                    </a:lnTo>
                    <a:lnTo>
                      <a:pt x="399808" y="437615"/>
                    </a:lnTo>
                    <a:lnTo>
                      <a:pt x="64580" y="437615"/>
                    </a:lnTo>
                    <a:lnTo>
                      <a:pt x="64580" y="334331"/>
                    </a:lnTo>
                    <a:close/>
                    <a:moveTo>
                      <a:pt x="371335" y="134891"/>
                    </a:moveTo>
                    <a:lnTo>
                      <a:pt x="326228" y="134891"/>
                    </a:lnTo>
                    <a:lnTo>
                      <a:pt x="348166" y="114310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9" name="Freihandform: Form 248">
                <a:extLst>
                  <a:ext uri="{FF2B5EF4-FFF2-40B4-BE49-F238E27FC236}">
                    <a16:creationId xmlns:a16="http://schemas.microsoft.com/office/drawing/2014/main" id="{AF26A4C0-AC27-45BB-BE41-E0BCC8AAC051}"/>
                  </a:ext>
                </a:extLst>
              </p:cNvPr>
              <p:cNvSpPr/>
              <p:nvPr/>
            </p:nvSpPr>
            <p:spPr>
              <a:xfrm>
                <a:off x="9933833" y="3005895"/>
                <a:ext cx="50920" cy="50411"/>
              </a:xfrm>
              <a:custGeom>
                <a:avLst/>
                <a:gdLst>
                  <a:gd name="connsiteX0" fmla="*/ 50874 w 50920"/>
                  <a:gd name="connsiteY0" fmla="*/ -49 h 50411"/>
                  <a:gd name="connsiteX1" fmla="*/ -47 w 50920"/>
                  <a:gd name="connsiteY1" fmla="*/ -49 h 50411"/>
                  <a:gd name="connsiteX2" fmla="*/ -47 w 50920"/>
                  <a:gd name="connsiteY2" fmla="*/ 50362 h 50411"/>
                  <a:gd name="connsiteX3" fmla="*/ 50874 w 50920"/>
                  <a:gd name="connsiteY3" fmla="*/ 50362 h 504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920" h="50411">
                    <a:moveTo>
                      <a:pt x="50874" y="-49"/>
                    </a:moveTo>
                    <a:lnTo>
                      <a:pt x="-47" y="-49"/>
                    </a:lnTo>
                    <a:lnTo>
                      <a:pt x="-47" y="50362"/>
                    </a:lnTo>
                    <a:lnTo>
                      <a:pt x="50874" y="50362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0" name="Freihandform: Form 249">
                <a:extLst>
                  <a:ext uri="{FF2B5EF4-FFF2-40B4-BE49-F238E27FC236}">
                    <a16:creationId xmlns:a16="http://schemas.microsoft.com/office/drawing/2014/main" id="{B8F85E69-69B6-4BB9-9FDC-0E54E8E0EC00}"/>
                  </a:ext>
                </a:extLst>
              </p:cNvPr>
              <p:cNvSpPr/>
              <p:nvPr/>
            </p:nvSpPr>
            <p:spPr>
              <a:xfrm>
                <a:off x="9856010" y="3005725"/>
                <a:ext cx="50920" cy="50369"/>
              </a:xfrm>
              <a:custGeom>
                <a:avLst/>
                <a:gdLst>
                  <a:gd name="connsiteX0" fmla="*/ 50874 w 50920"/>
                  <a:gd name="connsiteY0" fmla="*/ -49 h 50369"/>
                  <a:gd name="connsiteX1" fmla="*/ -47 w 50920"/>
                  <a:gd name="connsiteY1" fmla="*/ -49 h 50369"/>
                  <a:gd name="connsiteX2" fmla="*/ -47 w 50920"/>
                  <a:gd name="connsiteY2" fmla="*/ 50320 h 50369"/>
                  <a:gd name="connsiteX3" fmla="*/ 50874 w 50920"/>
                  <a:gd name="connsiteY3" fmla="*/ 50320 h 50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920" h="50369">
                    <a:moveTo>
                      <a:pt x="50874" y="-49"/>
                    </a:moveTo>
                    <a:lnTo>
                      <a:pt x="-47" y="-49"/>
                    </a:lnTo>
                    <a:lnTo>
                      <a:pt x="-47" y="50320"/>
                    </a:lnTo>
                    <a:lnTo>
                      <a:pt x="50874" y="50320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1" name="Freihandform: Form 250">
                <a:extLst>
                  <a:ext uri="{FF2B5EF4-FFF2-40B4-BE49-F238E27FC236}">
                    <a16:creationId xmlns:a16="http://schemas.microsoft.com/office/drawing/2014/main" id="{3381D417-8B2D-43E2-B4CC-37196CB6D4A6}"/>
                  </a:ext>
                </a:extLst>
              </p:cNvPr>
              <p:cNvSpPr/>
              <p:nvPr/>
            </p:nvSpPr>
            <p:spPr>
              <a:xfrm>
                <a:off x="9933833" y="2928368"/>
                <a:ext cx="50496" cy="50284"/>
              </a:xfrm>
              <a:custGeom>
                <a:avLst/>
                <a:gdLst>
                  <a:gd name="connsiteX0" fmla="*/ 50449 w 50496"/>
                  <a:gd name="connsiteY0" fmla="*/ -49 h 50284"/>
                  <a:gd name="connsiteX1" fmla="*/ -47 w 50496"/>
                  <a:gd name="connsiteY1" fmla="*/ -49 h 50284"/>
                  <a:gd name="connsiteX2" fmla="*/ -47 w 50496"/>
                  <a:gd name="connsiteY2" fmla="*/ 50235 h 50284"/>
                  <a:gd name="connsiteX3" fmla="*/ 50449 w 50496"/>
                  <a:gd name="connsiteY3" fmla="*/ 50235 h 502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496" h="50284">
                    <a:moveTo>
                      <a:pt x="50449" y="-49"/>
                    </a:moveTo>
                    <a:lnTo>
                      <a:pt x="-47" y="-49"/>
                    </a:lnTo>
                    <a:lnTo>
                      <a:pt x="-47" y="50235"/>
                    </a:lnTo>
                    <a:lnTo>
                      <a:pt x="50449" y="50235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2" name="Freihandform: Form 251">
                <a:extLst>
                  <a:ext uri="{FF2B5EF4-FFF2-40B4-BE49-F238E27FC236}">
                    <a16:creationId xmlns:a16="http://schemas.microsoft.com/office/drawing/2014/main" id="{402078E8-931F-418E-8264-2DD8CD8A2F16}"/>
                  </a:ext>
                </a:extLst>
              </p:cNvPr>
              <p:cNvSpPr/>
              <p:nvPr/>
            </p:nvSpPr>
            <p:spPr>
              <a:xfrm>
                <a:off x="10011615" y="3005768"/>
                <a:ext cx="50581" cy="50623"/>
              </a:xfrm>
              <a:custGeom>
                <a:avLst/>
                <a:gdLst>
                  <a:gd name="connsiteX0" fmla="*/ -47 w 50581"/>
                  <a:gd name="connsiteY0" fmla="*/ 50575 h 50623"/>
                  <a:gd name="connsiteX1" fmla="*/ 50534 w 50581"/>
                  <a:gd name="connsiteY1" fmla="*/ 50575 h 50623"/>
                  <a:gd name="connsiteX2" fmla="*/ 50534 w 50581"/>
                  <a:gd name="connsiteY2" fmla="*/ -49 h 50623"/>
                  <a:gd name="connsiteX3" fmla="*/ -47 w 50581"/>
                  <a:gd name="connsiteY3" fmla="*/ -49 h 50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581" h="50623">
                    <a:moveTo>
                      <a:pt x="-47" y="50575"/>
                    </a:moveTo>
                    <a:lnTo>
                      <a:pt x="50534" y="50575"/>
                    </a:lnTo>
                    <a:lnTo>
                      <a:pt x="50534" y="-49"/>
                    </a:lnTo>
                    <a:lnTo>
                      <a:pt x="-47" y="-49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3" name="Freihandform: Form 252">
                <a:extLst>
                  <a:ext uri="{FF2B5EF4-FFF2-40B4-BE49-F238E27FC236}">
                    <a16:creationId xmlns:a16="http://schemas.microsoft.com/office/drawing/2014/main" id="{AE3FDE34-2098-446F-901C-AE9D9D3D46B9}"/>
                  </a:ext>
                </a:extLst>
              </p:cNvPr>
              <p:cNvSpPr/>
              <p:nvPr/>
            </p:nvSpPr>
            <p:spPr>
              <a:xfrm>
                <a:off x="9778652" y="3005895"/>
                <a:ext cx="50411" cy="50453"/>
              </a:xfrm>
              <a:custGeom>
                <a:avLst/>
                <a:gdLst>
                  <a:gd name="connsiteX0" fmla="*/ 50364 w 50411"/>
                  <a:gd name="connsiteY0" fmla="*/ -49 h 50453"/>
                  <a:gd name="connsiteX1" fmla="*/ -47 w 50411"/>
                  <a:gd name="connsiteY1" fmla="*/ -49 h 50453"/>
                  <a:gd name="connsiteX2" fmla="*/ -47 w 50411"/>
                  <a:gd name="connsiteY2" fmla="*/ 50405 h 50453"/>
                  <a:gd name="connsiteX3" fmla="*/ 50364 w 50411"/>
                  <a:gd name="connsiteY3" fmla="*/ 50405 h 504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411" h="50453">
                    <a:moveTo>
                      <a:pt x="50364" y="-49"/>
                    </a:moveTo>
                    <a:lnTo>
                      <a:pt x="-47" y="-49"/>
                    </a:lnTo>
                    <a:lnTo>
                      <a:pt x="-47" y="50405"/>
                    </a:lnTo>
                    <a:lnTo>
                      <a:pt x="50364" y="50405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4" name="Freihandform: Form 253">
                <a:extLst>
                  <a:ext uri="{FF2B5EF4-FFF2-40B4-BE49-F238E27FC236}">
                    <a16:creationId xmlns:a16="http://schemas.microsoft.com/office/drawing/2014/main" id="{2D077278-CE86-4AF3-A5C7-A824F1F87955}"/>
                  </a:ext>
                </a:extLst>
              </p:cNvPr>
              <p:cNvSpPr/>
              <p:nvPr/>
            </p:nvSpPr>
            <p:spPr>
              <a:xfrm>
                <a:off x="10011403" y="2928665"/>
                <a:ext cx="50666" cy="49987"/>
              </a:xfrm>
              <a:custGeom>
                <a:avLst/>
                <a:gdLst>
                  <a:gd name="connsiteX0" fmla="*/ 50619 w 50666"/>
                  <a:gd name="connsiteY0" fmla="*/ -49 h 49987"/>
                  <a:gd name="connsiteX1" fmla="*/ -47 w 50666"/>
                  <a:gd name="connsiteY1" fmla="*/ -49 h 49987"/>
                  <a:gd name="connsiteX2" fmla="*/ -47 w 50666"/>
                  <a:gd name="connsiteY2" fmla="*/ 49938 h 49987"/>
                  <a:gd name="connsiteX3" fmla="*/ 50619 w 50666"/>
                  <a:gd name="connsiteY3" fmla="*/ 49938 h 499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666" h="49987">
                    <a:moveTo>
                      <a:pt x="50619" y="-49"/>
                    </a:moveTo>
                    <a:lnTo>
                      <a:pt x="-47" y="-49"/>
                    </a:lnTo>
                    <a:lnTo>
                      <a:pt x="-47" y="49938"/>
                    </a:lnTo>
                    <a:lnTo>
                      <a:pt x="50619" y="49938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41" name="Freihandform: Form 240">
              <a:extLst>
                <a:ext uri="{FF2B5EF4-FFF2-40B4-BE49-F238E27FC236}">
                  <a16:creationId xmlns:a16="http://schemas.microsoft.com/office/drawing/2014/main" id="{B72CE487-73C8-4EEE-A5B0-9124B3B937F7}"/>
                </a:ext>
              </a:extLst>
            </p:cNvPr>
            <p:cNvSpPr/>
            <p:nvPr/>
          </p:nvSpPr>
          <p:spPr>
            <a:xfrm>
              <a:off x="9688183" y="2644612"/>
              <a:ext cx="425740" cy="463421"/>
            </a:xfrm>
            <a:custGeom>
              <a:avLst/>
              <a:gdLst>
                <a:gd name="connsiteX0" fmla="*/ 425693 w 425740"/>
                <a:gd name="connsiteY0" fmla="*/ 76926 h 463421"/>
                <a:gd name="connsiteX1" fmla="*/ 425693 w 425740"/>
                <a:gd name="connsiteY1" fmla="*/ 50023 h 463421"/>
                <a:gd name="connsiteX2" fmla="*/ 121059 w 425740"/>
                <a:gd name="connsiteY2" fmla="*/ 50023 h 463421"/>
                <a:gd name="connsiteX3" fmla="*/ 121059 w 425740"/>
                <a:gd name="connsiteY3" fmla="*/ -49 h 463421"/>
                <a:gd name="connsiteX4" fmla="*/ 90210 w 425740"/>
                <a:gd name="connsiteY4" fmla="*/ -49 h 463421"/>
                <a:gd name="connsiteX5" fmla="*/ 90210 w 425740"/>
                <a:gd name="connsiteY5" fmla="*/ 49429 h 463421"/>
                <a:gd name="connsiteX6" fmla="*/ -47 w 425740"/>
                <a:gd name="connsiteY6" fmla="*/ 49429 h 463421"/>
                <a:gd name="connsiteX7" fmla="*/ -47 w 425740"/>
                <a:gd name="connsiteY7" fmla="*/ 76459 h 463421"/>
                <a:gd name="connsiteX8" fmla="*/ 88597 w 425740"/>
                <a:gd name="connsiteY8" fmla="*/ 76459 h 463421"/>
                <a:gd name="connsiteX9" fmla="*/ 88597 w 425740"/>
                <a:gd name="connsiteY9" fmla="*/ 309167 h 463421"/>
                <a:gd name="connsiteX10" fmla="*/ 37677 w 425740"/>
                <a:gd name="connsiteY10" fmla="*/ 309167 h 463421"/>
                <a:gd name="connsiteX11" fmla="*/ 37677 w 425740"/>
                <a:gd name="connsiteY11" fmla="*/ 463372 h 463421"/>
                <a:gd name="connsiteX12" fmla="*/ 424802 w 425740"/>
                <a:gd name="connsiteY12" fmla="*/ 463372 h 463421"/>
                <a:gd name="connsiteX13" fmla="*/ 424802 w 425740"/>
                <a:gd name="connsiteY13" fmla="*/ 232022 h 463421"/>
                <a:gd name="connsiteX14" fmla="*/ 193240 w 425740"/>
                <a:gd name="connsiteY14" fmla="*/ 232022 h 463421"/>
                <a:gd name="connsiteX15" fmla="*/ 193240 w 425740"/>
                <a:gd name="connsiteY15" fmla="*/ 308658 h 463421"/>
                <a:gd name="connsiteX16" fmla="*/ 121102 w 425740"/>
                <a:gd name="connsiteY16" fmla="*/ 308658 h 463421"/>
                <a:gd name="connsiteX17" fmla="*/ 121102 w 425740"/>
                <a:gd name="connsiteY17" fmla="*/ 77350 h 463421"/>
                <a:gd name="connsiteX18" fmla="*/ 341164 w 425740"/>
                <a:gd name="connsiteY18" fmla="*/ 77350 h 463421"/>
                <a:gd name="connsiteX19" fmla="*/ 341164 w 425740"/>
                <a:gd name="connsiteY19" fmla="*/ 99162 h 463421"/>
                <a:gd name="connsiteX20" fmla="*/ 304119 w 425740"/>
                <a:gd name="connsiteY20" fmla="*/ 135273 h 463421"/>
                <a:gd name="connsiteX21" fmla="*/ 290965 w 425740"/>
                <a:gd name="connsiteY21" fmla="*/ 135273 h 463421"/>
                <a:gd name="connsiteX22" fmla="*/ 290965 w 425740"/>
                <a:gd name="connsiteY22" fmla="*/ 185769 h 463421"/>
                <a:gd name="connsiteX23" fmla="*/ 405961 w 425740"/>
                <a:gd name="connsiteY23" fmla="*/ 185769 h 463421"/>
                <a:gd name="connsiteX24" fmla="*/ 405961 w 425740"/>
                <a:gd name="connsiteY24" fmla="*/ 135867 h 463421"/>
                <a:gd name="connsiteX25" fmla="*/ 391152 w 425740"/>
                <a:gd name="connsiteY25" fmla="*/ 135867 h 463421"/>
                <a:gd name="connsiteX26" fmla="*/ 355337 w 425740"/>
                <a:gd name="connsiteY26" fmla="*/ 99501 h 463421"/>
                <a:gd name="connsiteX27" fmla="*/ 355337 w 425740"/>
                <a:gd name="connsiteY27" fmla="*/ 76926 h 463421"/>
                <a:gd name="connsiteX28" fmla="*/ 219464 w 425740"/>
                <a:gd name="connsiteY28" fmla="*/ 334331 h 463421"/>
                <a:gd name="connsiteX29" fmla="*/ 219464 w 425740"/>
                <a:gd name="connsiteY29" fmla="*/ 257652 h 463421"/>
                <a:gd name="connsiteX30" fmla="*/ 399808 w 425740"/>
                <a:gd name="connsiteY30" fmla="*/ 257652 h 463421"/>
                <a:gd name="connsiteX31" fmla="*/ 399808 w 425740"/>
                <a:gd name="connsiteY31" fmla="*/ 437615 h 463421"/>
                <a:gd name="connsiteX32" fmla="*/ 64580 w 425740"/>
                <a:gd name="connsiteY32" fmla="*/ 437615 h 463421"/>
                <a:gd name="connsiteX33" fmla="*/ 64580 w 425740"/>
                <a:gd name="connsiteY33" fmla="*/ 334331 h 463421"/>
                <a:gd name="connsiteX34" fmla="*/ 371335 w 425740"/>
                <a:gd name="connsiteY34" fmla="*/ 134891 h 463421"/>
                <a:gd name="connsiteX35" fmla="*/ 326228 w 425740"/>
                <a:gd name="connsiteY35" fmla="*/ 134891 h 463421"/>
                <a:gd name="connsiteX36" fmla="*/ 348166 w 425740"/>
                <a:gd name="connsiteY36" fmla="*/ 114310 h 463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25740" h="463421">
                  <a:moveTo>
                    <a:pt x="425693" y="76926"/>
                  </a:moveTo>
                  <a:lnTo>
                    <a:pt x="425693" y="50023"/>
                  </a:lnTo>
                  <a:lnTo>
                    <a:pt x="121059" y="50023"/>
                  </a:lnTo>
                  <a:lnTo>
                    <a:pt x="121059" y="-49"/>
                  </a:lnTo>
                  <a:lnTo>
                    <a:pt x="90210" y="-49"/>
                  </a:lnTo>
                  <a:lnTo>
                    <a:pt x="90210" y="49429"/>
                  </a:lnTo>
                  <a:lnTo>
                    <a:pt x="-47" y="49429"/>
                  </a:lnTo>
                  <a:lnTo>
                    <a:pt x="-47" y="76459"/>
                  </a:lnTo>
                  <a:lnTo>
                    <a:pt x="88597" y="76459"/>
                  </a:lnTo>
                  <a:lnTo>
                    <a:pt x="88597" y="309167"/>
                  </a:lnTo>
                  <a:lnTo>
                    <a:pt x="37677" y="309167"/>
                  </a:lnTo>
                  <a:lnTo>
                    <a:pt x="37677" y="463372"/>
                  </a:lnTo>
                  <a:lnTo>
                    <a:pt x="424802" y="463372"/>
                  </a:lnTo>
                  <a:lnTo>
                    <a:pt x="424802" y="232022"/>
                  </a:lnTo>
                  <a:lnTo>
                    <a:pt x="193240" y="232022"/>
                  </a:lnTo>
                  <a:lnTo>
                    <a:pt x="193240" y="308658"/>
                  </a:lnTo>
                  <a:lnTo>
                    <a:pt x="121102" y="308658"/>
                  </a:lnTo>
                  <a:lnTo>
                    <a:pt x="121102" y="77350"/>
                  </a:lnTo>
                  <a:lnTo>
                    <a:pt x="341164" y="77350"/>
                  </a:lnTo>
                  <a:lnTo>
                    <a:pt x="341164" y="99162"/>
                  </a:lnTo>
                  <a:cubicBezTo>
                    <a:pt x="329580" y="110449"/>
                    <a:pt x="317741" y="121949"/>
                    <a:pt x="304119" y="135273"/>
                  </a:cubicBezTo>
                  <a:lnTo>
                    <a:pt x="290965" y="135273"/>
                  </a:lnTo>
                  <a:lnTo>
                    <a:pt x="290965" y="185769"/>
                  </a:lnTo>
                  <a:lnTo>
                    <a:pt x="405961" y="185769"/>
                  </a:lnTo>
                  <a:lnTo>
                    <a:pt x="405961" y="135867"/>
                  </a:lnTo>
                  <a:lnTo>
                    <a:pt x="391152" y="135867"/>
                  </a:lnTo>
                  <a:lnTo>
                    <a:pt x="355337" y="99501"/>
                  </a:lnTo>
                  <a:lnTo>
                    <a:pt x="355337" y="76926"/>
                  </a:lnTo>
                  <a:close/>
                  <a:moveTo>
                    <a:pt x="219464" y="334331"/>
                  </a:moveTo>
                  <a:lnTo>
                    <a:pt x="219464" y="257652"/>
                  </a:lnTo>
                  <a:lnTo>
                    <a:pt x="399808" y="257652"/>
                  </a:lnTo>
                  <a:lnTo>
                    <a:pt x="399808" y="437615"/>
                  </a:lnTo>
                  <a:lnTo>
                    <a:pt x="64580" y="437615"/>
                  </a:lnTo>
                  <a:lnTo>
                    <a:pt x="64580" y="334331"/>
                  </a:lnTo>
                  <a:close/>
                  <a:moveTo>
                    <a:pt x="371335" y="134891"/>
                  </a:moveTo>
                  <a:lnTo>
                    <a:pt x="326228" y="134891"/>
                  </a:lnTo>
                  <a:lnTo>
                    <a:pt x="348166" y="114310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2" name="Freihandform: Form 241">
              <a:extLst>
                <a:ext uri="{FF2B5EF4-FFF2-40B4-BE49-F238E27FC236}">
                  <a16:creationId xmlns:a16="http://schemas.microsoft.com/office/drawing/2014/main" id="{D0EA16FC-7C26-430C-AC0F-47521E5F50BA}"/>
                </a:ext>
              </a:extLst>
            </p:cNvPr>
            <p:cNvSpPr/>
            <p:nvPr/>
          </p:nvSpPr>
          <p:spPr>
            <a:xfrm>
              <a:off x="9933833" y="3005895"/>
              <a:ext cx="50920" cy="50411"/>
            </a:xfrm>
            <a:custGeom>
              <a:avLst/>
              <a:gdLst>
                <a:gd name="connsiteX0" fmla="*/ 50874 w 50920"/>
                <a:gd name="connsiteY0" fmla="*/ -49 h 50411"/>
                <a:gd name="connsiteX1" fmla="*/ -47 w 50920"/>
                <a:gd name="connsiteY1" fmla="*/ -49 h 50411"/>
                <a:gd name="connsiteX2" fmla="*/ -47 w 50920"/>
                <a:gd name="connsiteY2" fmla="*/ 50362 h 50411"/>
                <a:gd name="connsiteX3" fmla="*/ 50874 w 50920"/>
                <a:gd name="connsiteY3" fmla="*/ 50362 h 50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920" h="50411">
                  <a:moveTo>
                    <a:pt x="50874" y="-49"/>
                  </a:moveTo>
                  <a:lnTo>
                    <a:pt x="-47" y="-49"/>
                  </a:lnTo>
                  <a:lnTo>
                    <a:pt x="-47" y="50362"/>
                  </a:lnTo>
                  <a:lnTo>
                    <a:pt x="50874" y="50362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3" name="Freihandform: Form 242">
              <a:extLst>
                <a:ext uri="{FF2B5EF4-FFF2-40B4-BE49-F238E27FC236}">
                  <a16:creationId xmlns:a16="http://schemas.microsoft.com/office/drawing/2014/main" id="{1074C3AD-9D33-40D1-810C-3A90E071267B}"/>
                </a:ext>
              </a:extLst>
            </p:cNvPr>
            <p:cNvSpPr/>
            <p:nvPr/>
          </p:nvSpPr>
          <p:spPr>
            <a:xfrm>
              <a:off x="9856010" y="3005725"/>
              <a:ext cx="50920" cy="50369"/>
            </a:xfrm>
            <a:custGeom>
              <a:avLst/>
              <a:gdLst>
                <a:gd name="connsiteX0" fmla="*/ 50874 w 50920"/>
                <a:gd name="connsiteY0" fmla="*/ -49 h 50369"/>
                <a:gd name="connsiteX1" fmla="*/ -47 w 50920"/>
                <a:gd name="connsiteY1" fmla="*/ -49 h 50369"/>
                <a:gd name="connsiteX2" fmla="*/ -47 w 50920"/>
                <a:gd name="connsiteY2" fmla="*/ 50320 h 50369"/>
                <a:gd name="connsiteX3" fmla="*/ 50874 w 50920"/>
                <a:gd name="connsiteY3" fmla="*/ 50320 h 50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920" h="50369">
                  <a:moveTo>
                    <a:pt x="50874" y="-49"/>
                  </a:moveTo>
                  <a:lnTo>
                    <a:pt x="-47" y="-49"/>
                  </a:lnTo>
                  <a:lnTo>
                    <a:pt x="-47" y="50320"/>
                  </a:lnTo>
                  <a:lnTo>
                    <a:pt x="50874" y="50320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4" name="Freihandform: Form 243">
              <a:extLst>
                <a:ext uri="{FF2B5EF4-FFF2-40B4-BE49-F238E27FC236}">
                  <a16:creationId xmlns:a16="http://schemas.microsoft.com/office/drawing/2014/main" id="{B5227FAB-4121-48DE-8790-3F435F132319}"/>
                </a:ext>
              </a:extLst>
            </p:cNvPr>
            <p:cNvSpPr/>
            <p:nvPr/>
          </p:nvSpPr>
          <p:spPr>
            <a:xfrm>
              <a:off x="9933833" y="2928368"/>
              <a:ext cx="50496" cy="50284"/>
            </a:xfrm>
            <a:custGeom>
              <a:avLst/>
              <a:gdLst>
                <a:gd name="connsiteX0" fmla="*/ 50449 w 50496"/>
                <a:gd name="connsiteY0" fmla="*/ -49 h 50284"/>
                <a:gd name="connsiteX1" fmla="*/ -47 w 50496"/>
                <a:gd name="connsiteY1" fmla="*/ -49 h 50284"/>
                <a:gd name="connsiteX2" fmla="*/ -47 w 50496"/>
                <a:gd name="connsiteY2" fmla="*/ 50235 h 50284"/>
                <a:gd name="connsiteX3" fmla="*/ 50449 w 50496"/>
                <a:gd name="connsiteY3" fmla="*/ 50235 h 50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496" h="50284">
                  <a:moveTo>
                    <a:pt x="50449" y="-49"/>
                  </a:moveTo>
                  <a:lnTo>
                    <a:pt x="-47" y="-49"/>
                  </a:lnTo>
                  <a:lnTo>
                    <a:pt x="-47" y="50235"/>
                  </a:lnTo>
                  <a:lnTo>
                    <a:pt x="50449" y="50235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5" name="Freihandform: Form 244">
              <a:extLst>
                <a:ext uri="{FF2B5EF4-FFF2-40B4-BE49-F238E27FC236}">
                  <a16:creationId xmlns:a16="http://schemas.microsoft.com/office/drawing/2014/main" id="{F7320212-0146-407E-A99E-C10ECD99ECB6}"/>
                </a:ext>
              </a:extLst>
            </p:cNvPr>
            <p:cNvSpPr/>
            <p:nvPr/>
          </p:nvSpPr>
          <p:spPr>
            <a:xfrm>
              <a:off x="10011615" y="3005768"/>
              <a:ext cx="50581" cy="50623"/>
            </a:xfrm>
            <a:custGeom>
              <a:avLst/>
              <a:gdLst>
                <a:gd name="connsiteX0" fmla="*/ -47 w 50581"/>
                <a:gd name="connsiteY0" fmla="*/ 50575 h 50623"/>
                <a:gd name="connsiteX1" fmla="*/ 50534 w 50581"/>
                <a:gd name="connsiteY1" fmla="*/ 50575 h 50623"/>
                <a:gd name="connsiteX2" fmla="*/ 50534 w 50581"/>
                <a:gd name="connsiteY2" fmla="*/ -49 h 50623"/>
                <a:gd name="connsiteX3" fmla="*/ -47 w 50581"/>
                <a:gd name="connsiteY3" fmla="*/ -49 h 50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581" h="50623">
                  <a:moveTo>
                    <a:pt x="-47" y="50575"/>
                  </a:moveTo>
                  <a:lnTo>
                    <a:pt x="50534" y="50575"/>
                  </a:lnTo>
                  <a:lnTo>
                    <a:pt x="50534" y="-49"/>
                  </a:lnTo>
                  <a:lnTo>
                    <a:pt x="-47" y="-49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6" name="Freihandform: Form 245">
              <a:extLst>
                <a:ext uri="{FF2B5EF4-FFF2-40B4-BE49-F238E27FC236}">
                  <a16:creationId xmlns:a16="http://schemas.microsoft.com/office/drawing/2014/main" id="{0306426F-F73B-4825-A0F6-9E87F7067DF8}"/>
                </a:ext>
              </a:extLst>
            </p:cNvPr>
            <p:cNvSpPr/>
            <p:nvPr/>
          </p:nvSpPr>
          <p:spPr>
            <a:xfrm>
              <a:off x="9778652" y="3005895"/>
              <a:ext cx="50411" cy="50453"/>
            </a:xfrm>
            <a:custGeom>
              <a:avLst/>
              <a:gdLst>
                <a:gd name="connsiteX0" fmla="*/ 50364 w 50411"/>
                <a:gd name="connsiteY0" fmla="*/ -49 h 50453"/>
                <a:gd name="connsiteX1" fmla="*/ -47 w 50411"/>
                <a:gd name="connsiteY1" fmla="*/ -49 h 50453"/>
                <a:gd name="connsiteX2" fmla="*/ -47 w 50411"/>
                <a:gd name="connsiteY2" fmla="*/ 50405 h 50453"/>
                <a:gd name="connsiteX3" fmla="*/ 50364 w 50411"/>
                <a:gd name="connsiteY3" fmla="*/ 50405 h 50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411" h="50453">
                  <a:moveTo>
                    <a:pt x="50364" y="-49"/>
                  </a:moveTo>
                  <a:lnTo>
                    <a:pt x="-47" y="-49"/>
                  </a:lnTo>
                  <a:lnTo>
                    <a:pt x="-47" y="50405"/>
                  </a:lnTo>
                  <a:lnTo>
                    <a:pt x="50364" y="50405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7" name="Freihandform: Form 246">
              <a:extLst>
                <a:ext uri="{FF2B5EF4-FFF2-40B4-BE49-F238E27FC236}">
                  <a16:creationId xmlns:a16="http://schemas.microsoft.com/office/drawing/2014/main" id="{E92F5D1F-36D7-404E-BDEE-785F262B7EEC}"/>
                </a:ext>
              </a:extLst>
            </p:cNvPr>
            <p:cNvSpPr/>
            <p:nvPr/>
          </p:nvSpPr>
          <p:spPr>
            <a:xfrm>
              <a:off x="10011403" y="2928665"/>
              <a:ext cx="50666" cy="49987"/>
            </a:xfrm>
            <a:custGeom>
              <a:avLst/>
              <a:gdLst>
                <a:gd name="connsiteX0" fmla="*/ 50619 w 50666"/>
                <a:gd name="connsiteY0" fmla="*/ -49 h 49987"/>
                <a:gd name="connsiteX1" fmla="*/ -47 w 50666"/>
                <a:gd name="connsiteY1" fmla="*/ -49 h 49987"/>
                <a:gd name="connsiteX2" fmla="*/ -47 w 50666"/>
                <a:gd name="connsiteY2" fmla="*/ 49938 h 49987"/>
                <a:gd name="connsiteX3" fmla="*/ 50619 w 50666"/>
                <a:gd name="connsiteY3" fmla="*/ 49938 h 49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666" h="49987">
                  <a:moveTo>
                    <a:pt x="50619" y="-49"/>
                  </a:moveTo>
                  <a:lnTo>
                    <a:pt x="-47" y="-49"/>
                  </a:lnTo>
                  <a:lnTo>
                    <a:pt x="-47" y="49938"/>
                  </a:lnTo>
                  <a:lnTo>
                    <a:pt x="50619" y="49938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59" name="Gruppieren 258">
            <a:extLst>
              <a:ext uri="{FF2B5EF4-FFF2-40B4-BE49-F238E27FC236}">
                <a16:creationId xmlns:a16="http://schemas.microsoft.com/office/drawing/2014/main" id="{3EB90AF6-A521-44AA-AF8F-D9F3261A5AA6}"/>
              </a:ext>
            </a:extLst>
          </p:cNvPr>
          <p:cNvGrpSpPr/>
          <p:nvPr/>
        </p:nvGrpSpPr>
        <p:grpSpPr>
          <a:xfrm>
            <a:off x="4450919" y="3717396"/>
            <a:ext cx="755851" cy="756064"/>
            <a:chOff x="4450919" y="2500034"/>
            <a:chExt cx="755851" cy="756064"/>
          </a:xfrm>
          <a:solidFill>
            <a:schemeClr val="bg1"/>
          </a:solidFill>
        </p:grpSpPr>
        <p:grpSp>
          <p:nvGrpSpPr>
            <p:cNvPr id="260" name="Grafik 81">
              <a:extLst>
                <a:ext uri="{FF2B5EF4-FFF2-40B4-BE49-F238E27FC236}">
                  <a16:creationId xmlns:a16="http://schemas.microsoft.com/office/drawing/2014/main" id="{1EC20336-5B0E-443C-B6F5-D95C418F7797}"/>
                </a:ext>
              </a:extLst>
            </p:cNvPr>
            <p:cNvGrpSpPr/>
            <p:nvPr/>
          </p:nvGrpSpPr>
          <p:grpSpPr>
            <a:xfrm>
              <a:off x="4450919" y="2500034"/>
              <a:ext cx="755851" cy="756064"/>
              <a:chOff x="4450919" y="2500034"/>
              <a:chExt cx="755851" cy="756064"/>
            </a:xfrm>
            <a:grpFill/>
          </p:grpSpPr>
          <p:sp>
            <p:nvSpPr>
              <p:cNvPr id="269" name="Freihandform: Form 268">
                <a:extLst>
                  <a:ext uri="{FF2B5EF4-FFF2-40B4-BE49-F238E27FC236}">
                    <a16:creationId xmlns:a16="http://schemas.microsoft.com/office/drawing/2014/main" id="{8CC5E0F1-4061-4EDE-AC1B-C2AFD5C5CB41}"/>
                  </a:ext>
                </a:extLst>
              </p:cNvPr>
              <p:cNvSpPr/>
              <p:nvPr/>
            </p:nvSpPr>
            <p:spPr>
              <a:xfrm>
                <a:off x="4450919" y="2500034"/>
                <a:ext cx="683499" cy="466270"/>
              </a:xfrm>
              <a:custGeom>
                <a:avLst/>
                <a:gdLst>
                  <a:gd name="connsiteX0" fmla="*/ 10573 w 683499"/>
                  <a:gd name="connsiteY0" fmla="*/ 466221 h 466270"/>
                  <a:gd name="connsiteX1" fmla="*/ 289109 w 683499"/>
                  <a:gd name="connsiteY1" fmla="*/ 10507 h 466270"/>
                  <a:gd name="connsiteX2" fmla="*/ 683449 w 683499"/>
                  <a:gd name="connsiteY2" fmla="*/ 155944 h 466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99" h="466270">
                    <a:moveTo>
                      <a:pt x="10573" y="466221"/>
                    </a:moveTo>
                    <a:cubicBezTo>
                      <a:pt x="-38354" y="263463"/>
                      <a:pt x="86351" y="59433"/>
                      <a:pt x="289109" y="10507"/>
                    </a:cubicBezTo>
                    <a:cubicBezTo>
                      <a:pt x="437882" y="-25393"/>
                      <a:pt x="593612" y="32042"/>
                      <a:pt x="683449" y="155944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70" name="Freihandform: Form 269">
                <a:extLst>
                  <a:ext uri="{FF2B5EF4-FFF2-40B4-BE49-F238E27FC236}">
                    <a16:creationId xmlns:a16="http://schemas.microsoft.com/office/drawing/2014/main" id="{E17B093B-91C4-4A44-BCC9-7CE8ED415460}"/>
                  </a:ext>
                </a:extLst>
              </p:cNvPr>
              <p:cNvSpPr/>
              <p:nvPr/>
            </p:nvSpPr>
            <p:spPr>
              <a:xfrm>
                <a:off x="5082310" y="2617539"/>
                <a:ext cx="89068" cy="101502"/>
              </a:xfrm>
              <a:custGeom>
                <a:avLst/>
                <a:gdLst>
                  <a:gd name="connsiteX0" fmla="*/ 0 w 89068"/>
                  <a:gd name="connsiteY0" fmla="*/ 52788 h 101502"/>
                  <a:gd name="connsiteX1" fmla="*/ 89069 w 89068"/>
                  <a:gd name="connsiteY1" fmla="*/ 101502 h 101502"/>
                  <a:gd name="connsiteX2" fmla="*/ 86735 w 89068"/>
                  <a:gd name="connsiteY2" fmla="*/ 0 h 101502"/>
                  <a:gd name="connsiteX3" fmla="*/ 0 w 89068"/>
                  <a:gd name="connsiteY3" fmla="*/ 52788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0" y="52788"/>
                    </a:moveTo>
                    <a:lnTo>
                      <a:pt x="89069" y="101502"/>
                    </a:lnTo>
                    <a:lnTo>
                      <a:pt x="86735" y="0"/>
                    </a:lnTo>
                    <a:lnTo>
                      <a:pt x="0" y="52788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1" name="Freihandform: Form 270">
                <a:extLst>
                  <a:ext uri="{FF2B5EF4-FFF2-40B4-BE49-F238E27FC236}">
                    <a16:creationId xmlns:a16="http://schemas.microsoft.com/office/drawing/2014/main" id="{20E1593E-CB29-4D73-A9C3-643F2A651744}"/>
                  </a:ext>
                </a:extLst>
              </p:cNvPr>
              <p:cNvSpPr/>
              <p:nvPr/>
            </p:nvSpPr>
            <p:spPr>
              <a:xfrm>
                <a:off x="4523327" y="2790415"/>
                <a:ext cx="683443" cy="465683"/>
              </a:xfrm>
              <a:custGeom>
                <a:avLst/>
                <a:gdLst>
                  <a:gd name="connsiteX0" fmla="*/ 672909 w 683443"/>
                  <a:gd name="connsiteY0" fmla="*/ -49 h 465683"/>
                  <a:gd name="connsiteX1" fmla="*/ 393646 w 683443"/>
                  <a:gd name="connsiteY1" fmla="*/ 455220 h 465683"/>
                  <a:gd name="connsiteX2" fmla="*/ -51 w 683443"/>
                  <a:gd name="connsiteY2" fmla="*/ 309719 h 465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43" h="465683">
                    <a:moveTo>
                      <a:pt x="672909" y="-49"/>
                    </a:moveTo>
                    <a:cubicBezTo>
                      <a:pt x="721512" y="202786"/>
                      <a:pt x="596481" y="406617"/>
                      <a:pt x="393646" y="455220"/>
                    </a:cubicBezTo>
                    <a:cubicBezTo>
                      <a:pt x="245063" y="490822"/>
                      <a:pt x="89667" y="433392"/>
                      <a:pt x="-51" y="309719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72" name="Freihandform: Form 271">
                <a:extLst>
                  <a:ext uri="{FF2B5EF4-FFF2-40B4-BE49-F238E27FC236}">
                    <a16:creationId xmlns:a16="http://schemas.microsoft.com/office/drawing/2014/main" id="{E3818A9E-1C34-48A5-8C04-2D3D4CB8D008}"/>
                  </a:ext>
                </a:extLst>
              </p:cNvPr>
              <p:cNvSpPr/>
              <p:nvPr/>
            </p:nvSpPr>
            <p:spPr>
              <a:xfrm>
                <a:off x="4486367" y="3037254"/>
                <a:ext cx="89068" cy="101502"/>
              </a:xfrm>
              <a:custGeom>
                <a:avLst/>
                <a:gdLst>
                  <a:gd name="connsiteX0" fmla="*/ 89069 w 89068"/>
                  <a:gd name="connsiteY0" fmla="*/ 48714 h 101502"/>
                  <a:gd name="connsiteX1" fmla="*/ 0 w 89068"/>
                  <a:gd name="connsiteY1" fmla="*/ 0 h 101502"/>
                  <a:gd name="connsiteX2" fmla="*/ 2334 w 89068"/>
                  <a:gd name="connsiteY2" fmla="*/ 101502 h 101502"/>
                  <a:gd name="connsiteX3" fmla="*/ 89069 w 89068"/>
                  <a:gd name="connsiteY3" fmla="*/ 48714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89069" y="48714"/>
                    </a:moveTo>
                    <a:lnTo>
                      <a:pt x="0" y="0"/>
                    </a:lnTo>
                    <a:lnTo>
                      <a:pt x="2334" y="101502"/>
                    </a:lnTo>
                    <a:lnTo>
                      <a:pt x="89069" y="48714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61" name="Freihandform: Form 260">
              <a:extLst>
                <a:ext uri="{FF2B5EF4-FFF2-40B4-BE49-F238E27FC236}">
                  <a16:creationId xmlns:a16="http://schemas.microsoft.com/office/drawing/2014/main" id="{FD80B9D8-431A-4D8D-842C-4EC393683F43}"/>
                </a:ext>
              </a:extLst>
            </p:cNvPr>
            <p:cNvSpPr/>
            <p:nvPr/>
          </p:nvSpPr>
          <p:spPr>
            <a:xfrm>
              <a:off x="5082310" y="2617539"/>
              <a:ext cx="89068" cy="101502"/>
            </a:xfrm>
            <a:custGeom>
              <a:avLst/>
              <a:gdLst>
                <a:gd name="connsiteX0" fmla="*/ 0 w 89068"/>
                <a:gd name="connsiteY0" fmla="*/ 52788 h 101502"/>
                <a:gd name="connsiteX1" fmla="*/ 89069 w 89068"/>
                <a:gd name="connsiteY1" fmla="*/ 101502 h 101502"/>
                <a:gd name="connsiteX2" fmla="*/ 86735 w 89068"/>
                <a:gd name="connsiteY2" fmla="*/ 0 h 101502"/>
                <a:gd name="connsiteX3" fmla="*/ 0 w 89068"/>
                <a:gd name="connsiteY3" fmla="*/ 52788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0" y="52788"/>
                  </a:moveTo>
                  <a:lnTo>
                    <a:pt x="89069" y="101502"/>
                  </a:lnTo>
                  <a:lnTo>
                    <a:pt x="86735" y="0"/>
                  </a:lnTo>
                  <a:lnTo>
                    <a:pt x="0" y="52788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2" name="Freihandform: Form 261">
              <a:extLst>
                <a:ext uri="{FF2B5EF4-FFF2-40B4-BE49-F238E27FC236}">
                  <a16:creationId xmlns:a16="http://schemas.microsoft.com/office/drawing/2014/main" id="{8E951A63-867A-4AB1-B8E6-C24B1596CB53}"/>
                </a:ext>
              </a:extLst>
            </p:cNvPr>
            <p:cNvSpPr/>
            <p:nvPr/>
          </p:nvSpPr>
          <p:spPr>
            <a:xfrm>
              <a:off x="4486367" y="3037254"/>
              <a:ext cx="89068" cy="101502"/>
            </a:xfrm>
            <a:custGeom>
              <a:avLst/>
              <a:gdLst>
                <a:gd name="connsiteX0" fmla="*/ 89069 w 89068"/>
                <a:gd name="connsiteY0" fmla="*/ 48714 h 101502"/>
                <a:gd name="connsiteX1" fmla="*/ 0 w 89068"/>
                <a:gd name="connsiteY1" fmla="*/ 0 h 101502"/>
                <a:gd name="connsiteX2" fmla="*/ 2334 w 89068"/>
                <a:gd name="connsiteY2" fmla="*/ 101502 h 101502"/>
                <a:gd name="connsiteX3" fmla="*/ 89069 w 89068"/>
                <a:gd name="connsiteY3" fmla="*/ 48714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89069" y="48714"/>
                  </a:moveTo>
                  <a:lnTo>
                    <a:pt x="0" y="0"/>
                  </a:lnTo>
                  <a:lnTo>
                    <a:pt x="2334" y="101502"/>
                  </a:lnTo>
                  <a:lnTo>
                    <a:pt x="89069" y="48714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3" name="Freihandform: Form 262">
              <a:extLst>
                <a:ext uri="{FF2B5EF4-FFF2-40B4-BE49-F238E27FC236}">
                  <a16:creationId xmlns:a16="http://schemas.microsoft.com/office/drawing/2014/main" id="{EF017B80-39F6-4947-B87F-C49EBD1EC790}"/>
                </a:ext>
              </a:extLst>
            </p:cNvPr>
            <p:cNvSpPr/>
            <p:nvPr/>
          </p:nvSpPr>
          <p:spPr>
            <a:xfrm>
              <a:off x="4837593" y="2793854"/>
              <a:ext cx="275970" cy="344562"/>
            </a:xfrm>
            <a:custGeom>
              <a:avLst/>
              <a:gdLst>
                <a:gd name="connsiteX0" fmla="*/ 237324 w 275970"/>
                <a:gd name="connsiteY0" fmla="*/ 14632 h 344562"/>
                <a:gd name="connsiteX1" fmla="*/ 208681 w 275970"/>
                <a:gd name="connsiteY1" fmla="*/ 113758 h 344562"/>
                <a:gd name="connsiteX2" fmla="*/ 140278 w 275970"/>
                <a:gd name="connsiteY2" fmla="*/ 162811 h 344562"/>
                <a:gd name="connsiteX3" fmla="*/ 127760 w 275970"/>
                <a:gd name="connsiteY3" fmla="*/ 159162 h 344562"/>
                <a:gd name="connsiteX4" fmla="*/ 165950 w 275970"/>
                <a:gd name="connsiteY4" fmla="*/ 132004 h 344562"/>
                <a:gd name="connsiteX5" fmla="*/ 157124 w 275970"/>
                <a:gd name="connsiteY5" fmla="*/ 92116 h 344562"/>
                <a:gd name="connsiteX6" fmla="*/ 66612 w 275970"/>
                <a:gd name="connsiteY6" fmla="*/ 131537 h 344562"/>
                <a:gd name="connsiteX7" fmla="*/ 51464 w 275970"/>
                <a:gd name="connsiteY7" fmla="*/ 217721 h 344562"/>
                <a:gd name="connsiteX8" fmla="*/ -51 w 275970"/>
                <a:gd name="connsiteY8" fmla="*/ 344514 h 344562"/>
                <a:gd name="connsiteX9" fmla="*/ 136077 w 275970"/>
                <a:gd name="connsiteY9" fmla="*/ 298473 h 344562"/>
                <a:gd name="connsiteX10" fmla="*/ 142994 w 275970"/>
                <a:gd name="connsiteY10" fmla="*/ 239490 h 344562"/>
                <a:gd name="connsiteX11" fmla="*/ 233293 w 275970"/>
                <a:gd name="connsiteY11" fmla="*/ 169473 h 344562"/>
                <a:gd name="connsiteX12" fmla="*/ 274878 w 275970"/>
                <a:gd name="connsiteY12" fmla="*/ 25495 h 344562"/>
                <a:gd name="connsiteX13" fmla="*/ 237324 w 275970"/>
                <a:gd name="connsiteY13" fmla="*/ 14632 h 34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0" h="344562">
                  <a:moveTo>
                    <a:pt x="237324" y="14632"/>
                  </a:moveTo>
                  <a:cubicBezTo>
                    <a:pt x="230874" y="33133"/>
                    <a:pt x="214410" y="101834"/>
                    <a:pt x="208681" y="113758"/>
                  </a:cubicBezTo>
                  <a:cubicBezTo>
                    <a:pt x="202953" y="125682"/>
                    <a:pt x="153984" y="154494"/>
                    <a:pt x="140278" y="162811"/>
                  </a:cubicBezTo>
                  <a:cubicBezTo>
                    <a:pt x="126572" y="171128"/>
                    <a:pt x="127760" y="159162"/>
                    <a:pt x="127760" y="159162"/>
                  </a:cubicBezTo>
                  <a:cubicBezTo>
                    <a:pt x="139453" y="148733"/>
                    <a:pt x="152260" y="139625"/>
                    <a:pt x="165950" y="132004"/>
                  </a:cubicBezTo>
                  <a:cubicBezTo>
                    <a:pt x="184494" y="122626"/>
                    <a:pt x="166375" y="91395"/>
                    <a:pt x="157124" y="92116"/>
                  </a:cubicBezTo>
                  <a:cubicBezTo>
                    <a:pt x="147874" y="92838"/>
                    <a:pt x="77221" y="122160"/>
                    <a:pt x="66612" y="131537"/>
                  </a:cubicBezTo>
                  <a:cubicBezTo>
                    <a:pt x="56004" y="140915"/>
                    <a:pt x="51464" y="217721"/>
                    <a:pt x="51464" y="217721"/>
                  </a:cubicBezTo>
                  <a:lnTo>
                    <a:pt x="-51" y="344514"/>
                  </a:lnTo>
                  <a:cubicBezTo>
                    <a:pt x="56046" y="342689"/>
                    <a:pt x="91139" y="326097"/>
                    <a:pt x="136077" y="298473"/>
                  </a:cubicBezTo>
                  <a:cubicBezTo>
                    <a:pt x="138071" y="272588"/>
                    <a:pt x="140787" y="242630"/>
                    <a:pt x="142994" y="239490"/>
                  </a:cubicBezTo>
                  <a:cubicBezTo>
                    <a:pt x="146855" y="233803"/>
                    <a:pt x="219375" y="186914"/>
                    <a:pt x="233293" y="169473"/>
                  </a:cubicBezTo>
                  <a:cubicBezTo>
                    <a:pt x="247211" y="152033"/>
                    <a:pt x="267028" y="60545"/>
                    <a:pt x="274878" y="25495"/>
                  </a:cubicBezTo>
                  <a:cubicBezTo>
                    <a:pt x="282729" y="-9556"/>
                    <a:pt x="243817" y="-3827"/>
                    <a:pt x="237324" y="14632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4" name="Freihandform: Form 263">
              <a:extLst>
                <a:ext uri="{FF2B5EF4-FFF2-40B4-BE49-F238E27FC236}">
                  <a16:creationId xmlns:a16="http://schemas.microsoft.com/office/drawing/2014/main" id="{66F0E1D8-D7F4-4E87-9819-C1305280CFE3}"/>
                </a:ext>
              </a:extLst>
            </p:cNvPr>
            <p:cNvSpPr/>
            <p:nvPr/>
          </p:nvSpPr>
          <p:spPr>
            <a:xfrm>
              <a:off x="4837593" y="2793854"/>
              <a:ext cx="275970" cy="344562"/>
            </a:xfrm>
            <a:custGeom>
              <a:avLst/>
              <a:gdLst>
                <a:gd name="connsiteX0" fmla="*/ 237324 w 275970"/>
                <a:gd name="connsiteY0" fmla="*/ 14632 h 344562"/>
                <a:gd name="connsiteX1" fmla="*/ 208681 w 275970"/>
                <a:gd name="connsiteY1" fmla="*/ 113758 h 344562"/>
                <a:gd name="connsiteX2" fmla="*/ 140278 w 275970"/>
                <a:gd name="connsiteY2" fmla="*/ 162811 h 344562"/>
                <a:gd name="connsiteX3" fmla="*/ 127760 w 275970"/>
                <a:gd name="connsiteY3" fmla="*/ 159162 h 344562"/>
                <a:gd name="connsiteX4" fmla="*/ 165950 w 275970"/>
                <a:gd name="connsiteY4" fmla="*/ 132004 h 344562"/>
                <a:gd name="connsiteX5" fmla="*/ 157124 w 275970"/>
                <a:gd name="connsiteY5" fmla="*/ 92116 h 344562"/>
                <a:gd name="connsiteX6" fmla="*/ 66612 w 275970"/>
                <a:gd name="connsiteY6" fmla="*/ 131537 h 344562"/>
                <a:gd name="connsiteX7" fmla="*/ 51464 w 275970"/>
                <a:gd name="connsiteY7" fmla="*/ 217721 h 344562"/>
                <a:gd name="connsiteX8" fmla="*/ -51 w 275970"/>
                <a:gd name="connsiteY8" fmla="*/ 344514 h 344562"/>
                <a:gd name="connsiteX9" fmla="*/ 136077 w 275970"/>
                <a:gd name="connsiteY9" fmla="*/ 298473 h 344562"/>
                <a:gd name="connsiteX10" fmla="*/ 142994 w 275970"/>
                <a:gd name="connsiteY10" fmla="*/ 239490 h 344562"/>
                <a:gd name="connsiteX11" fmla="*/ 233293 w 275970"/>
                <a:gd name="connsiteY11" fmla="*/ 169473 h 344562"/>
                <a:gd name="connsiteX12" fmla="*/ 274878 w 275970"/>
                <a:gd name="connsiteY12" fmla="*/ 25495 h 344562"/>
                <a:gd name="connsiteX13" fmla="*/ 237324 w 275970"/>
                <a:gd name="connsiteY13" fmla="*/ 14632 h 34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0" h="344562">
                  <a:moveTo>
                    <a:pt x="237324" y="14632"/>
                  </a:moveTo>
                  <a:cubicBezTo>
                    <a:pt x="230874" y="33133"/>
                    <a:pt x="214410" y="101834"/>
                    <a:pt x="208681" y="113758"/>
                  </a:cubicBezTo>
                  <a:cubicBezTo>
                    <a:pt x="202953" y="125682"/>
                    <a:pt x="153984" y="154494"/>
                    <a:pt x="140278" y="162811"/>
                  </a:cubicBezTo>
                  <a:cubicBezTo>
                    <a:pt x="126572" y="171128"/>
                    <a:pt x="127760" y="159162"/>
                    <a:pt x="127760" y="159162"/>
                  </a:cubicBezTo>
                  <a:cubicBezTo>
                    <a:pt x="139453" y="148733"/>
                    <a:pt x="152260" y="139625"/>
                    <a:pt x="165950" y="132004"/>
                  </a:cubicBezTo>
                  <a:cubicBezTo>
                    <a:pt x="184494" y="122626"/>
                    <a:pt x="166375" y="91395"/>
                    <a:pt x="157124" y="92116"/>
                  </a:cubicBezTo>
                  <a:cubicBezTo>
                    <a:pt x="147874" y="92838"/>
                    <a:pt x="77221" y="122160"/>
                    <a:pt x="66612" y="131537"/>
                  </a:cubicBezTo>
                  <a:cubicBezTo>
                    <a:pt x="56004" y="140915"/>
                    <a:pt x="51464" y="217721"/>
                    <a:pt x="51464" y="217721"/>
                  </a:cubicBezTo>
                  <a:lnTo>
                    <a:pt x="-51" y="344514"/>
                  </a:lnTo>
                  <a:cubicBezTo>
                    <a:pt x="56046" y="342689"/>
                    <a:pt x="91139" y="326097"/>
                    <a:pt x="136077" y="298473"/>
                  </a:cubicBezTo>
                  <a:cubicBezTo>
                    <a:pt x="138071" y="272588"/>
                    <a:pt x="140787" y="242630"/>
                    <a:pt x="142994" y="239490"/>
                  </a:cubicBezTo>
                  <a:cubicBezTo>
                    <a:pt x="146855" y="233803"/>
                    <a:pt x="219375" y="186914"/>
                    <a:pt x="233293" y="169473"/>
                  </a:cubicBezTo>
                  <a:cubicBezTo>
                    <a:pt x="247211" y="152033"/>
                    <a:pt x="267028" y="60545"/>
                    <a:pt x="274878" y="25495"/>
                  </a:cubicBezTo>
                  <a:cubicBezTo>
                    <a:pt x="282729" y="-9556"/>
                    <a:pt x="243817" y="-3827"/>
                    <a:pt x="237324" y="14632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5" name="Freihandform: Form 264">
              <a:extLst>
                <a:ext uri="{FF2B5EF4-FFF2-40B4-BE49-F238E27FC236}">
                  <a16:creationId xmlns:a16="http://schemas.microsoft.com/office/drawing/2014/main" id="{4FEC63E5-6FCB-409D-B844-CF9599174168}"/>
                </a:ext>
              </a:extLst>
            </p:cNvPr>
            <p:cNvSpPr/>
            <p:nvPr/>
          </p:nvSpPr>
          <p:spPr>
            <a:xfrm>
              <a:off x="4547576" y="2795322"/>
              <a:ext cx="282717" cy="343136"/>
            </a:xfrm>
            <a:custGeom>
              <a:avLst/>
              <a:gdLst>
                <a:gd name="connsiteX0" fmla="*/ 209510 w 282717"/>
                <a:gd name="connsiteY0" fmla="*/ 131554 h 343136"/>
                <a:gd name="connsiteX1" fmla="*/ 118999 w 282717"/>
                <a:gd name="connsiteY1" fmla="*/ 92133 h 343136"/>
                <a:gd name="connsiteX2" fmla="*/ 110172 w 282717"/>
                <a:gd name="connsiteY2" fmla="*/ 132021 h 343136"/>
                <a:gd name="connsiteX3" fmla="*/ 148363 w 282717"/>
                <a:gd name="connsiteY3" fmla="*/ 159179 h 343136"/>
                <a:gd name="connsiteX4" fmla="*/ 135633 w 282717"/>
                <a:gd name="connsiteY4" fmla="*/ 162828 h 343136"/>
                <a:gd name="connsiteX5" fmla="*/ 67187 w 282717"/>
                <a:gd name="connsiteY5" fmla="*/ 113774 h 343136"/>
                <a:gd name="connsiteX6" fmla="*/ 38544 w 282717"/>
                <a:gd name="connsiteY6" fmla="*/ 14649 h 343136"/>
                <a:gd name="connsiteX7" fmla="*/ 990 w 282717"/>
                <a:gd name="connsiteY7" fmla="*/ 25512 h 343136"/>
                <a:gd name="connsiteX8" fmla="*/ 42618 w 282717"/>
                <a:gd name="connsiteY8" fmla="*/ 169490 h 343136"/>
                <a:gd name="connsiteX9" fmla="*/ 132917 w 282717"/>
                <a:gd name="connsiteY9" fmla="*/ 239506 h 343136"/>
                <a:gd name="connsiteX10" fmla="*/ 151121 w 282717"/>
                <a:gd name="connsiteY10" fmla="*/ 304515 h 343136"/>
                <a:gd name="connsiteX11" fmla="*/ 282667 w 282717"/>
                <a:gd name="connsiteY11" fmla="*/ 343087 h 343136"/>
                <a:gd name="connsiteX12" fmla="*/ 225508 w 282717"/>
                <a:gd name="connsiteY12" fmla="*/ 215786 h 343136"/>
                <a:gd name="connsiteX13" fmla="*/ 209510 w 282717"/>
                <a:gd name="connsiteY13" fmla="*/ 131554 h 343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82717" h="343136">
                  <a:moveTo>
                    <a:pt x="209510" y="131554"/>
                  </a:moveTo>
                  <a:cubicBezTo>
                    <a:pt x="198902" y="122176"/>
                    <a:pt x="128249" y="92854"/>
                    <a:pt x="118999" y="92133"/>
                  </a:cubicBezTo>
                  <a:cubicBezTo>
                    <a:pt x="109748" y="91412"/>
                    <a:pt x="91629" y="122643"/>
                    <a:pt x="110172" y="132021"/>
                  </a:cubicBezTo>
                  <a:cubicBezTo>
                    <a:pt x="123855" y="139654"/>
                    <a:pt x="136661" y="148761"/>
                    <a:pt x="148363" y="159179"/>
                  </a:cubicBezTo>
                  <a:cubicBezTo>
                    <a:pt x="148363" y="159179"/>
                    <a:pt x="149551" y="171145"/>
                    <a:pt x="135633" y="162828"/>
                  </a:cubicBezTo>
                  <a:cubicBezTo>
                    <a:pt x="121714" y="154511"/>
                    <a:pt x="72915" y="125698"/>
                    <a:pt x="67187" y="113774"/>
                  </a:cubicBezTo>
                  <a:cubicBezTo>
                    <a:pt x="61458" y="101850"/>
                    <a:pt x="45036" y="33150"/>
                    <a:pt x="38544" y="14649"/>
                  </a:cubicBezTo>
                  <a:cubicBezTo>
                    <a:pt x="32051" y="-3853"/>
                    <a:pt x="-6860" y="-9539"/>
                    <a:pt x="990" y="25512"/>
                  </a:cubicBezTo>
                  <a:cubicBezTo>
                    <a:pt x="8840" y="60562"/>
                    <a:pt x="28529" y="152092"/>
                    <a:pt x="42618" y="169490"/>
                  </a:cubicBezTo>
                  <a:cubicBezTo>
                    <a:pt x="56706" y="186888"/>
                    <a:pt x="129013" y="233820"/>
                    <a:pt x="132917" y="239506"/>
                  </a:cubicBezTo>
                  <a:cubicBezTo>
                    <a:pt x="136015" y="243962"/>
                    <a:pt x="146751" y="286778"/>
                    <a:pt x="151121" y="304515"/>
                  </a:cubicBezTo>
                  <a:cubicBezTo>
                    <a:pt x="193555" y="328320"/>
                    <a:pt x="231194" y="341220"/>
                    <a:pt x="282667" y="343087"/>
                  </a:cubicBezTo>
                  <a:lnTo>
                    <a:pt x="225508" y="215786"/>
                  </a:lnTo>
                  <a:cubicBezTo>
                    <a:pt x="225508" y="215786"/>
                    <a:pt x="220119" y="140932"/>
                    <a:pt x="209510" y="131554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6" name="Freihandform: Form 265">
              <a:extLst>
                <a:ext uri="{FF2B5EF4-FFF2-40B4-BE49-F238E27FC236}">
                  <a16:creationId xmlns:a16="http://schemas.microsoft.com/office/drawing/2014/main" id="{EACAE699-19F8-417E-AB1E-FE7DCDBD1B2B}"/>
                </a:ext>
              </a:extLst>
            </p:cNvPr>
            <p:cNvSpPr/>
            <p:nvPr/>
          </p:nvSpPr>
          <p:spPr>
            <a:xfrm>
              <a:off x="4547576" y="2795322"/>
              <a:ext cx="282717" cy="343136"/>
            </a:xfrm>
            <a:custGeom>
              <a:avLst/>
              <a:gdLst>
                <a:gd name="connsiteX0" fmla="*/ 209510 w 282717"/>
                <a:gd name="connsiteY0" fmla="*/ 131554 h 343136"/>
                <a:gd name="connsiteX1" fmla="*/ 118999 w 282717"/>
                <a:gd name="connsiteY1" fmla="*/ 92133 h 343136"/>
                <a:gd name="connsiteX2" fmla="*/ 110172 w 282717"/>
                <a:gd name="connsiteY2" fmla="*/ 132021 h 343136"/>
                <a:gd name="connsiteX3" fmla="*/ 148363 w 282717"/>
                <a:gd name="connsiteY3" fmla="*/ 159179 h 343136"/>
                <a:gd name="connsiteX4" fmla="*/ 135633 w 282717"/>
                <a:gd name="connsiteY4" fmla="*/ 162828 h 343136"/>
                <a:gd name="connsiteX5" fmla="*/ 67187 w 282717"/>
                <a:gd name="connsiteY5" fmla="*/ 113774 h 343136"/>
                <a:gd name="connsiteX6" fmla="*/ 38544 w 282717"/>
                <a:gd name="connsiteY6" fmla="*/ 14649 h 343136"/>
                <a:gd name="connsiteX7" fmla="*/ 990 w 282717"/>
                <a:gd name="connsiteY7" fmla="*/ 25512 h 343136"/>
                <a:gd name="connsiteX8" fmla="*/ 42618 w 282717"/>
                <a:gd name="connsiteY8" fmla="*/ 169490 h 343136"/>
                <a:gd name="connsiteX9" fmla="*/ 132917 w 282717"/>
                <a:gd name="connsiteY9" fmla="*/ 239506 h 343136"/>
                <a:gd name="connsiteX10" fmla="*/ 151121 w 282717"/>
                <a:gd name="connsiteY10" fmla="*/ 304515 h 343136"/>
                <a:gd name="connsiteX11" fmla="*/ 282667 w 282717"/>
                <a:gd name="connsiteY11" fmla="*/ 343087 h 343136"/>
                <a:gd name="connsiteX12" fmla="*/ 225508 w 282717"/>
                <a:gd name="connsiteY12" fmla="*/ 215786 h 343136"/>
                <a:gd name="connsiteX13" fmla="*/ 209510 w 282717"/>
                <a:gd name="connsiteY13" fmla="*/ 131554 h 343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82717" h="343136">
                  <a:moveTo>
                    <a:pt x="209510" y="131554"/>
                  </a:moveTo>
                  <a:cubicBezTo>
                    <a:pt x="198902" y="122176"/>
                    <a:pt x="128249" y="92854"/>
                    <a:pt x="118999" y="92133"/>
                  </a:cubicBezTo>
                  <a:cubicBezTo>
                    <a:pt x="109748" y="91412"/>
                    <a:pt x="91629" y="122643"/>
                    <a:pt x="110172" y="132021"/>
                  </a:cubicBezTo>
                  <a:cubicBezTo>
                    <a:pt x="123855" y="139654"/>
                    <a:pt x="136661" y="148761"/>
                    <a:pt x="148363" y="159179"/>
                  </a:cubicBezTo>
                  <a:cubicBezTo>
                    <a:pt x="148363" y="159179"/>
                    <a:pt x="149551" y="171145"/>
                    <a:pt x="135633" y="162828"/>
                  </a:cubicBezTo>
                  <a:cubicBezTo>
                    <a:pt x="121714" y="154511"/>
                    <a:pt x="72915" y="125698"/>
                    <a:pt x="67187" y="113774"/>
                  </a:cubicBezTo>
                  <a:cubicBezTo>
                    <a:pt x="61458" y="101850"/>
                    <a:pt x="45036" y="33150"/>
                    <a:pt x="38544" y="14649"/>
                  </a:cubicBezTo>
                  <a:cubicBezTo>
                    <a:pt x="32051" y="-3853"/>
                    <a:pt x="-6860" y="-9539"/>
                    <a:pt x="990" y="25512"/>
                  </a:cubicBezTo>
                  <a:cubicBezTo>
                    <a:pt x="8840" y="60562"/>
                    <a:pt x="28529" y="152092"/>
                    <a:pt x="42618" y="169490"/>
                  </a:cubicBezTo>
                  <a:cubicBezTo>
                    <a:pt x="56706" y="186888"/>
                    <a:pt x="129013" y="233820"/>
                    <a:pt x="132917" y="239506"/>
                  </a:cubicBezTo>
                  <a:cubicBezTo>
                    <a:pt x="136015" y="243962"/>
                    <a:pt x="146751" y="286778"/>
                    <a:pt x="151121" y="304515"/>
                  </a:cubicBezTo>
                  <a:cubicBezTo>
                    <a:pt x="193555" y="328320"/>
                    <a:pt x="231194" y="341220"/>
                    <a:pt x="282667" y="343087"/>
                  </a:cubicBezTo>
                  <a:lnTo>
                    <a:pt x="225508" y="215786"/>
                  </a:lnTo>
                  <a:cubicBezTo>
                    <a:pt x="225508" y="215786"/>
                    <a:pt x="220119" y="140932"/>
                    <a:pt x="209510" y="131554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7" name="Freihandform: Form 266">
              <a:extLst>
                <a:ext uri="{FF2B5EF4-FFF2-40B4-BE49-F238E27FC236}">
                  <a16:creationId xmlns:a16="http://schemas.microsoft.com/office/drawing/2014/main" id="{7181AE56-B3B0-453C-8585-097C6C88E79F}"/>
                </a:ext>
              </a:extLst>
            </p:cNvPr>
            <p:cNvSpPr/>
            <p:nvPr/>
          </p:nvSpPr>
          <p:spPr>
            <a:xfrm>
              <a:off x="4710333" y="2637738"/>
              <a:ext cx="240855" cy="240855"/>
            </a:xfrm>
            <a:custGeom>
              <a:avLst/>
              <a:gdLst>
                <a:gd name="connsiteX0" fmla="*/ 240804 w 240855"/>
                <a:gd name="connsiteY0" fmla="*/ 120421 h 240855"/>
                <a:gd name="connsiteX1" fmla="*/ 120419 w 240855"/>
                <a:gd name="connsiteY1" fmla="*/ -49 h 240855"/>
                <a:gd name="connsiteX2" fmla="*/ -51 w 240855"/>
                <a:gd name="connsiteY2" fmla="*/ 120336 h 240855"/>
                <a:gd name="connsiteX3" fmla="*/ 120334 w 240855"/>
                <a:gd name="connsiteY3" fmla="*/ 240806 h 240855"/>
                <a:gd name="connsiteX4" fmla="*/ 120376 w 240855"/>
                <a:gd name="connsiteY4" fmla="*/ 240806 h 240855"/>
                <a:gd name="connsiteX5" fmla="*/ 240804 w 240855"/>
                <a:gd name="connsiteY5" fmla="*/ 120421 h 240855"/>
                <a:gd name="connsiteX6" fmla="*/ 204523 w 240855"/>
                <a:gd name="connsiteY6" fmla="*/ 141383 h 240855"/>
                <a:gd name="connsiteX7" fmla="*/ 141339 w 240855"/>
                <a:gd name="connsiteY7" fmla="*/ 141383 h 240855"/>
                <a:gd name="connsiteX8" fmla="*/ 141339 w 240855"/>
                <a:gd name="connsiteY8" fmla="*/ 204525 h 240855"/>
                <a:gd name="connsiteX9" fmla="*/ 99456 w 240855"/>
                <a:gd name="connsiteY9" fmla="*/ 204525 h 240855"/>
                <a:gd name="connsiteX10" fmla="*/ 99456 w 240855"/>
                <a:gd name="connsiteY10" fmla="*/ 141383 h 240855"/>
                <a:gd name="connsiteX11" fmla="*/ 36272 w 240855"/>
                <a:gd name="connsiteY11" fmla="*/ 141383 h 240855"/>
                <a:gd name="connsiteX12" fmla="*/ 36272 w 240855"/>
                <a:gd name="connsiteY12" fmla="*/ 99628 h 240855"/>
                <a:gd name="connsiteX13" fmla="*/ 99456 w 240855"/>
                <a:gd name="connsiteY13" fmla="*/ 99628 h 240855"/>
                <a:gd name="connsiteX14" fmla="*/ 99456 w 240855"/>
                <a:gd name="connsiteY14" fmla="*/ 36317 h 240855"/>
                <a:gd name="connsiteX15" fmla="*/ 141339 w 240855"/>
                <a:gd name="connsiteY15" fmla="*/ 36317 h 240855"/>
                <a:gd name="connsiteX16" fmla="*/ 141339 w 240855"/>
                <a:gd name="connsiteY16" fmla="*/ 99628 h 240855"/>
                <a:gd name="connsiteX17" fmla="*/ 204523 w 240855"/>
                <a:gd name="connsiteY17" fmla="*/ 99628 h 240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0855" h="240855">
                  <a:moveTo>
                    <a:pt x="240804" y="120421"/>
                  </a:moveTo>
                  <a:cubicBezTo>
                    <a:pt x="240827" y="53911"/>
                    <a:pt x="186929" y="-26"/>
                    <a:pt x="120419" y="-49"/>
                  </a:cubicBezTo>
                  <a:cubicBezTo>
                    <a:pt x="53908" y="-73"/>
                    <a:pt x="-28" y="53826"/>
                    <a:pt x="-51" y="120336"/>
                  </a:cubicBezTo>
                  <a:cubicBezTo>
                    <a:pt x="-75" y="186846"/>
                    <a:pt x="53824" y="240783"/>
                    <a:pt x="120334" y="240806"/>
                  </a:cubicBezTo>
                  <a:cubicBezTo>
                    <a:pt x="120348" y="240806"/>
                    <a:pt x="120362" y="240806"/>
                    <a:pt x="120376" y="240806"/>
                  </a:cubicBezTo>
                  <a:cubicBezTo>
                    <a:pt x="186870" y="240806"/>
                    <a:pt x="240781" y="186915"/>
                    <a:pt x="240804" y="120421"/>
                  </a:cubicBezTo>
                  <a:close/>
                  <a:moveTo>
                    <a:pt x="204523" y="141383"/>
                  </a:moveTo>
                  <a:lnTo>
                    <a:pt x="141339" y="141383"/>
                  </a:lnTo>
                  <a:lnTo>
                    <a:pt x="141339" y="204525"/>
                  </a:lnTo>
                  <a:lnTo>
                    <a:pt x="99456" y="204525"/>
                  </a:lnTo>
                  <a:lnTo>
                    <a:pt x="99456" y="141383"/>
                  </a:lnTo>
                  <a:lnTo>
                    <a:pt x="36272" y="141383"/>
                  </a:lnTo>
                  <a:lnTo>
                    <a:pt x="36272" y="99628"/>
                  </a:lnTo>
                  <a:lnTo>
                    <a:pt x="99456" y="99628"/>
                  </a:lnTo>
                  <a:lnTo>
                    <a:pt x="99456" y="36317"/>
                  </a:lnTo>
                  <a:lnTo>
                    <a:pt x="141339" y="36317"/>
                  </a:lnTo>
                  <a:lnTo>
                    <a:pt x="141339" y="99628"/>
                  </a:lnTo>
                  <a:lnTo>
                    <a:pt x="204523" y="99628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8" name="Freihandform: Form 267">
              <a:extLst>
                <a:ext uri="{FF2B5EF4-FFF2-40B4-BE49-F238E27FC236}">
                  <a16:creationId xmlns:a16="http://schemas.microsoft.com/office/drawing/2014/main" id="{97ABADF1-60D2-43BA-A56E-AF7BF65F6604}"/>
                </a:ext>
              </a:extLst>
            </p:cNvPr>
            <p:cNvSpPr/>
            <p:nvPr/>
          </p:nvSpPr>
          <p:spPr>
            <a:xfrm>
              <a:off x="4710333" y="2637738"/>
              <a:ext cx="240855" cy="240855"/>
            </a:xfrm>
            <a:custGeom>
              <a:avLst/>
              <a:gdLst>
                <a:gd name="connsiteX0" fmla="*/ 240804 w 240855"/>
                <a:gd name="connsiteY0" fmla="*/ 120421 h 240855"/>
                <a:gd name="connsiteX1" fmla="*/ 120419 w 240855"/>
                <a:gd name="connsiteY1" fmla="*/ -49 h 240855"/>
                <a:gd name="connsiteX2" fmla="*/ -51 w 240855"/>
                <a:gd name="connsiteY2" fmla="*/ 120336 h 240855"/>
                <a:gd name="connsiteX3" fmla="*/ 120334 w 240855"/>
                <a:gd name="connsiteY3" fmla="*/ 240806 h 240855"/>
                <a:gd name="connsiteX4" fmla="*/ 120376 w 240855"/>
                <a:gd name="connsiteY4" fmla="*/ 240806 h 240855"/>
                <a:gd name="connsiteX5" fmla="*/ 240804 w 240855"/>
                <a:gd name="connsiteY5" fmla="*/ 120421 h 240855"/>
                <a:gd name="connsiteX6" fmla="*/ 204523 w 240855"/>
                <a:gd name="connsiteY6" fmla="*/ 141383 h 240855"/>
                <a:gd name="connsiteX7" fmla="*/ 141339 w 240855"/>
                <a:gd name="connsiteY7" fmla="*/ 141383 h 240855"/>
                <a:gd name="connsiteX8" fmla="*/ 141339 w 240855"/>
                <a:gd name="connsiteY8" fmla="*/ 204525 h 240855"/>
                <a:gd name="connsiteX9" fmla="*/ 99456 w 240855"/>
                <a:gd name="connsiteY9" fmla="*/ 204525 h 240855"/>
                <a:gd name="connsiteX10" fmla="*/ 99456 w 240855"/>
                <a:gd name="connsiteY10" fmla="*/ 141383 h 240855"/>
                <a:gd name="connsiteX11" fmla="*/ 36272 w 240855"/>
                <a:gd name="connsiteY11" fmla="*/ 141383 h 240855"/>
                <a:gd name="connsiteX12" fmla="*/ 36272 w 240855"/>
                <a:gd name="connsiteY12" fmla="*/ 99628 h 240855"/>
                <a:gd name="connsiteX13" fmla="*/ 99456 w 240855"/>
                <a:gd name="connsiteY13" fmla="*/ 99628 h 240855"/>
                <a:gd name="connsiteX14" fmla="*/ 99456 w 240855"/>
                <a:gd name="connsiteY14" fmla="*/ 36317 h 240855"/>
                <a:gd name="connsiteX15" fmla="*/ 141339 w 240855"/>
                <a:gd name="connsiteY15" fmla="*/ 36317 h 240855"/>
                <a:gd name="connsiteX16" fmla="*/ 141339 w 240855"/>
                <a:gd name="connsiteY16" fmla="*/ 99628 h 240855"/>
                <a:gd name="connsiteX17" fmla="*/ 204523 w 240855"/>
                <a:gd name="connsiteY17" fmla="*/ 99628 h 240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0855" h="240855">
                  <a:moveTo>
                    <a:pt x="240804" y="120421"/>
                  </a:moveTo>
                  <a:cubicBezTo>
                    <a:pt x="240827" y="53911"/>
                    <a:pt x="186929" y="-26"/>
                    <a:pt x="120419" y="-49"/>
                  </a:cubicBezTo>
                  <a:cubicBezTo>
                    <a:pt x="53908" y="-73"/>
                    <a:pt x="-28" y="53826"/>
                    <a:pt x="-51" y="120336"/>
                  </a:cubicBezTo>
                  <a:cubicBezTo>
                    <a:pt x="-75" y="186846"/>
                    <a:pt x="53824" y="240783"/>
                    <a:pt x="120334" y="240806"/>
                  </a:cubicBezTo>
                  <a:cubicBezTo>
                    <a:pt x="120348" y="240806"/>
                    <a:pt x="120362" y="240806"/>
                    <a:pt x="120376" y="240806"/>
                  </a:cubicBezTo>
                  <a:cubicBezTo>
                    <a:pt x="186870" y="240806"/>
                    <a:pt x="240781" y="186915"/>
                    <a:pt x="240804" y="120421"/>
                  </a:cubicBezTo>
                  <a:close/>
                  <a:moveTo>
                    <a:pt x="204523" y="141383"/>
                  </a:moveTo>
                  <a:lnTo>
                    <a:pt x="141339" y="141383"/>
                  </a:lnTo>
                  <a:lnTo>
                    <a:pt x="141339" y="204525"/>
                  </a:lnTo>
                  <a:lnTo>
                    <a:pt x="99456" y="204525"/>
                  </a:lnTo>
                  <a:lnTo>
                    <a:pt x="99456" y="141383"/>
                  </a:lnTo>
                  <a:lnTo>
                    <a:pt x="36272" y="141383"/>
                  </a:lnTo>
                  <a:lnTo>
                    <a:pt x="36272" y="99628"/>
                  </a:lnTo>
                  <a:lnTo>
                    <a:pt x="99456" y="99628"/>
                  </a:lnTo>
                  <a:lnTo>
                    <a:pt x="99456" y="36317"/>
                  </a:lnTo>
                  <a:lnTo>
                    <a:pt x="141339" y="36317"/>
                  </a:lnTo>
                  <a:lnTo>
                    <a:pt x="141339" y="99628"/>
                  </a:lnTo>
                  <a:lnTo>
                    <a:pt x="204523" y="99628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73" name="Gruppieren 272">
            <a:extLst>
              <a:ext uri="{FF2B5EF4-FFF2-40B4-BE49-F238E27FC236}">
                <a16:creationId xmlns:a16="http://schemas.microsoft.com/office/drawing/2014/main" id="{37649156-6EE2-46E9-A4E6-1C0F6CF0E661}"/>
              </a:ext>
            </a:extLst>
          </p:cNvPr>
          <p:cNvGrpSpPr/>
          <p:nvPr/>
        </p:nvGrpSpPr>
        <p:grpSpPr>
          <a:xfrm>
            <a:off x="6989152" y="3717440"/>
            <a:ext cx="755830" cy="755976"/>
            <a:chOff x="6989152" y="2500122"/>
            <a:chExt cx="755830" cy="755976"/>
          </a:xfrm>
          <a:solidFill>
            <a:schemeClr val="bg1"/>
          </a:solidFill>
        </p:grpSpPr>
        <p:grpSp>
          <p:nvGrpSpPr>
            <p:cNvPr id="274" name="Grafik 82">
              <a:extLst>
                <a:ext uri="{FF2B5EF4-FFF2-40B4-BE49-F238E27FC236}">
                  <a16:creationId xmlns:a16="http://schemas.microsoft.com/office/drawing/2014/main" id="{EDD2170F-9C0D-4294-AD8D-F3CB76A14576}"/>
                </a:ext>
              </a:extLst>
            </p:cNvPr>
            <p:cNvGrpSpPr/>
            <p:nvPr/>
          </p:nvGrpSpPr>
          <p:grpSpPr>
            <a:xfrm>
              <a:off x="6989152" y="2500122"/>
              <a:ext cx="755830" cy="755976"/>
              <a:chOff x="6989152" y="2500122"/>
              <a:chExt cx="755830" cy="755976"/>
            </a:xfrm>
            <a:grpFill/>
          </p:grpSpPr>
          <p:sp>
            <p:nvSpPr>
              <p:cNvPr id="295" name="Freihandform: Form 294">
                <a:extLst>
                  <a:ext uri="{FF2B5EF4-FFF2-40B4-BE49-F238E27FC236}">
                    <a16:creationId xmlns:a16="http://schemas.microsoft.com/office/drawing/2014/main" id="{7FD3A06A-379C-46D9-BB96-4C82E63D9D8B}"/>
                  </a:ext>
                </a:extLst>
              </p:cNvPr>
              <p:cNvSpPr/>
              <p:nvPr/>
            </p:nvSpPr>
            <p:spPr>
              <a:xfrm>
                <a:off x="6989152" y="2500122"/>
                <a:ext cx="683436" cy="466182"/>
              </a:xfrm>
              <a:custGeom>
                <a:avLst/>
                <a:gdLst>
                  <a:gd name="connsiteX0" fmla="*/ 10556 w 683436"/>
                  <a:gd name="connsiteY0" fmla="*/ 466133 h 466182"/>
                  <a:gd name="connsiteX1" fmla="*/ 289200 w 683436"/>
                  <a:gd name="connsiteY1" fmla="*/ 10485 h 466182"/>
                  <a:gd name="connsiteX2" fmla="*/ 683389 w 683436"/>
                  <a:gd name="connsiteY2" fmla="*/ 155856 h 466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36" h="466182">
                    <a:moveTo>
                      <a:pt x="10556" y="466133"/>
                    </a:moveTo>
                    <a:cubicBezTo>
                      <a:pt x="-38322" y="263364"/>
                      <a:pt x="86431" y="59364"/>
                      <a:pt x="289200" y="10485"/>
                    </a:cubicBezTo>
                    <a:cubicBezTo>
                      <a:pt x="437911" y="-25362"/>
                      <a:pt x="593560" y="32039"/>
                      <a:pt x="683389" y="155856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96" name="Freihandform: Form 295">
                <a:extLst>
                  <a:ext uri="{FF2B5EF4-FFF2-40B4-BE49-F238E27FC236}">
                    <a16:creationId xmlns:a16="http://schemas.microsoft.com/office/drawing/2014/main" id="{EC3933F7-3429-44FB-89BA-F825549A2AA1}"/>
                  </a:ext>
                </a:extLst>
              </p:cNvPr>
              <p:cNvSpPr/>
              <p:nvPr/>
            </p:nvSpPr>
            <p:spPr>
              <a:xfrm>
                <a:off x="7620522" y="2617539"/>
                <a:ext cx="89068" cy="101502"/>
              </a:xfrm>
              <a:custGeom>
                <a:avLst/>
                <a:gdLst>
                  <a:gd name="connsiteX0" fmla="*/ 0 w 89068"/>
                  <a:gd name="connsiteY0" fmla="*/ 52788 h 101502"/>
                  <a:gd name="connsiteX1" fmla="*/ 89069 w 89068"/>
                  <a:gd name="connsiteY1" fmla="*/ 101502 h 101502"/>
                  <a:gd name="connsiteX2" fmla="*/ 86735 w 89068"/>
                  <a:gd name="connsiteY2" fmla="*/ 0 h 101502"/>
                  <a:gd name="connsiteX3" fmla="*/ 0 w 89068"/>
                  <a:gd name="connsiteY3" fmla="*/ 52788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0" y="52788"/>
                    </a:moveTo>
                    <a:lnTo>
                      <a:pt x="89069" y="101502"/>
                    </a:lnTo>
                    <a:lnTo>
                      <a:pt x="86735" y="0"/>
                    </a:lnTo>
                    <a:lnTo>
                      <a:pt x="0" y="52788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7" name="Freihandform: Form 296">
                <a:extLst>
                  <a:ext uri="{FF2B5EF4-FFF2-40B4-BE49-F238E27FC236}">
                    <a16:creationId xmlns:a16="http://schemas.microsoft.com/office/drawing/2014/main" id="{B25CF271-4DAF-4ED7-99D6-96ACB9F070B9}"/>
                  </a:ext>
                </a:extLst>
              </p:cNvPr>
              <p:cNvSpPr/>
              <p:nvPr/>
            </p:nvSpPr>
            <p:spPr>
              <a:xfrm>
                <a:off x="7061539" y="2790415"/>
                <a:ext cx="683443" cy="465683"/>
              </a:xfrm>
              <a:custGeom>
                <a:avLst/>
                <a:gdLst>
                  <a:gd name="connsiteX0" fmla="*/ 672913 w 683443"/>
                  <a:gd name="connsiteY0" fmla="*/ -49 h 465683"/>
                  <a:gd name="connsiteX1" fmla="*/ 393650 w 683443"/>
                  <a:gd name="connsiteY1" fmla="*/ 455220 h 465683"/>
                  <a:gd name="connsiteX2" fmla="*/ -47 w 683443"/>
                  <a:gd name="connsiteY2" fmla="*/ 309719 h 465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43" h="465683">
                    <a:moveTo>
                      <a:pt x="672913" y="-49"/>
                    </a:moveTo>
                    <a:cubicBezTo>
                      <a:pt x="721516" y="202786"/>
                      <a:pt x="596485" y="406617"/>
                      <a:pt x="393650" y="455220"/>
                    </a:cubicBezTo>
                    <a:cubicBezTo>
                      <a:pt x="245067" y="490822"/>
                      <a:pt x="89671" y="433392"/>
                      <a:pt x="-47" y="309719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98" name="Freihandform: Form 297">
                <a:extLst>
                  <a:ext uri="{FF2B5EF4-FFF2-40B4-BE49-F238E27FC236}">
                    <a16:creationId xmlns:a16="http://schemas.microsoft.com/office/drawing/2014/main" id="{57E7C11F-869E-4BBD-AE09-632DA5CFC222}"/>
                  </a:ext>
                </a:extLst>
              </p:cNvPr>
              <p:cNvSpPr/>
              <p:nvPr/>
            </p:nvSpPr>
            <p:spPr>
              <a:xfrm>
                <a:off x="7024579" y="3037254"/>
                <a:ext cx="89068" cy="101502"/>
              </a:xfrm>
              <a:custGeom>
                <a:avLst/>
                <a:gdLst>
                  <a:gd name="connsiteX0" fmla="*/ 89069 w 89068"/>
                  <a:gd name="connsiteY0" fmla="*/ 48714 h 101502"/>
                  <a:gd name="connsiteX1" fmla="*/ 0 w 89068"/>
                  <a:gd name="connsiteY1" fmla="*/ 0 h 101502"/>
                  <a:gd name="connsiteX2" fmla="*/ 2334 w 89068"/>
                  <a:gd name="connsiteY2" fmla="*/ 101502 h 101502"/>
                  <a:gd name="connsiteX3" fmla="*/ 89069 w 89068"/>
                  <a:gd name="connsiteY3" fmla="*/ 48714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89069" y="48714"/>
                    </a:moveTo>
                    <a:lnTo>
                      <a:pt x="0" y="0"/>
                    </a:lnTo>
                    <a:lnTo>
                      <a:pt x="2334" y="101502"/>
                    </a:lnTo>
                    <a:lnTo>
                      <a:pt x="89069" y="48714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75" name="Freihandform: Form 274">
              <a:extLst>
                <a:ext uri="{FF2B5EF4-FFF2-40B4-BE49-F238E27FC236}">
                  <a16:creationId xmlns:a16="http://schemas.microsoft.com/office/drawing/2014/main" id="{393633FC-0B03-4D24-9D5C-84A869521DE3}"/>
                </a:ext>
              </a:extLst>
            </p:cNvPr>
            <p:cNvSpPr/>
            <p:nvPr/>
          </p:nvSpPr>
          <p:spPr>
            <a:xfrm>
              <a:off x="7620522" y="2617539"/>
              <a:ext cx="89068" cy="101502"/>
            </a:xfrm>
            <a:custGeom>
              <a:avLst/>
              <a:gdLst>
                <a:gd name="connsiteX0" fmla="*/ 0 w 89068"/>
                <a:gd name="connsiteY0" fmla="*/ 52788 h 101502"/>
                <a:gd name="connsiteX1" fmla="*/ 89069 w 89068"/>
                <a:gd name="connsiteY1" fmla="*/ 101502 h 101502"/>
                <a:gd name="connsiteX2" fmla="*/ 86735 w 89068"/>
                <a:gd name="connsiteY2" fmla="*/ 0 h 101502"/>
                <a:gd name="connsiteX3" fmla="*/ 0 w 89068"/>
                <a:gd name="connsiteY3" fmla="*/ 52788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0" y="52788"/>
                  </a:moveTo>
                  <a:lnTo>
                    <a:pt x="89069" y="101502"/>
                  </a:lnTo>
                  <a:lnTo>
                    <a:pt x="86735" y="0"/>
                  </a:lnTo>
                  <a:lnTo>
                    <a:pt x="0" y="52788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6" name="Freihandform: Form 275">
              <a:extLst>
                <a:ext uri="{FF2B5EF4-FFF2-40B4-BE49-F238E27FC236}">
                  <a16:creationId xmlns:a16="http://schemas.microsoft.com/office/drawing/2014/main" id="{F85596EE-142C-454C-942E-A13DC432BC71}"/>
                </a:ext>
              </a:extLst>
            </p:cNvPr>
            <p:cNvSpPr/>
            <p:nvPr/>
          </p:nvSpPr>
          <p:spPr>
            <a:xfrm>
              <a:off x="7024579" y="3037254"/>
              <a:ext cx="89068" cy="101502"/>
            </a:xfrm>
            <a:custGeom>
              <a:avLst/>
              <a:gdLst>
                <a:gd name="connsiteX0" fmla="*/ 89069 w 89068"/>
                <a:gd name="connsiteY0" fmla="*/ 48714 h 101502"/>
                <a:gd name="connsiteX1" fmla="*/ 0 w 89068"/>
                <a:gd name="connsiteY1" fmla="*/ 0 h 101502"/>
                <a:gd name="connsiteX2" fmla="*/ 2334 w 89068"/>
                <a:gd name="connsiteY2" fmla="*/ 101502 h 101502"/>
                <a:gd name="connsiteX3" fmla="*/ 89069 w 89068"/>
                <a:gd name="connsiteY3" fmla="*/ 48714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89069" y="48714"/>
                  </a:moveTo>
                  <a:lnTo>
                    <a:pt x="0" y="0"/>
                  </a:lnTo>
                  <a:lnTo>
                    <a:pt x="2334" y="101502"/>
                  </a:lnTo>
                  <a:lnTo>
                    <a:pt x="89069" y="48714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5" name="Freihandform: Form 284">
              <a:extLst>
                <a:ext uri="{FF2B5EF4-FFF2-40B4-BE49-F238E27FC236}">
                  <a16:creationId xmlns:a16="http://schemas.microsoft.com/office/drawing/2014/main" id="{A2912DB0-9E2D-41CF-84EB-B16CD55F619A}"/>
                </a:ext>
              </a:extLst>
            </p:cNvPr>
            <p:cNvSpPr/>
            <p:nvPr/>
          </p:nvSpPr>
          <p:spPr>
            <a:xfrm>
              <a:off x="7269251" y="3067594"/>
              <a:ext cx="70399" cy="70016"/>
            </a:xfrm>
            <a:custGeom>
              <a:avLst/>
              <a:gdLst>
                <a:gd name="connsiteX0" fmla="*/ 35090 w 70399"/>
                <a:gd name="connsiteY0" fmla="*/ -49 h 70016"/>
                <a:gd name="connsiteX1" fmla="*/ 35090 w 70399"/>
                <a:gd name="connsiteY1" fmla="*/ -49 h 70016"/>
                <a:gd name="connsiteX2" fmla="*/ 9969 w 70399"/>
                <a:gd name="connsiteY2" fmla="*/ 10475 h 70016"/>
                <a:gd name="connsiteX3" fmla="*/ -45 w 70399"/>
                <a:gd name="connsiteY3" fmla="*/ 35087 h 70016"/>
                <a:gd name="connsiteX4" fmla="*/ 35302 w 70399"/>
                <a:gd name="connsiteY4" fmla="*/ 69967 h 70016"/>
                <a:gd name="connsiteX5" fmla="*/ 35302 w 70399"/>
                <a:gd name="connsiteY5" fmla="*/ 69967 h 70016"/>
                <a:gd name="connsiteX6" fmla="*/ 70353 w 70399"/>
                <a:gd name="connsiteY6" fmla="*/ 34790 h 70016"/>
                <a:gd name="connsiteX7" fmla="*/ 60126 w 70399"/>
                <a:gd name="connsiteY7" fmla="*/ 10220 h 70016"/>
                <a:gd name="connsiteX8" fmla="*/ 35090 w 70399"/>
                <a:gd name="connsiteY8" fmla="*/ -49 h 70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399" h="70016">
                  <a:moveTo>
                    <a:pt x="35090" y="-49"/>
                  </a:moveTo>
                  <a:lnTo>
                    <a:pt x="35090" y="-49"/>
                  </a:lnTo>
                  <a:cubicBezTo>
                    <a:pt x="25646" y="-42"/>
                    <a:pt x="16598" y="3748"/>
                    <a:pt x="9969" y="10475"/>
                  </a:cubicBezTo>
                  <a:cubicBezTo>
                    <a:pt x="3467" y="17005"/>
                    <a:pt x="-141" y="25872"/>
                    <a:pt x="-45" y="35087"/>
                  </a:cubicBezTo>
                  <a:cubicBezTo>
                    <a:pt x="233" y="54416"/>
                    <a:pt x="15970" y="69946"/>
                    <a:pt x="35302" y="69967"/>
                  </a:cubicBezTo>
                  <a:lnTo>
                    <a:pt x="35302" y="69967"/>
                  </a:lnTo>
                  <a:cubicBezTo>
                    <a:pt x="54661" y="69851"/>
                    <a:pt x="70306" y="54149"/>
                    <a:pt x="70353" y="34790"/>
                  </a:cubicBezTo>
                  <a:cubicBezTo>
                    <a:pt x="70353" y="25565"/>
                    <a:pt x="66672" y="16721"/>
                    <a:pt x="60126" y="10220"/>
                  </a:cubicBezTo>
                  <a:cubicBezTo>
                    <a:pt x="53481" y="3600"/>
                    <a:pt x="44470" y="-96"/>
                    <a:pt x="35090" y="-49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6" name="Freihandform: Form 285">
              <a:extLst>
                <a:ext uri="{FF2B5EF4-FFF2-40B4-BE49-F238E27FC236}">
                  <a16:creationId xmlns:a16="http://schemas.microsoft.com/office/drawing/2014/main" id="{A511CE4A-0BAB-4F09-A93F-F3EC82FF4A12}"/>
                </a:ext>
              </a:extLst>
            </p:cNvPr>
            <p:cNvSpPr/>
            <p:nvPr/>
          </p:nvSpPr>
          <p:spPr>
            <a:xfrm>
              <a:off x="7464488" y="3067521"/>
              <a:ext cx="71307" cy="70016"/>
            </a:xfrm>
            <a:custGeom>
              <a:avLst/>
              <a:gdLst>
                <a:gd name="connsiteX0" fmla="*/ 36662 w 71307"/>
                <a:gd name="connsiteY0" fmla="*/ -19 h 70016"/>
                <a:gd name="connsiteX1" fmla="*/ 36408 w 71307"/>
                <a:gd name="connsiteY1" fmla="*/ -19 h 70016"/>
                <a:gd name="connsiteX2" fmla="*/ -17 w 71307"/>
                <a:gd name="connsiteY2" fmla="*/ 33513 h 70016"/>
                <a:gd name="connsiteX3" fmla="*/ 33515 w 71307"/>
                <a:gd name="connsiteY3" fmla="*/ 69938 h 70016"/>
                <a:gd name="connsiteX4" fmla="*/ 35898 w 71307"/>
                <a:gd name="connsiteY4" fmla="*/ 69955 h 70016"/>
                <a:gd name="connsiteX5" fmla="*/ 36238 w 71307"/>
                <a:gd name="connsiteY5" fmla="*/ 69955 h 70016"/>
                <a:gd name="connsiteX6" fmla="*/ 61062 w 71307"/>
                <a:gd name="connsiteY6" fmla="*/ 59983 h 70016"/>
                <a:gd name="connsiteX7" fmla="*/ 60827 w 71307"/>
                <a:gd name="connsiteY7" fmla="*/ 10175 h 70016"/>
                <a:gd name="connsiteX8" fmla="*/ 36662 w 71307"/>
                <a:gd name="connsiteY8" fmla="*/ -19 h 70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307" h="70016">
                  <a:moveTo>
                    <a:pt x="36662" y="-19"/>
                  </a:moveTo>
                  <a:lnTo>
                    <a:pt x="36408" y="-19"/>
                  </a:lnTo>
                  <a:cubicBezTo>
                    <a:pt x="17090" y="-817"/>
                    <a:pt x="782" y="14195"/>
                    <a:pt x="-17" y="33513"/>
                  </a:cubicBezTo>
                  <a:cubicBezTo>
                    <a:pt x="-816" y="52831"/>
                    <a:pt x="14197" y="69139"/>
                    <a:pt x="33515" y="69938"/>
                  </a:cubicBezTo>
                  <a:cubicBezTo>
                    <a:pt x="34309" y="69970"/>
                    <a:pt x="35104" y="69976"/>
                    <a:pt x="35898" y="69955"/>
                  </a:cubicBezTo>
                  <a:lnTo>
                    <a:pt x="36238" y="69955"/>
                  </a:lnTo>
                  <a:cubicBezTo>
                    <a:pt x="45506" y="70044"/>
                    <a:pt x="54431" y="66458"/>
                    <a:pt x="61062" y="59983"/>
                  </a:cubicBezTo>
                  <a:cubicBezTo>
                    <a:pt x="74751" y="46164"/>
                    <a:pt x="74646" y="23864"/>
                    <a:pt x="60827" y="10175"/>
                  </a:cubicBezTo>
                  <a:cubicBezTo>
                    <a:pt x="54385" y="3793"/>
                    <a:pt x="45729" y="141"/>
                    <a:pt x="36662" y="-19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7" name="Freihandform: Form 286">
              <a:extLst>
                <a:ext uri="{FF2B5EF4-FFF2-40B4-BE49-F238E27FC236}">
                  <a16:creationId xmlns:a16="http://schemas.microsoft.com/office/drawing/2014/main" id="{F1792416-0C05-432B-BDD7-2E55C066E2F5}"/>
                </a:ext>
              </a:extLst>
            </p:cNvPr>
            <p:cNvSpPr/>
            <p:nvPr/>
          </p:nvSpPr>
          <p:spPr>
            <a:xfrm>
              <a:off x="7111300" y="2720583"/>
              <a:ext cx="477625" cy="333314"/>
            </a:xfrm>
            <a:custGeom>
              <a:avLst/>
              <a:gdLst>
                <a:gd name="connsiteX0" fmla="*/ 406060 w 477625"/>
                <a:gd name="connsiteY0" fmla="*/ 260481 h 333314"/>
                <a:gd name="connsiteX1" fmla="*/ 422524 w 477625"/>
                <a:gd name="connsiteY1" fmla="*/ 248854 h 333314"/>
                <a:gd name="connsiteX2" fmla="*/ 476203 w 477625"/>
                <a:gd name="connsiteY2" fmla="*/ 99869 h 333314"/>
                <a:gd name="connsiteX3" fmla="*/ 475566 w 477625"/>
                <a:gd name="connsiteY3" fmla="*/ 86163 h 333314"/>
                <a:gd name="connsiteX4" fmla="*/ 462539 w 477625"/>
                <a:gd name="connsiteY4" fmla="*/ 80689 h 333314"/>
                <a:gd name="connsiteX5" fmla="*/ 421633 w 477625"/>
                <a:gd name="connsiteY5" fmla="*/ 80689 h 333314"/>
                <a:gd name="connsiteX6" fmla="*/ 429865 w 477625"/>
                <a:gd name="connsiteY6" fmla="*/ 60702 h 333314"/>
                <a:gd name="connsiteX7" fmla="*/ 391887 w 477625"/>
                <a:gd name="connsiteY7" fmla="*/ 47463 h 333314"/>
                <a:gd name="connsiteX8" fmla="*/ 369906 w 477625"/>
                <a:gd name="connsiteY8" fmla="*/ 72923 h 333314"/>
                <a:gd name="connsiteX9" fmla="*/ 392014 w 477625"/>
                <a:gd name="connsiteY9" fmla="*/ 80646 h 333314"/>
                <a:gd name="connsiteX10" fmla="*/ 342196 w 477625"/>
                <a:gd name="connsiteY10" fmla="*/ 80646 h 333314"/>
                <a:gd name="connsiteX11" fmla="*/ 355436 w 477625"/>
                <a:gd name="connsiteY11" fmla="*/ 65285 h 333314"/>
                <a:gd name="connsiteX12" fmla="*/ 332776 w 477625"/>
                <a:gd name="connsiteY12" fmla="*/ 19414 h 333314"/>
                <a:gd name="connsiteX13" fmla="*/ 330103 w 477625"/>
                <a:gd name="connsiteY13" fmla="*/ 21536 h 333314"/>
                <a:gd name="connsiteX14" fmla="*/ 315803 w 477625"/>
                <a:gd name="connsiteY14" fmla="*/ 35199 h 333314"/>
                <a:gd name="connsiteX15" fmla="*/ 307952 w 477625"/>
                <a:gd name="connsiteY15" fmla="*/ 45426 h 333314"/>
                <a:gd name="connsiteX16" fmla="*/ 325223 w 477625"/>
                <a:gd name="connsiteY16" fmla="*/ 80392 h 333314"/>
                <a:gd name="connsiteX17" fmla="*/ 325223 w 477625"/>
                <a:gd name="connsiteY17" fmla="*/ 80646 h 333314"/>
                <a:gd name="connsiteX18" fmla="*/ 308249 w 477625"/>
                <a:gd name="connsiteY18" fmla="*/ 80646 h 333314"/>
                <a:gd name="connsiteX19" fmla="*/ 298914 w 477625"/>
                <a:gd name="connsiteY19" fmla="*/ 61763 h 333314"/>
                <a:gd name="connsiteX20" fmla="*/ 292888 w 477625"/>
                <a:gd name="connsiteY20" fmla="*/ 80646 h 333314"/>
                <a:gd name="connsiteX21" fmla="*/ 277357 w 477625"/>
                <a:gd name="connsiteY21" fmla="*/ 80646 h 333314"/>
                <a:gd name="connsiteX22" fmla="*/ 318264 w 477625"/>
                <a:gd name="connsiteY22" fmla="*/ 14322 h 333314"/>
                <a:gd name="connsiteX23" fmla="*/ 292124 w 477625"/>
                <a:gd name="connsiteY23" fmla="*/ 6175 h 333314"/>
                <a:gd name="connsiteX24" fmla="*/ 245963 w 477625"/>
                <a:gd name="connsiteY24" fmla="*/ 51753 h 333314"/>
                <a:gd name="connsiteX25" fmla="*/ 255971 w 477625"/>
                <a:gd name="connsiteY25" fmla="*/ 80646 h 333314"/>
                <a:gd name="connsiteX26" fmla="*/ 218841 w 477625"/>
                <a:gd name="connsiteY26" fmla="*/ 80646 h 333314"/>
                <a:gd name="connsiteX27" fmla="*/ 228898 w 477625"/>
                <a:gd name="connsiteY27" fmla="*/ 60532 h 333314"/>
                <a:gd name="connsiteX28" fmla="*/ 217483 w 477625"/>
                <a:gd name="connsiteY28" fmla="*/ 43559 h 333314"/>
                <a:gd name="connsiteX29" fmla="*/ 212603 w 477625"/>
                <a:gd name="connsiteY29" fmla="*/ 38552 h 333314"/>
                <a:gd name="connsiteX30" fmla="*/ 195163 w 477625"/>
                <a:gd name="connsiteY30" fmla="*/ 72966 h 333314"/>
                <a:gd name="connsiteX31" fmla="*/ 202037 w 477625"/>
                <a:gd name="connsiteY31" fmla="*/ 80604 h 333314"/>
                <a:gd name="connsiteX32" fmla="*/ 184427 w 477625"/>
                <a:gd name="connsiteY32" fmla="*/ 80604 h 333314"/>
                <a:gd name="connsiteX33" fmla="*/ 178911 w 477625"/>
                <a:gd name="connsiteY33" fmla="*/ 74493 h 333314"/>
                <a:gd name="connsiteX34" fmla="*/ 161216 w 477625"/>
                <a:gd name="connsiteY34" fmla="*/ 80434 h 333314"/>
                <a:gd name="connsiteX35" fmla="*/ 104269 w 477625"/>
                <a:gd name="connsiteY35" fmla="*/ 80434 h 333314"/>
                <a:gd name="connsiteX36" fmla="*/ 80336 w 477625"/>
                <a:gd name="connsiteY36" fmla="*/ 10588 h 333314"/>
                <a:gd name="connsiteX37" fmla="*/ 68455 w 477625"/>
                <a:gd name="connsiteY37" fmla="*/ 64 h 333314"/>
                <a:gd name="connsiteX38" fmla="*/ 11296 w 477625"/>
                <a:gd name="connsiteY38" fmla="*/ 64 h 333314"/>
                <a:gd name="connsiteX39" fmla="*/ -34 w 477625"/>
                <a:gd name="connsiteY39" fmla="*/ 12540 h 333314"/>
                <a:gd name="connsiteX40" fmla="*/ 10532 w 477625"/>
                <a:gd name="connsiteY40" fmla="*/ 25270 h 333314"/>
                <a:gd name="connsiteX41" fmla="*/ 57931 w 477625"/>
                <a:gd name="connsiteY41" fmla="*/ 25482 h 333314"/>
                <a:gd name="connsiteX42" fmla="*/ 159136 w 477625"/>
                <a:gd name="connsiteY42" fmla="*/ 321756 h 333314"/>
                <a:gd name="connsiteX43" fmla="*/ 175601 w 477625"/>
                <a:gd name="connsiteY43" fmla="*/ 333256 h 333314"/>
                <a:gd name="connsiteX44" fmla="*/ 416074 w 477625"/>
                <a:gd name="connsiteY44" fmla="*/ 333256 h 333314"/>
                <a:gd name="connsiteX45" fmla="*/ 420699 w 477625"/>
                <a:gd name="connsiteY45" fmla="*/ 332959 h 333314"/>
                <a:gd name="connsiteX46" fmla="*/ 431478 w 477625"/>
                <a:gd name="connsiteY46" fmla="*/ 320228 h 333314"/>
                <a:gd name="connsiteX47" fmla="*/ 420572 w 477625"/>
                <a:gd name="connsiteY47" fmla="*/ 307710 h 333314"/>
                <a:gd name="connsiteX48" fmla="*/ 416329 w 477625"/>
                <a:gd name="connsiteY48" fmla="*/ 307710 h 333314"/>
                <a:gd name="connsiteX49" fmla="*/ 181499 w 477625"/>
                <a:gd name="connsiteY49" fmla="*/ 307710 h 333314"/>
                <a:gd name="connsiteX50" fmla="*/ 165459 w 477625"/>
                <a:gd name="connsiteY50" fmla="*/ 260481 h 333314"/>
                <a:gd name="connsiteX51" fmla="*/ 406060 w 477625"/>
                <a:gd name="connsiteY51" fmla="*/ 260481 h 333314"/>
                <a:gd name="connsiteX52" fmla="*/ 291488 w 477625"/>
                <a:gd name="connsiteY52" fmla="*/ 106658 h 333314"/>
                <a:gd name="connsiteX53" fmla="*/ 360019 w 477625"/>
                <a:gd name="connsiteY53" fmla="*/ 106658 h 333314"/>
                <a:gd name="connsiteX54" fmla="*/ 346695 w 477625"/>
                <a:gd name="connsiteY54" fmla="*/ 157579 h 333314"/>
                <a:gd name="connsiteX55" fmla="*/ 291530 w 477625"/>
                <a:gd name="connsiteY55" fmla="*/ 157579 h 333314"/>
                <a:gd name="connsiteX56" fmla="*/ 400458 w 477625"/>
                <a:gd name="connsiteY56" fmla="*/ 234597 h 333314"/>
                <a:gd name="connsiteX57" fmla="*/ 352932 w 477625"/>
                <a:gd name="connsiteY57" fmla="*/ 234597 h 333314"/>
                <a:gd name="connsiteX58" fmla="*/ 365662 w 477625"/>
                <a:gd name="connsiteY58" fmla="*/ 183930 h 333314"/>
                <a:gd name="connsiteX59" fmla="*/ 418578 w 477625"/>
                <a:gd name="connsiteY59" fmla="*/ 183930 h 333314"/>
                <a:gd name="connsiteX60" fmla="*/ 428210 w 477625"/>
                <a:gd name="connsiteY60" fmla="*/ 157494 h 333314"/>
                <a:gd name="connsiteX61" fmla="*/ 373385 w 477625"/>
                <a:gd name="connsiteY61" fmla="*/ 157494 h 333314"/>
                <a:gd name="connsiteX62" fmla="*/ 386752 w 477625"/>
                <a:gd name="connsiteY62" fmla="*/ 106573 h 333314"/>
                <a:gd name="connsiteX63" fmla="*/ 446796 w 477625"/>
                <a:gd name="connsiteY63" fmla="*/ 106573 h 333314"/>
                <a:gd name="connsiteX64" fmla="*/ 113011 w 477625"/>
                <a:gd name="connsiteY64" fmla="*/ 106786 h 333314"/>
                <a:gd name="connsiteX65" fmla="*/ 170127 w 477625"/>
                <a:gd name="connsiteY65" fmla="*/ 106786 h 333314"/>
                <a:gd name="connsiteX66" fmla="*/ 183409 w 477625"/>
                <a:gd name="connsiteY66" fmla="*/ 157409 h 333314"/>
                <a:gd name="connsiteX67" fmla="*/ 130324 w 477625"/>
                <a:gd name="connsiteY67" fmla="*/ 157409 h 333314"/>
                <a:gd name="connsiteX68" fmla="*/ 156505 w 477625"/>
                <a:gd name="connsiteY68" fmla="*/ 234639 h 333314"/>
                <a:gd name="connsiteX69" fmla="*/ 139532 w 477625"/>
                <a:gd name="connsiteY69" fmla="*/ 184100 h 333314"/>
                <a:gd name="connsiteX70" fmla="*/ 190453 w 477625"/>
                <a:gd name="connsiteY70" fmla="*/ 184100 h 333314"/>
                <a:gd name="connsiteX71" fmla="*/ 204159 w 477625"/>
                <a:gd name="connsiteY71" fmla="*/ 234639 h 333314"/>
                <a:gd name="connsiteX72" fmla="*/ 196563 w 477625"/>
                <a:gd name="connsiteY72" fmla="*/ 106828 h 333314"/>
                <a:gd name="connsiteX73" fmla="*/ 265179 w 477625"/>
                <a:gd name="connsiteY73" fmla="*/ 106828 h 333314"/>
                <a:gd name="connsiteX74" fmla="*/ 265179 w 477625"/>
                <a:gd name="connsiteY74" fmla="*/ 157367 h 333314"/>
                <a:gd name="connsiteX75" fmla="*/ 210015 w 477625"/>
                <a:gd name="connsiteY75" fmla="*/ 157367 h 333314"/>
                <a:gd name="connsiteX76" fmla="*/ 265433 w 477625"/>
                <a:gd name="connsiteY76" fmla="*/ 234512 h 333314"/>
                <a:gd name="connsiteX77" fmla="*/ 230128 w 477625"/>
                <a:gd name="connsiteY77" fmla="*/ 234512 h 333314"/>
                <a:gd name="connsiteX78" fmla="*/ 216889 w 477625"/>
                <a:gd name="connsiteY78" fmla="*/ 183888 h 333314"/>
                <a:gd name="connsiteX79" fmla="*/ 265433 w 477625"/>
                <a:gd name="connsiteY79" fmla="*/ 183888 h 333314"/>
                <a:gd name="connsiteX80" fmla="*/ 291233 w 477625"/>
                <a:gd name="connsiteY80" fmla="*/ 183803 h 333314"/>
                <a:gd name="connsiteX81" fmla="*/ 339778 w 477625"/>
                <a:gd name="connsiteY81" fmla="*/ 183803 h 333314"/>
                <a:gd name="connsiteX82" fmla="*/ 326411 w 477625"/>
                <a:gd name="connsiteY82" fmla="*/ 234724 h 333314"/>
                <a:gd name="connsiteX83" fmla="*/ 291233 w 477625"/>
                <a:gd name="connsiteY83" fmla="*/ 234724 h 333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477625" h="333314">
                  <a:moveTo>
                    <a:pt x="406060" y="260481"/>
                  </a:moveTo>
                  <a:cubicBezTo>
                    <a:pt x="416117" y="260481"/>
                    <a:pt x="419044" y="258360"/>
                    <a:pt x="422524" y="248854"/>
                  </a:cubicBezTo>
                  <a:cubicBezTo>
                    <a:pt x="424306" y="243975"/>
                    <a:pt x="471238" y="113999"/>
                    <a:pt x="476203" y="99869"/>
                  </a:cubicBezTo>
                  <a:cubicBezTo>
                    <a:pt x="478240" y="95470"/>
                    <a:pt x="478003" y="90354"/>
                    <a:pt x="475566" y="86163"/>
                  </a:cubicBezTo>
                  <a:cubicBezTo>
                    <a:pt x="472380" y="82318"/>
                    <a:pt x="467515" y="80275"/>
                    <a:pt x="462539" y="80689"/>
                  </a:cubicBezTo>
                  <a:lnTo>
                    <a:pt x="421633" y="80689"/>
                  </a:lnTo>
                  <a:cubicBezTo>
                    <a:pt x="424853" y="74232"/>
                    <a:pt x="427604" y="67553"/>
                    <a:pt x="429865" y="60702"/>
                  </a:cubicBezTo>
                  <a:lnTo>
                    <a:pt x="391887" y="47463"/>
                  </a:lnTo>
                  <a:lnTo>
                    <a:pt x="369906" y="72923"/>
                  </a:lnTo>
                  <a:lnTo>
                    <a:pt x="392014" y="80646"/>
                  </a:lnTo>
                  <a:lnTo>
                    <a:pt x="342196" y="80646"/>
                  </a:lnTo>
                  <a:lnTo>
                    <a:pt x="355436" y="65285"/>
                  </a:lnTo>
                  <a:lnTo>
                    <a:pt x="332776" y="19414"/>
                  </a:lnTo>
                  <a:cubicBezTo>
                    <a:pt x="331843" y="20093"/>
                    <a:pt x="330951" y="20814"/>
                    <a:pt x="330103" y="21536"/>
                  </a:cubicBezTo>
                  <a:cubicBezTo>
                    <a:pt x="324955" y="25674"/>
                    <a:pt x="320170" y="30245"/>
                    <a:pt x="315803" y="35199"/>
                  </a:cubicBezTo>
                  <a:cubicBezTo>
                    <a:pt x="312969" y="38436"/>
                    <a:pt x="310347" y="41852"/>
                    <a:pt x="307952" y="45426"/>
                  </a:cubicBezTo>
                  <a:lnTo>
                    <a:pt x="325223" y="80392"/>
                  </a:lnTo>
                  <a:lnTo>
                    <a:pt x="325223" y="80646"/>
                  </a:lnTo>
                  <a:lnTo>
                    <a:pt x="308249" y="80646"/>
                  </a:lnTo>
                  <a:lnTo>
                    <a:pt x="298914" y="61763"/>
                  </a:lnTo>
                  <a:cubicBezTo>
                    <a:pt x="296317" y="67854"/>
                    <a:pt x="294299" y="74177"/>
                    <a:pt x="292888" y="80646"/>
                  </a:cubicBezTo>
                  <a:lnTo>
                    <a:pt x="277357" y="80646"/>
                  </a:lnTo>
                  <a:cubicBezTo>
                    <a:pt x="282534" y="60745"/>
                    <a:pt x="291912" y="35454"/>
                    <a:pt x="318264" y="14322"/>
                  </a:cubicBezTo>
                  <a:cubicBezTo>
                    <a:pt x="310590" y="8994"/>
                    <a:pt x="301466" y="6150"/>
                    <a:pt x="292124" y="6175"/>
                  </a:cubicBezTo>
                  <a:cubicBezTo>
                    <a:pt x="266791" y="6014"/>
                    <a:pt x="246124" y="26420"/>
                    <a:pt x="245963" y="51753"/>
                  </a:cubicBezTo>
                  <a:cubicBezTo>
                    <a:pt x="245896" y="62246"/>
                    <a:pt x="249429" y="72443"/>
                    <a:pt x="255971" y="80646"/>
                  </a:cubicBezTo>
                  <a:lnTo>
                    <a:pt x="218841" y="80646"/>
                  </a:lnTo>
                  <a:lnTo>
                    <a:pt x="228898" y="60532"/>
                  </a:lnTo>
                  <a:cubicBezTo>
                    <a:pt x="225844" y="54404"/>
                    <a:pt x="222007" y="48699"/>
                    <a:pt x="217483" y="43559"/>
                  </a:cubicBezTo>
                  <a:cubicBezTo>
                    <a:pt x="215955" y="41862"/>
                    <a:pt x="214385" y="40207"/>
                    <a:pt x="212603" y="38552"/>
                  </a:cubicBezTo>
                  <a:lnTo>
                    <a:pt x="195163" y="72966"/>
                  </a:lnTo>
                  <a:lnTo>
                    <a:pt x="202037" y="80604"/>
                  </a:lnTo>
                  <a:lnTo>
                    <a:pt x="184427" y="80604"/>
                  </a:lnTo>
                  <a:lnTo>
                    <a:pt x="178911" y="74493"/>
                  </a:lnTo>
                  <a:lnTo>
                    <a:pt x="161216" y="80434"/>
                  </a:lnTo>
                  <a:lnTo>
                    <a:pt x="104269" y="80434"/>
                  </a:lnTo>
                  <a:cubicBezTo>
                    <a:pt x="104269" y="80434"/>
                    <a:pt x="85895" y="27094"/>
                    <a:pt x="80336" y="10588"/>
                  </a:cubicBezTo>
                  <a:cubicBezTo>
                    <a:pt x="78809" y="6090"/>
                    <a:pt x="76093" y="106"/>
                    <a:pt x="68455" y="64"/>
                  </a:cubicBezTo>
                  <a:cubicBezTo>
                    <a:pt x="46219" y="64"/>
                    <a:pt x="28058" y="-191"/>
                    <a:pt x="11296" y="64"/>
                  </a:cubicBezTo>
                  <a:cubicBezTo>
                    <a:pt x="4724" y="384"/>
                    <a:pt x="-346" y="5967"/>
                    <a:pt x="-34" y="12540"/>
                  </a:cubicBezTo>
                  <a:cubicBezTo>
                    <a:pt x="-125" y="18805"/>
                    <a:pt x="4357" y="24205"/>
                    <a:pt x="10532" y="25270"/>
                  </a:cubicBezTo>
                  <a:cubicBezTo>
                    <a:pt x="12315" y="25524"/>
                    <a:pt x="57931" y="25482"/>
                    <a:pt x="57931" y="25482"/>
                  </a:cubicBezTo>
                  <a:cubicBezTo>
                    <a:pt x="57931" y="25482"/>
                    <a:pt x="142799" y="274527"/>
                    <a:pt x="159136" y="321756"/>
                  </a:cubicBezTo>
                  <a:cubicBezTo>
                    <a:pt x="162319" y="331092"/>
                    <a:pt x="165417" y="333256"/>
                    <a:pt x="175601" y="333256"/>
                  </a:cubicBezTo>
                  <a:lnTo>
                    <a:pt x="416074" y="333256"/>
                  </a:lnTo>
                  <a:cubicBezTo>
                    <a:pt x="417622" y="333297"/>
                    <a:pt x="419170" y="333198"/>
                    <a:pt x="420699" y="332959"/>
                  </a:cubicBezTo>
                  <a:cubicBezTo>
                    <a:pt x="426959" y="331988"/>
                    <a:pt x="431552" y="326562"/>
                    <a:pt x="431478" y="320228"/>
                  </a:cubicBezTo>
                  <a:cubicBezTo>
                    <a:pt x="431438" y="313933"/>
                    <a:pt x="426802" y="308613"/>
                    <a:pt x="420572" y="307710"/>
                  </a:cubicBezTo>
                  <a:cubicBezTo>
                    <a:pt x="419160" y="307603"/>
                    <a:pt x="417741" y="307603"/>
                    <a:pt x="416329" y="307710"/>
                  </a:cubicBezTo>
                  <a:lnTo>
                    <a:pt x="181499" y="307710"/>
                  </a:lnTo>
                  <a:lnTo>
                    <a:pt x="165459" y="260481"/>
                  </a:lnTo>
                  <a:cubicBezTo>
                    <a:pt x="165459" y="260481"/>
                    <a:pt x="363413" y="260566"/>
                    <a:pt x="406060" y="260481"/>
                  </a:cubicBezTo>
                  <a:close/>
                  <a:moveTo>
                    <a:pt x="291488" y="106658"/>
                  </a:moveTo>
                  <a:lnTo>
                    <a:pt x="360019" y="106658"/>
                  </a:lnTo>
                  <a:lnTo>
                    <a:pt x="346695" y="157579"/>
                  </a:lnTo>
                  <a:lnTo>
                    <a:pt x="291530" y="157579"/>
                  </a:lnTo>
                  <a:close/>
                  <a:moveTo>
                    <a:pt x="400458" y="234597"/>
                  </a:moveTo>
                  <a:lnTo>
                    <a:pt x="352932" y="234597"/>
                  </a:lnTo>
                  <a:lnTo>
                    <a:pt x="365662" y="183930"/>
                  </a:lnTo>
                  <a:lnTo>
                    <a:pt x="418578" y="183930"/>
                  </a:lnTo>
                  <a:close/>
                  <a:moveTo>
                    <a:pt x="428210" y="157494"/>
                  </a:moveTo>
                  <a:lnTo>
                    <a:pt x="373385" y="157494"/>
                  </a:lnTo>
                  <a:lnTo>
                    <a:pt x="386752" y="106573"/>
                  </a:lnTo>
                  <a:lnTo>
                    <a:pt x="446796" y="106573"/>
                  </a:lnTo>
                  <a:close/>
                  <a:moveTo>
                    <a:pt x="113011" y="106786"/>
                  </a:moveTo>
                  <a:lnTo>
                    <a:pt x="170127" y="106786"/>
                  </a:lnTo>
                  <a:lnTo>
                    <a:pt x="183409" y="157409"/>
                  </a:lnTo>
                  <a:lnTo>
                    <a:pt x="130324" y="157409"/>
                  </a:lnTo>
                  <a:close/>
                  <a:moveTo>
                    <a:pt x="156505" y="234639"/>
                  </a:moveTo>
                  <a:lnTo>
                    <a:pt x="139532" y="184100"/>
                  </a:lnTo>
                  <a:lnTo>
                    <a:pt x="190453" y="184100"/>
                  </a:lnTo>
                  <a:lnTo>
                    <a:pt x="204159" y="234639"/>
                  </a:lnTo>
                  <a:close/>
                  <a:moveTo>
                    <a:pt x="196563" y="106828"/>
                  </a:moveTo>
                  <a:lnTo>
                    <a:pt x="265179" y="106828"/>
                  </a:lnTo>
                  <a:lnTo>
                    <a:pt x="265179" y="157367"/>
                  </a:lnTo>
                  <a:lnTo>
                    <a:pt x="210015" y="157367"/>
                  </a:lnTo>
                  <a:close/>
                  <a:moveTo>
                    <a:pt x="265433" y="234512"/>
                  </a:moveTo>
                  <a:lnTo>
                    <a:pt x="230128" y="234512"/>
                  </a:lnTo>
                  <a:lnTo>
                    <a:pt x="216889" y="183888"/>
                  </a:lnTo>
                  <a:lnTo>
                    <a:pt x="265433" y="183888"/>
                  </a:lnTo>
                  <a:close/>
                  <a:moveTo>
                    <a:pt x="291233" y="183803"/>
                  </a:moveTo>
                  <a:lnTo>
                    <a:pt x="339778" y="183803"/>
                  </a:lnTo>
                  <a:lnTo>
                    <a:pt x="326411" y="234724"/>
                  </a:lnTo>
                  <a:lnTo>
                    <a:pt x="291233" y="234724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8" name="Freihandform: Form 287">
              <a:extLst>
                <a:ext uri="{FF2B5EF4-FFF2-40B4-BE49-F238E27FC236}">
                  <a16:creationId xmlns:a16="http://schemas.microsoft.com/office/drawing/2014/main" id="{87DF25F2-F4B7-4A2F-9FE0-388609A28E8E}"/>
                </a:ext>
              </a:extLst>
            </p:cNvPr>
            <p:cNvSpPr/>
            <p:nvPr/>
          </p:nvSpPr>
          <p:spPr>
            <a:xfrm>
              <a:off x="7456896" y="2717556"/>
              <a:ext cx="43367" cy="55673"/>
            </a:xfrm>
            <a:custGeom>
              <a:avLst/>
              <a:gdLst>
                <a:gd name="connsiteX0" fmla="*/ 43320 w 43367"/>
                <a:gd name="connsiteY0" fmla="*/ 29400 h 55673"/>
                <a:gd name="connsiteX1" fmla="*/ 28765 w 43367"/>
                <a:gd name="connsiteY1" fmla="*/ -49 h 55673"/>
                <a:gd name="connsiteX2" fmla="*/ -47 w 43367"/>
                <a:gd name="connsiteY2" fmla="*/ 13657 h 55673"/>
                <a:gd name="connsiteX3" fmla="*/ 20745 w 43367"/>
                <a:gd name="connsiteY3" fmla="*/ 55624 h 55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367" h="55673">
                  <a:moveTo>
                    <a:pt x="43320" y="29400"/>
                  </a:moveTo>
                  <a:lnTo>
                    <a:pt x="28765" y="-49"/>
                  </a:lnTo>
                  <a:cubicBezTo>
                    <a:pt x="18750" y="3600"/>
                    <a:pt x="9103" y="8189"/>
                    <a:pt x="-47" y="13657"/>
                  </a:cubicBezTo>
                  <a:lnTo>
                    <a:pt x="20745" y="55624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9" name="Freihandform: Form 288">
              <a:extLst>
                <a:ext uri="{FF2B5EF4-FFF2-40B4-BE49-F238E27FC236}">
                  <a16:creationId xmlns:a16="http://schemas.microsoft.com/office/drawing/2014/main" id="{360E33E5-47E3-497E-80EC-778ABCE2E774}"/>
                </a:ext>
              </a:extLst>
            </p:cNvPr>
            <p:cNvSpPr/>
            <p:nvPr/>
          </p:nvSpPr>
          <p:spPr>
            <a:xfrm>
              <a:off x="7281644" y="2739834"/>
              <a:ext cx="32207" cy="43579"/>
            </a:xfrm>
            <a:custGeom>
              <a:avLst/>
              <a:gdLst>
                <a:gd name="connsiteX0" fmla="*/ 15823 w 32207"/>
                <a:gd name="connsiteY0" fmla="*/ 43531 h 43579"/>
                <a:gd name="connsiteX1" fmla="*/ 32160 w 32207"/>
                <a:gd name="connsiteY1" fmla="*/ 10899 h 43579"/>
                <a:gd name="connsiteX2" fmla="*/ 12938 w 32207"/>
                <a:gd name="connsiteY2" fmla="*/ -49 h 43579"/>
                <a:gd name="connsiteX3" fmla="*/ -47 w 32207"/>
                <a:gd name="connsiteY3" fmla="*/ 25793 h 43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207" h="43579">
                  <a:moveTo>
                    <a:pt x="15823" y="43531"/>
                  </a:moveTo>
                  <a:lnTo>
                    <a:pt x="32160" y="10899"/>
                  </a:lnTo>
                  <a:cubicBezTo>
                    <a:pt x="26135" y="6616"/>
                    <a:pt x="19695" y="2949"/>
                    <a:pt x="12938" y="-49"/>
                  </a:cubicBezTo>
                  <a:lnTo>
                    <a:pt x="-47" y="25793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0" name="Freihandform: Form 289">
              <a:extLst>
                <a:ext uri="{FF2B5EF4-FFF2-40B4-BE49-F238E27FC236}">
                  <a16:creationId xmlns:a16="http://schemas.microsoft.com/office/drawing/2014/main" id="{1E077AAA-FCD0-40FC-965F-304657A5AE73}"/>
                </a:ext>
              </a:extLst>
            </p:cNvPr>
            <p:cNvSpPr/>
            <p:nvPr/>
          </p:nvSpPr>
          <p:spPr>
            <a:xfrm>
              <a:off x="7500518" y="2705590"/>
              <a:ext cx="35389" cy="28727"/>
            </a:xfrm>
            <a:custGeom>
              <a:avLst/>
              <a:gdLst>
                <a:gd name="connsiteX0" fmla="*/ 35343 w 35389"/>
                <a:gd name="connsiteY0" fmla="*/ -49 h 28727"/>
                <a:gd name="connsiteX1" fmla="*/ 21679 w 35389"/>
                <a:gd name="connsiteY1" fmla="*/ 2030 h 28727"/>
                <a:gd name="connsiteX2" fmla="*/ -47 w 35389"/>
                <a:gd name="connsiteY2" fmla="*/ 7080 h 28727"/>
                <a:gd name="connsiteX3" fmla="*/ 10604 w 35389"/>
                <a:gd name="connsiteY3" fmla="*/ 28679 h 28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389" h="28727">
                  <a:moveTo>
                    <a:pt x="35343" y="-49"/>
                  </a:moveTo>
                  <a:cubicBezTo>
                    <a:pt x="31566" y="418"/>
                    <a:pt x="26856" y="1054"/>
                    <a:pt x="21679" y="2030"/>
                  </a:cubicBezTo>
                  <a:cubicBezTo>
                    <a:pt x="14357" y="3347"/>
                    <a:pt x="7105" y="5032"/>
                    <a:pt x="-47" y="7080"/>
                  </a:cubicBezTo>
                  <a:lnTo>
                    <a:pt x="10604" y="28679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1" name="Freihandform: Form 290">
              <a:extLst>
                <a:ext uri="{FF2B5EF4-FFF2-40B4-BE49-F238E27FC236}">
                  <a16:creationId xmlns:a16="http://schemas.microsoft.com/office/drawing/2014/main" id="{AF385845-7D18-4C39-8087-3FE38C256C77}"/>
                </a:ext>
              </a:extLst>
            </p:cNvPr>
            <p:cNvSpPr/>
            <p:nvPr/>
          </p:nvSpPr>
          <p:spPr>
            <a:xfrm>
              <a:off x="7513885" y="2714374"/>
              <a:ext cx="35508" cy="51811"/>
            </a:xfrm>
            <a:custGeom>
              <a:avLst/>
              <a:gdLst>
                <a:gd name="connsiteX0" fmla="*/ 31099 w 35508"/>
                <a:gd name="connsiteY0" fmla="*/ 51763 h 51811"/>
                <a:gd name="connsiteX1" fmla="*/ 35343 w 35508"/>
                <a:gd name="connsiteY1" fmla="*/ -49 h 51811"/>
                <a:gd name="connsiteX2" fmla="*/ -47 w 35508"/>
                <a:gd name="connsiteY2" fmla="*/ 40985 h 51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5508" h="51811">
                  <a:moveTo>
                    <a:pt x="31099" y="51763"/>
                  </a:moveTo>
                  <a:cubicBezTo>
                    <a:pt x="34478" y="34709"/>
                    <a:pt x="35901" y="17327"/>
                    <a:pt x="35343" y="-49"/>
                  </a:cubicBezTo>
                  <a:lnTo>
                    <a:pt x="-47" y="40985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2" name="Freihandform: Form 291">
              <a:extLst>
                <a:ext uri="{FF2B5EF4-FFF2-40B4-BE49-F238E27FC236}">
                  <a16:creationId xmlns:a16="http://schemas.microsoft.com/office/drawing/2014/main" id="{39035F74-2BAD-467E-A975-F0FEB957FA5F}"/>
                </a:ext>
              </a:extLst>
            </p:cNvPr>
            <p:cNvSpPr/>
            <p:nvPr/>
          </p:nvSpPr>
          <p:spPr>
            <a:xfrm>
              <a:off x="7247230" y="2727274"/>
              <a:ext cx="35474" cy="28218"/>
            </a:xfrm>
            <a:custGeom>
              <a:avLst/>
              <a:gdLst>
                <a:gd name="connsiteX0" fmla="*/ 35428 w 35474"/>
                <a:gd name="connsiteY0" fmla="*/ 7801 h 28218"/>
                <a:gd name="connsiteX1" fmla="*/ -47 w 35474"/>
                <a:gd name="connsiteY1" fmla="*/ -49 h 28218"/>
                <a:gd name="connsiteX2" fmla="*/ 25413 w 35474"/>
                <a:gd name="connsiteY2" fmla="*/ 28169 h 28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5474" h="28218">
                  <a:moveTo>
                    <a:pt x="35428" y="7801"/>
                  </a:moveTo>
                  <a:cubicBezTo>
                    <a:pt x="23921" y="3911"/>
                    <a:pt x="12026" y="1279"/>
                    <a:pt x="-47" y="-49"/>
                  </a:cubicBezTo>
                  <a:lnTo>
                    <a:pt x="25413" y="28169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3" name="Freihandform: Form 292">
              <a:extLst>
                <a:ext uri="{FF2B5EF4-FFF2-40B4-BE49-F238E27FC236}">
                  <a16:creationId xmlns:a16="http://schemas.microsoft.com/office/drawing/2014/main" id="{07B8FBA7-4EAD-48A7-9C0E-BF86369192A3}"/>
                </a:ext>
              </a:extLst>
            </p:cNvPr>
            <p:cNvSpPr/>
            <p:nvPr/>
          </p:nvSpPr>
          <p:spPr>
            <a:xfrm>
              <a:off x="7242859" y="2766440"/>
              <a:ext cx="38572" cy="29067"/>
            </a:xfrm>
            <a:custGeom>
              <a:avLst/>
              <a:gdLst>
                <a:gd name="connsiteX0" fmla="*/ -47 w 38572"/>
                <a:gd name="connsiteY0" fmla="*/ 7801 h 29067"/>
                <a:gd name="connsiteX1" fmla="*/ 6954 w 38572"/>
                <a:gd name="connsiteY1" fmla="*/ 29018 h 29067"/>
                <a:gd name="connsiteX2" fmla="*/ 38525 w 38572"/>
                <a:gd name="connsiteY2" fmla="*/ 18197 h 29067"/>
                <a:gd name="connsiteX3" fmla="*/ 22188 w 38572"/>
                <a:gd name="connsiteY3" fmla="*/ -49 h 29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572" h="29067">
                  <a:moveTo>
                    <a:pt x="-47" y="7801"/>
                  </a:moveTo>
                  <a:cubicBezTo>
                    <a:pt x="1651" y="15068"/>
                    <a:pt x="3994" y="22168"/>
                    <a:pt x="6954" y="29018"/>
                  </a:cubicBezTo>
                  <a:lnTo>
                    <a:pt x="38525" y="18197"/>
                  </a:lnTo>
                  <a:lnTo>
                    <a:pt x="22188" y="-49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4" name="Freihandform: Form 293">
              <a:extLst>
                <a:ext uri="{FF2B5EF4-FFF2-40B4-BE49-F238E27FC236}">
                  <a16:creationId xmlns:a16="http://schemas.microsoft.com/office/drawing/2014/main" id="{F42A507C-93EE-472A-996F-B61069F7308D}"/>
                </a:ext>
              </a:extLst>
            </p:cNvPr>
            <p:cNvSpPr/>
            <p:nvPr/>
          </p:nvSpPr>
          <p:spPr>
            <a:xfrm>
              <a:off x="7238616" y="2737415"/>
              <a:ext cx="17100" cy="24314"/>
            </a:xfrm>
            <a:custGeom>
              <a:avLst/>
              <a:gdLst>
                <a:gd name="connsiteX0" fmla="*/ 1650 w 17100"/>
                <a:gd name="connsiteY0" fmla="*/ 24266 h 24314"/>
                <a:gd name="connsiteX1" fmla="*/ 17054 w 17100"/>
                <a:gd name="connsiteY1" fmla="*/ 18961 h 24314"/>
                <a:gd name="connsiteX2" fmla="*/ -47 w 17100"/>
                <a:gd name="connsiteY2" fmla="*/ -49 h 24314"/>
                <a:gd name="connsiteX3" fmla="*/ 207 w 17100"/>
                <a:gd name="connsiteY3" fmla="*/ 8692 h 24314"/>
                <a:gd name="connsiteX4" fmla="*/ 1650 w 17100"/>
                <a:gd name="connsiteY4" fmla="*/ 24266 h 24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00" h="24314">
                  <a:moveTo>
                    <a:pt x="1650" y="24266"/>
                  </a:moveTo>
                  <a:lnTo>
                    <a:pt x="17054" y="18961"/>
                  </a:lnTo>
                  <a:lnTo>
                    <a:pt x="-47" y="-49"/>
                  </a:lnTo>
                  <a:cubicBezTo>
                    <a:pt x="-47" y="2454"/>
                    <a:pt x="-47" y="5425"/>
                    <a:pt x="207" y="8692"/>
                  </a:cubicBezTo>
                  <a:cubicBezTo>
                    <a:pt x="377" y="13742"/>
                    <a:pt x="886" y="19046"/>
                    <a:pt x="1650" y="24266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99" name="Gruppieren 298">
            <a:extLst>
              <a:ext uri="{FF2B5EF4-FFF2-40B4-BE49-F238E27FC236}">
                <a16:creationId xmlns:a16="http://schemas.microsoft.com/office/drawing/2014/main" id="{FF0F0AC7-BDE3-4713-A946-A4D94CFEDD09}"/>
              </a:ext>
            </a:extLst>
          </p:cNvPr>
          <p:cNvGrpSpPr/>
          <p:nvPr/>
        </p:nvGrpSpPr>
        <p:grpSpPr>
          <a:xfrm>
            <a:off x="3181834" y="3717440"/>
            <a:ext cx="755830" cy="755976"/>
            <a:chOff x="3181834" y="2500122"/>
            <a:chExt cx="755830" cy="755976"/>
          </a:xfrm>
          <a:solidFill>
            <a:schemeClr val="bg1"/>
          </a:solidFill>
        </p:grpSpPr>
        <p:grpSp>
          <p:nvGrpSpPr>
            <p:cNvPr id="300" name="Grafik 89">
              <a:extLst>
                <a:ext uri="{FF2B5EF4-FFF2-40B4-BE49-F238E27FC236}">
                  <a16:creationId xmlns:a16="http://schemas.microsoft.com/office/drawing/2014/main" id="{25C87AC1-09E7-4183-B586-6EE47C4FAF7A}"/>
                </a:ext>
              </a:extLst>
            </p:cNvPr>
            <p:cNvGrpSpPr/>
            <p:nvPr/>
          </p:nvGrpSpPr>
          <p:grpSpPr>
            <a:xfrm>
              <a:off x="3181834" y="2500122"/>
              <a:ext cx="755830" cy="755976"/>
              <a:chOff x="3181834" y="2500122"/>
              <a:chExt cx="755830" cy="755976"/>
            </a:xfrm>
            <a:grpFill/>
          </p:grpSpPr>
          <p:sp>
            <p:nvSpPr>
              <p:cNvPr id="307" name="Freihandform: Form 306">
                <a:extLst>
                  <a:ext uri="{FF2B5EF4-FFF2-40B4-BE49-F238E27FC236}">
                    <a16:creationId xmlns:a16="http://schemas.microsoft.com/office/drawing/2014/main" id="{312A1F4F-3213-47D5-9DD0-C8CC4D753DDF}"/>
                  </a:ext>
                </a:extLst>
              </p:cNvPr>
              <p:cNvSpPr/>
              <p:nvPr/>
            </p:nvSpPr>
            <p:spPr>
              <a:xfrm>
                <a:off x="3181834" y="2500122"/>
                <a:ext cx="683436" cy="466182"/>
              </a:xfrm>
              <a:custGeom>
                <a:avLst/>
                <a:gdLst>
                  <a:gd name="connsiteX0" fmla="*/ 10556 w 683436"/>
                  <a:gd name="connsiteY0" fmla="*/ 466133 h 466182"/>
                  <a:gd name="connsiteX1" fmla="*/ 289200 w 683436"/>
                  <a:gd name="connsiteY1" fmla="*/ 10485 h 466182"/>
                  <a:gd name="connsiteX2" fmla="*/ 683389 w 683436"/>
                  <a:gd name="connsiteY2" fmla="*/ 155856 h 466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36" h="466182">
                    <a:moveTo>
                      <a:pt x="10556" y="466133"/>
                    </a:moveTo>
                    <a:cubicBezTo>
                      <a:pt x="-38322" y="263364"/>
                      <a:pt x="86431" y="59364"/>
                      <a:pt x="289200" y="10485"/>
                    </a:cubicBezTo>
                    <a:cubicBezTo>
                      <a:pt x="437911" y="-25362"/>
                      <a:pt x="593560" y="32039"/>
                      <a:pt x="683389" y="155856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308" name="Freihandform: Form 307">
                <a:extLst>
                  <a:ext uri="{FF2B5EF4-FFF2-40B4-BE49-F238E27FC236}">
                    <a16:creationId xmlns:a16="http://schemas.microsoft.com/office/drawing/2014/main" id="{780B0DED-D8A2-4D5D-8ADF-BEABDB1A9BC2}"/>
                  </a:ext>
                </a:extLst>
              </p:cNvPr>
              <p:cNvSpPr/>
              <p:nvPr/>
            </p:nvSpPr>
            <p:spPr>
              <a:xfrm>
                <a:off x="3813204" y="2617539"/>
                <a:ext cx="89068" cy="101502"/>
              </a:xfrm>
              <a:custGeom>
                <a:avLst/>
                <a:gdLst>
                  <a:gd name="connsiteX0" fmla="*/ 0 w 89068"/>
                  <a:gd name="connsiteY0" fmla="*/ 52788 h 101502"/>
                  <a:gd name="connsiteX1" fmla="*/ 89069 w 89068"/>
                  <a:gd name="connsiteY1" fmla="*/ 101502 h 101502"/>
                  <a:gd name="connsiteX2" fmla="*/ 86735 w 89068"/>
                  <a:gd name="connsiteY2" fmla="*/ 0 h 101502"/>
                  <a:gd name="connsiteX3" fmla="*/ 0 w 89068"/>
                  <a:gd name="connsiteY3" fmla="*/ 52788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0" y="52788"/>
                    </a:moveTo>
                    <a:lnTo>
                      <a:pt x="89069" y="101502"/>
                    </a:lnTo>
                    <a:lnTo>
                      <a:pt x="86735" y="0"/>
                    </a:lnTo>
                    <a:lnTo>
                      <a:pt x="0" y="52788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9" name="Freihandform: Form 308">
                <a:extLst>
                  <a:ext uri="{FF2B5EF4-FFF2-40B4-BE49-F238E27FC236}">
                    <a16:creationId xmlns:a16="http://schemas.microsoft.com/office/drawing/2014/main" id="{4F22DD13-E97D-441D-860D-417271773011}"/>
                  </a:ext>
                </a:extLst>
              </p:cNvPr>
              <p:cNvSpPr/>
              <p:nvPr/>
            </p:nvSpPr>
            <p:spPr>
              <a:xfrm>
                <a:off x="3254221" y="2790415"/>
                <a:ext cx="683443" cy="465683"/>
              </a:xfrm>
              <a:custGeom>
                <a:avLst/>
                <a:gdLst>
                  <a:gd name="connsiteX0" fmla="*/ 672913 w 683443"/>
                  <a:gd name="connsiteY0" fmla="*/ -49 h 465683"/>
                  <a:gd name="connsiteX1" fmla="*/ 393650 w 683443"/>
                  <a:gd name="connsiteY1" fmla="*/ 455220 h 465683"/>
                  <a:gd name="connsiteX2" fmla="*/ -47 w 683443"/>
                  <a:gd name="connsiteY2" fmla="*/ 309719 h 465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43" h="465683">
                    <a:moveTo>
                      <a:pt x="672913" y="-49"/>
                    </a:moveTo>
                    <a:cubicBezTo>
                      <a:pt x="721516" y="202786"/>
                      <a:pt x="596485" y="406617"/>
                      <a:pt x="393650" y="455220"/>
                    </a:cubicBezTo>
                    <a:cubicBezTo>
                      <a:pt x="245067" y="490822"/>
                      <a:pt x="89671" y="433392"/>
                      <a:pt x="-47" y="309719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310" name="Freihandform: Form 309">
                <a:extLst>
                  <a:ext uri="{FF2B5EF4-FFF2-40B4-BE49-F238E27FC236}">
                    <a16:creationId xmlns:a16="http://schemas.microsoft.com/office/drawing/2014/main" id="{303641DE-D3FE-44CC-960C-4C54DC4673C5}"/>
                  </a:ext>
                </a:extLst>
              </p:cNvPr>
              <p:cNvSpPr/>
              <p:nvPr/>
            </p:nvSpPr>
            <p:spPr>
              <a:xfrm>
                <a:off x="3217261" y="3037254"/>
                <a:ext cx="89068" cy="101502"/>
              </a:xfrm>
              <a:custGeom>
                <a:avLst/>
                <a:gdLst>
                  <a:gd name="connsiteX0" fmla="*/ 89069 w 89068"/>
                  <a:gd name="connsiteY0" fmla="*/ 48714 h 101502"/>
                  <a:gd name="connsiteX1" fmla="*/ 0 w 89068"/>
                  <a:gd name="connsiteY1" fmla="*/ 0 h 101502"/>
                  <a:gd name="connsiteX2" fmla="*/ 2334 w 89068"/>
                  <a:gd name="connsiteY2" fmla="*/ 101502 h 101502"/>
                  <a:gd name="connsiteX3" fmla="*/ 89069 w 89068"/>
                  <a:gd name="connsiteY3" fmla="*/ 48714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89069" y="48714"/>
                    </a:moveTo>
                    <a:lnTo>
                      <a:pt x="0" y="0"/>
                    </a:lnTo>
                    <a:lnTo>
                      <a:pt x="2334" y="101502"/>
                    </a:lnTo>
                    <a:lnTo>
                      <a:pt x="89069" y="48714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301" name="Freihandform: Form 300">
              <a:extLst>
                <a:ext uri="{FF2B5EF4-FFF2-40B4-BE49-F238E27FC236}">
                  <a16:creationId xmlns:a16="http://schemas.microsoft.com/office/drawing/2014/main" id="{C2BBBC1D-9F53-4EC2-8A09-C4C529431D1C}"/>
                </a:ext>
              </a:extLst>
            </p:cNvPr>
            <p:cNvSpPr/>
            <p:nvPr/>
          </p:nvSpPr>
          <p:spPr>
            <a:xfrm>
              <a:off x="3813204" y="2617539"/>
              <a:ext cx="89068" cy="101502"/>
            </a:xfrm>
            <a:custGeom>
              <a:avLst/>
              <a:gdLst>
                <a:gd name="connsiteX0" fmla="*/ 0 w 89068"/>
                <a:gd name="connsiteY0" fmla="*/ 52788 h 101502"/>
                <a:gd name="connsiteX1" fmla="*/ 89069 w 89068"/>
                <a:gd name="connsiteY1" fmla="*/ 101502 h 101502"/>
                <a:gd name="connsiteX2" fmla="*/ 86735 w 89068"/>
                <a:gd name="connsiteY2" fmla="*/ 0 h 101502"/>
                <a:gd name="connsiteX3" fmla="*/ 0 w 89068"/>
                <a:gd name="connsiteY3" fmla="*/ 52788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0" y="52788"/>
                  </a:moveTo>
                  <a:lnTo>
                    <a:pt x="89069" y="101502"/>
                  </a:lnTo>
                  <a:lnTo>
                    <a:pt x="86735" y="0"/>
                  </a:lnTo>
                  <a:lnTo>
                    <a:pt x="0" y="52788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2" name="Freihandform: Form 301">
              <a:extLst>
                <a:ext uri="{FF2B5EF4-FFF2-40B4-BE49-F238E27FC236}">
                  <a16:creationId xmlns:a16="http://schemas.microsoft.com/office/drawing/2014/main" id="{1FB36947-2B14-4ECB-AD0E-03AE0BF54B3A}"/>
                </a:ext>
              </a:extLst>
            </p:cNvPr>
            <p:cNvSpPr/>
            <p:nvPr/>
          </p:nvSpPr>
          <p:spPr>
            <a:xfrm>
              <a:off x="3217261" y="3037254"/>
              <a:ext cx="89068" cy="101502"/>
            </a:xfrm>
            <a:custGeom>
              <a:avLst/>
              <a:gdLst>
                <a:gd name="connsiteX0" fmla="*/ 89069 w 89068"/>
                <a:gd name="connsiteY0" fmla="*/ 48714 h 101502"/>
                <a:gd name="connsiteX1" fmla="*/ 0 w 89068"/>
                <a:gd name="connsiteY1" fmla="*/ 0 h 101502"/>
                <a:gd name="connsiteX2" fmla="*/ 2334 w 89068"/>
                <a:gd name="connsiteY2" fmla="*/ 101502 h 101502"/>
                <a:gd name="connsiteX3" fmla="*/ 89069 w 89068"/>
                <a:gd name="connsiteY3" fmla="*/ 48714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89069" y="48714"/>
                  </a:moveTo>
                  <a:lnTo>
                    <a:pt x="0" y="0"/>
                  </a:lnTo>
                  <a:lnTo>
                    <a:pt x="2334" y="101502"/>
                  </a:lnTo>
                  <a:lnTo>
                    <a:pt x="89069" y="48714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3" name="Freihandform: Form 302">
              <a:extLst>
                <a:ext uri="{FF2B5EF4-FFF2-40B4-BE49-F238E27FC236}">
                  <a16:creationId xmlns:a16="http://schemas.microsoft.com/office/drawing/2014/main" id="{A0419E74-4A49-47F0-82BB-AD994AC74368}"/>
                </a:ext>
              </a:extLst>
            </p:cNvPr>
            <p:cNvSpPr/>
            <p:nvPr/>
          </p:nvSpPr>
          <p:spPr>
            <a:xfrm>
              <a:off x="3467057" y="2774927"/>
              <a:ext cx="327800" cy="326904"/>
            </a:xfrm>
            <a:custGeom>
              <a:avLst/>
              <a:gdLst>
                <a:gd name="connsiteX0" fmla="*/ 182728 w 327800"/>
                <a:gd name="connsiteY0" fmla="*/ 121439 h 326904"/>
                <a:gd name="connsiteX1" fmla="*/ 121848 w 327800"/>
                <a:gd name="connsiteY1" fmla="*/ 4291 h 326904"/>
                <a:gd name="connsiteX2" fmla="*/ 93617 w 327800"/>
                <a:gd name="connsiteY2" fmla="*/ -49 h 326904"/>
                <a:gd name="connsiteX3" fmla="*/ 90137 w 327800"/>
                <a:gd name="connsiteY3" fmla="*/ -49 h 326904"/>
                <a:gd name="connsiteX4" fmla="*/ 78095 w 327800"/>
                <a:gd name="connsiteY4" fmla="*/ 13333 h 326904"/>
                <a:gd name="connsiteX5" fmla="*/ 81651 w 327800"/>
                <a:gd name="connsiteY5" fmla="*/ 21507 h 326904"/>
                <a:gd name="connsiteX6" fmla="*/ 123533 w 327800"/>
                <a:gd name="connsiteY6" fmla="*/ 62923 h 326904"/>
                <a:gd name="connsiteX7" fmla="*/ 63744 w 327800"/>
                <a:gd name="connsiteY7" fmla="*/ 123349 h 326904"/>
                <a:gd name="connsiteX8" fmla="*/ 21607 w 327800"/>
                <a:gd name="connsiteY8" fmla="*/ 81636 h 326904"/>
                <a:gd name="connsiteX9" fmla="*/ 12738 w 327800"/>
                <a:gd name="connsiteY9" fmla="*/ 77987 h 326904"/>
                <a:gd name="connsiteX10" fmla="*/ 8 w 327800"/>
                <a:gd name="connsiteY10" fmla="*/ 90166 h 326904"/>
                <a:gd name="connsiteX11" fmla="*/ 90136 w 327800"/>
                <a:gd name="connsiteY11" fmla="*/ 186638 h 326904"/>
                <a:gd name="connsiteX12" fmla="*/ 122812 w 327800"/>
                <a:gd name="connsiteY12" fmla="*/ 181908 h 326904"/>
                <a:gd name="connsiteX13" fmla="*/ 259916 w 327800"/>
                <a:gd name="connsiteY13" fmla="*/ 318885 h 326904"/>
                <a:gd name="connsiteX14" fmla="*/ 298531 w 327800"/>
                <a:gd name="connsiteY14" fmla="*/ 318885 h 326904"/>
                <a:gd name="connsiteX15" fmla="*/ 319748 w 327800"/>
                <a:gd name="connsiteY15" fmla="*/ 297286 h 326904"/>
                <a:gd name="connsiteX16" fmla="*/ 319776 w 327800"/>
                <a:gd name="connsiteY16" fmla="*/ 258699 h 326904"/>
                <a:gd name="connsiteX17" fmla="*/ 319748 w 327800"/>
                <a:gd name="connsiteY17" fmla="*/ 258671 h 326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27800" h="326904">
                  <a:moveTo>
                    <a:pt x="182728" y="121439"/>
                  </a:moveTo>
                  <a:cubicBezTo>
                    <a:pt x="198266" y="72278"/>
                    <a:pt x="171009" y="19829"/>
                    <a:pt x="121848" y="4291"/>
                  </a:cubicBezTo>
                  <a:cubicBezTo>
                    <a:pt x="112716" y="1405"/>
                    <a:pt x="103194" y="-59"/>
                    <a:pt x="93617" y="-49"/>
                  </a:cubicBezTo>
                  <a:lnTo>
                    <a:pt x="90137" y="-49"/>
                  </a:lnTo>
                  <a:cubicBezTo>
                    <a:pt x="83116" y="321"/>
                    <a:pt x="77725" y="6312"/>
                    <a:pt x="78095" y="13333"/>
                  </a:cubicBezTo>
                  <a:cubicBezTo>
                    <a:pt x="78256" y="16397"/>
                    <a:pt x="79519" y="19300"/>
                    <a:pt x="81651" y="21507"/>
                  </a:cubicBezTo>
                  <a:lnTo>
                    <a:pt x="123533" y="62923"/>
                  </a:lnTo>
                  <a:lnTo>
                    <a:pt x="63744" y="123349"/>
                  </a:lnTo>
                  <a:lnTo>
                    <a:pt x="21607" y="81636"/>
                  </a:lnTo>
                  <a:cubicBezTo>
                    <a:pt x="19239" y="79310"/>
                    <a:pt x="16057" y="78001"/>
                    <a:pt x="12738" y="77987"/>
                  </a:cubicBezTo>
                  <a:cubicBezTo>
                    <a:pt x="5917" y="77981"/>
                    <a:pt x="303" y="83351"/>
                    <a:pt x="8" y="90166"/>
                  </a:cubicBezTo>
                  <a:cubicBezTo>
                    <a:pt x="-1744" y="141694"/>
                    <a:pt x="38608" y="184887"/>
                    <a:pt x="90136" y="186638"/>
                  </a:cubicBezTo>
                  <a:cubicBezTo>
                    <a:pt x="101223" y="187015"/>
                    <a:pt x="112287" y="185413"/>
                    <a:pt x="122812" y="181908"/>
                  </a:cubicBezTo>
                  <a:lnTo>
                    <a:pt x="259916" y="318885"/>
                  </a:lnTo>
                  <a:cubicBezTo>
                    <a:pt x="270594" y="329512"/>
                    <a:pt x="287853" y="329512"/>
                    <a:pt x="298531" y="318885"/>
                  </a:cubicBezTo>
                  <a:lnTo>
                    <a:pt x="319748" y="297286"/>
                  </a:lnTo>
                  <a:cubicBezTo>
                    <a:pt x="330411" y="286638"/>
                    <a:pt x="330423" y="269362"/>
                    <a:pt x="319776" y="258699"/>
                  </a:cubicBezTo>
                  <a:cubicBezTo>
                    <a:pt x="319766" y="258690"/>
                    <a:pt x="319757" y="258680"/>
                    <a:pt x="319748" y="258671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4" name="Freihandform: Form 303">
              <a:extLst>
                <a:ext uri="{FF2B5EF4-FFF2-40B4-BE49-F238E27FC236}">
                  <a16:creationId xmlns:a16="http://schemas.microsoft.com/office/drawing/2014/main" id="{82B72B8D-01B1-4035-8432-1BDF0B2640D1}"/>
                </a:ext>
              </a:extLst>
            </p:cNvPr>
            <p:cNvSpPr/>
            <p:nvPr/>
          </p:nvSpPr>
          <p:spPr>
            <a:xfrm>
              <a:off x="3467057" y="2774927"/>
              <a:ext cx="327800" cy="326904"/>
            </a:xfrm>
            <a:custGeom>
              <a:avLst/>
              <a:gdLst>
                <a:gd name="connsiteX0" fmla="*/ 182728 w 327800"/>
                <a:gd name="connsiteY0" fmla="*/ 121439 h 326904"/>
                <a:gd name="connsiteX1" fmla="*/ 121848 w 327800"/>
                <a:gd name="connsiteY1" fmla="*/ 4291 h 326904"/>
                <a:gd name="connsiteX2" fmla="*/ 93617 w 327800"/>
                <a:gd name="connsiteY2" fmla="*/ -49 h 326904"/>
                <a:gd name="connsiteX3" fmla="*/ 90137 w 327800"/>
                <a:gd name="connsiteY3" fmla="*/ -49 h 326904"/>
                <a:gd name="connsiteX4" fmla="*/ 78095 w 327800"/>
                <a:gd name="connsiteY4" fmla="*/ 13333 h 326904"/>
                <a:gd name="connsiteX5" fmla="*/ 81651 w 327800"/>
                <a:gd name="connsiteY5" fmla="*/ 21507 h 326904"/>
                <a:gd name="connsiteX6" fmla="*/ 123533 w 327800"/>
                <a:gd name="connsiteY6" fmla="*/ 62923 h 326904"/>
                <a:gd name="connsiteX7" fmla="*/ 63744 w 327800"/>
                <a:gd name="connsiteY7" fmla="*/ 123349 h 326904"/>
                <a:gd name="connsiteX8" fmla="*/ 21607 w 327800"/>
                <a:gd name="connsiteY8" fmla="*/ 81636 h 326904"/>
                <a:gd name="connsiteX9" fmla="*/ 12738 w 327800"/>
                <a:gd name="connsiteY9" fmla="*/ 77987 h 326904"/>
                <a:gd name="connsiteX10" fmla="*/ 8 w 327800"/>
                <a:gd name="connsiteY10" fmla="*/ 90166 h 326904"/>
                <a:gd name="connsiteX11" fmla="*/ 90136 w 327800"/>
                <a:gd name="connsiteY11" fmla="*/ 186638 h 326904"/>
                <a:gd name="connsiteX12" fmla="*/ 122812 w 327800"/>
                <a:gd name="connsiteY12" fmla="*/ 181908 h 326904"/>
                <a:gd name="connsiteX13" fmla="*/ 259916 w 327800"/>
                <a:gd name="connsiteY13" fmla="*/ 318885 h 326904"/>
                <a:gd name="connsiteX14" fmla="*/ 298531 w 327800"/>
                <a:gd name="connsiteY14" fmla="*/ 318885 h 326904"/>
                <a:gd name="connsiteX15" fmla="*/ 319748 w 327800"/>
                <a:gd name="connsiteY15" fmla="*/ 297286 h 326904"/>
                <a:gd name="connsiteX16" fmla="*/ 319776 w 327800"/>
                <a:gd name="connsiteY16" fmla="*/ 258699 h 326904"/>
                <a:gd name="connsiteX17" fmla="*/ 319748 w 327800"/>
                <a:gd name="connsiteY17" fmla="*/ 258671 h 326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27800" h="326904">
                  <a:moveTo>
                    <a:pt x="182728" y="121439"/>
                  </a:moveTo>
                  <a:cubicBezTo>
                    <a:pt x="198266" y="72278"/>
                    <a:pt x="171009" y="19829"/>
                    <a:pt x="121848" y="4291"/>
                  </a:cubicBezTo>
                  <a:cubicBezTo>
                    <a:pt x="112716" y="1405"/>
                    <a:pt x="103194" y="-59"/>
                    <a:pt x="93617" y="-49"/>
                  </a:cubicBezTo>
                  <a:lnTo>
                    <a:pt x="90137" y="-49"/>
                  </a:lnTo>
                  <a:cubicBezTo>
                    <a:pt x="83116" y="321"/>
                    <a:pt x="77725" y="6312"/>
                    <a:pt x="78095" y="13333"/>
                  </a:cubicBezTo>
                  <a:cubicBezTo>
                    <a:pt x="78256" y="16397"/>
                    <a:pt x="79519" y="19300"/>
                    <a:pt x="81651" y="21507"/>
                  </a:cubicBezTo>
                  <a:lnTo>
                    <a:pt x="123533" y="62923"/>
                  </a:lnTo>
                  <a:lnTo>
                    <a:pt x="63744" y="123349"/>
                  </a:lnTo>
                  <a:lnTo>
                    <a:pt x="21607" y="81636"/>
                  </a:lnTo>
                  <a:cubicBezTo>
                    <a:pt x="19239" y="79310"/>
                    <a:pt x="16057" y="78001"/>
                    <a:pt x="12738" y="77987"/>
                  </a:cubicBezTo>
                  <a:cubicBezTo>
                    <a:pt x="5917" y="77981"/>
                    <a:pt x="303" y="83351"/>
                    <a:pt x="8" y="90166"/>
                  </a:cubicBezTo>
                  <a:cubicBezTo>
                    <a:pt x="-1744" y="141694"/>
                    <a:pt x="38608" y="184887"/>
                    <a:pt x="90136" y="186638"/>
                  </a:cubicBezTo>
                  <a:cubicBezTo>
                    <a:pt x="101223" y="187015"/>
                    <a:pt x="112287" y="185413"/>
                    <a:pt x="122812" y="181908"/>
                  </a:cubicBezTo>
                  <a:lnTo>
                    <a:pt x="259916" y="318885"/>
                  </a:lnTo>
                  <a:cubicBezTo>
                    <a:pt x="270594" y="329512"/>
                    <a:pt x="287853" y="329512"/>
                    <a:pt x="298531" y="318885"/>
                  </a:cubicBezTo>
                  <a:lnTo>
                    <a:pt x="319748" y="297286"/>
                  </a:lnTo>
                  <a:cubicBezTo>
                    <a:pt x="330411" y="286638"/>
                    <a:pt x="330423" y="269362"/>
                    <a:pt x="319776" y="258699"/>
                  </a:cubicBezTo>
                  <a:cubicBezTo>
                    <a:pt x="319766" y="258690"/>
                    <a:pt x="319757" y="258680"/>
                    <a:pt x="319748" y="258671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5" name="Freihandform: Form 304">
              <a:extLst>
                <a:ext uri="{FF2B5EF4-FFF2-40B4-BE49-F238E27FC236}">
                  <a16:creationId xmlns:a16="http://schemas.microsoft.com/office/drawing/2014/main" id="{CFB12DFA-13AC-4051-B9C4-EB159630FD65}"/>
                </a:ext>
              </a:extLst>
            </p:cNvPr>
            <p:cNvSpPr/>
            <p:nvPr/>
          </p:nvSpPr>
          <p:spPr>
            <a:xfrm>
              <a:off x="3300601" y="2615162"/>
              <a:ext cx="518288" cy="518501"/>
            </a:xfrm>
            <a:custGeom>
              <a:avLst/>
              <a:gdLst>
                <a:gd name="connsiteX0" fmla="*/ 506530 w 518288"/>
                <a:gd name="connsiteY0" fmla="*/ 221499 h 518501"/>
                <a:gd name="connsiteX1" fmla="*/ 484634 w 518288"/>
                <a:gd name="connsiteY1" fmla="*/ 221499 h 518501"/>
                <a:gd name="connsiteX2" fmla="*/ 469273 w 518288"/>
                <a:gd name="connsiteY2" fmla="*/ 210042 h 518501"/>
                <a:gd name="connsiteX3" fmla="*/ 439569 w 518288"/>
                <a:gd name="connsiteY3" fmla="*/ 140535 h 518501"/>
                <a:gd name="connsiteX4" fmla="*/ 442030 w 518288"/>
                <a:gd name="connsiteY4" fmla="*/ 121780 h 518501"/>
                <a:gd name="connsiteX5" fmla="*/ 456882 w 518288"/>
                <a:gd name="connsiteY5" fmla="*/ 106970 h 518501"/>
                <a:gd name="connsiteX6" fmla="*/ 456993 w 518288"/>
                <a:gd name="connsiteY6" fmla="*/ 90107 h 518501"/>
                <a:gd name="connsiteX7" fmla="*/ 456882 w 518288"/>
                <a:gd name="connsiteY7" fmla="*/ 89996 h 518501"/>
                <a:gd name="connsiteX8" fmla="*/ 421195 w 518288"/>
                <a:gd name="connsiteY8" fmla="*/ 54309 h 518501"/>
                <a:gd name="connsiteX9" fmla="*/ 404221 w 518288"/>
                <a:gd name="connsiteY9" fmla="*/ 54309 h 518501"/>
                <a:gd name="connsiteX10" fmla="*/ 388181 w 518288"/>
                <a:gd name="connsiteY10" fmla="*/ 70434 h 518501"/>
                <a:gd name="connsiteX11" fmla="*/ 369128 w 518288"/>
                <a:gd name="connsiteY11" fmla="*/ 73320 h 518501"/>
                <a:gd name="connsiteX12" fmla="*/ 308872 w 518288"/>
                <a:gd name="connsiteY12" fmla="*/ 49302 h 518501"/>
                <a:gd name="connsiteX13" fmla="*/ 297373 w 518288"/>
                <a:gd name="connsiteY13" fmla="*/ 34068 h 518501"/>
                <a:gd name="connsiteX14" fmla="*/ 297373 w 518288"/>
                <a:gd name="connsiteY14" fmla="*/ 11875 h 518501"/>
                <a:gd name="connsiteX15" fmla="*/ 285491 w 518288"/>
                <a:gd name="connsiteY15" fmla="*/ -48 h 518501"/>
                <a:gd name="connsiteX16" fmla="*/ 234995 w 518288"/>
                <a:gd name="connsiteY16" fmla="*/ -48 h 518501"/>
                <a:gd name="connsiteX17" fmla="*/ 222859 w 518288"/>
                <a:gd name="connsiteY17" fmla="*/ 11832 h 518501"/>
                <a:gd name="connsiteX18" fmla="*/ 222859 w 518288"/>
                <a:gd name="connsiteY18" fmla="*/ 11876 h 518501"/>
                <a:gd name="connsiteX19" fmla="*/ 222859 w 518288"/>
                <a:gd name="connsiteY19" fmla="*/ 34281 h 518501"/>
                <a:gd name="connsiteX20" fmla="*/ 211486 w 518288"/>
                <a:gd name="connsiteY20" fmla="*/ 49727 h 518501"/>
                <a:gd name="connsiteX21" fmla="*/ 141343 w 518288"/>
                <a:gd name="connsiteY21" fmla="*/ 79727 h 518501"/>
                <a:gd name="connsiteX22" fmla="*/ 122672 w 518288"/>
                <a:gd name="connsiteY22" fmla="*/ 77309 h 518501"/>
                <a:gd name="connsiteX23" fmla="*/ 106929 w 518288"/>
                <a:gd name="connsiteY23" fmla="*/ 61566 h 518501"/>
                <a:gd name="connsiteX24" fmla="*/ 89955 w 518288"/>
                <a:gd name="connsiteY24" fmla="*/ 61566 h 518501"/>
                <a:gd name="connsiteX25" fmla="*/ 54268 w 518288"/>
                <a:gd name="connsiteY25" fmla="*/ 97040 h 518501"/>
                <a:gd name="connsiteX26" fmla="*/ 54097 w 518288"/>
                <a:gd name="connsiteY26" fmla="*/ 113843 h 518501"/>
                <a:gd name="connsiteX27" fmla="*/ 54268 w 518288"/>
                <a:gd name="connsiteY27" fmla="*/ 114014 h 518501"/>
                <a:gd name="connsiteX28" fmla="*/ 71242 w 518288"/>
                <a:gd name="connsiteY28" fmla="*/ 130988 h 518501"/>
                <a:gd name="connsiteX29" fmla="*/ 74170 w 518288"/>
                <a:gd name="connsiteY29" fmla="*/ 149998 h 518501"/>
                <a:gd name="connsiteX30" fmla="*/ 50322 w 518288"/>
                <a:gd name="connsiteY30" fmla="*/ 209872 h 518501"/>
                <a:gd name="connsiteX31" fmla="*/ 35131 w 518288"/>
                <a:gd name="connsiteY31" fmla="*/ 221415 h 518501"/>
                <a:gd name="connsiteX32" fmla="*/ 11834 w 518288"/>
                <a:gd name="connsiteY32" fmla="*/ 221415 h 518501"/>
                <a:gd name="connsiteX33" fmla="*/ -47 w 518288"/>
                <a:gd name="connsiteY33" fmla="*/ 233296 h 518501"/>
                <a:gd name="connsiteX34" fmla="*/ -47 w 518288"/>
                <a:gd name="connsiteY34" fmla="*/ 283750 h 518501"/>
                <a:gd name="connsiteX35" fmla="*/ 11834 w 518288"/>
                <a:gd name="connsiteY35" fmla="*/ 295716 h 518501"/>
                <a:gd name="connsiteX36" fmla="*/ 11834 w 518288"/>
                <a:gd name="connsiteY36" fmla="*/ 295716 h 518501"/>
                <a:gd name="connsiteX37" fmla="*/ 35597 w 518288"/>
                <a:gd name="connsiteY37" fmla="*/ 295716 h 518501"/>
                <a:gd name="connsiteX38" fmla="*/ 51043 w 518288"/>
                <a:gd name="connsiteY38" fmla="*/ 307089 h 518501"/>
                <a:gd name="connsiteX39" fmla="*/ 80280 w 518288"/>
                <a:gd name="connsiteY39" fmla="*/ 376086 h 518501"/>
                <a:gd name="connsiteX40" fmla="*/ 77946 w 518288"/>
                <a:gd name="connsiteY40" fmla="*/ 394842 h 518501"/>
                <a:gd name="connsiteX41" fmla="*/ 61482 w 518288"/>
                <a:gd name="connsiteY41" fmla="*/ 411179 h 518501"/>
                <a:gd name="connsiteX42" fmla="*/ 61431 w 518288"/>
                <a:gd name="connsiteY42" fmla="*/ 428102 h 518501"/>
                <a:gd name="connsiteX43" fmla="*/ 61482 w 518288"/>
                <a:gd name="connsiteY43" fmla="*/ 428153 h 518501"/>
                <a:gd name="connsiteX44" fmla="*/ 97212 w 518288"/>
                <a:gd name="connsiteY44" fmla="*/ 463755 h 518501"/>
                <a:gd name="connsiteX45" fmla="*/ 113831 w 518288"/>
                <a:gd name="connsiteY45" fmla="*/ 464109 h 518501"/>
                <a:gd name="connsiteX46" fmla="*/ 114185 w 518288"/>
                <a:gd name="connsiteY46" fmla="*/ 463755 h 518501"/>
                <a:gd name="connsiteX47" fmla="*/ 131753 w 518288"/>
                <a:gd name="connsiteY47" fmla="*/ 446399 h 518501"/>
                <a:gd name="connsiteX48" fmla="*/ 150636 w 518288"/>
                <a:gd name="connsiteY48" fmla="*/ 443599 h 518501"/>
                <a:gd name="connsiteX49" fmla="*/ 211826 w 518288"/>
                <a:gd name="connsiteY49" fmla="*/ 467998 h 518501"/>
                <a:gd name="connsiteX50" fmla="*/ 223198 w 518288"/>
                <a:gd name="connsiteY50" fmla="*/ 483190 h 518501"/>
                <a:gd name="connsiteX51" fmla="*/ 223198 w 518288"/>
                <a:gd name="connsiteY51" fmla="*/ 506571 h 518501"/>
                <a:gd name="connsiteX52" fmla="*/ 235122 w 518288"/>
                <a:gd name="connsiteY52" fmla="*/ 518452 h 518501"/>
                <a:gd name="connsiteX53" fmla="*/ 285618 w 518288"/>
                <a:gd name="connsiteY53" fmla="*/ 518452 h 518501"/>
                <a:gd name="connsiteX54" fmla="*/ 297500 w 518288"/>
                <a:gd name="connsiteY54" fmla="*/ 506571 h 518501"/>
                <a:gd name="connsiteX55" fmla="*/ 297500 w 518288"/>
                <a:gd name="connsiteY55" fmla="*/ 483190 h 518501"/>
                <a:gd name="connsiteX56" fmla="*/ 309000 w 518288"/>
                <a:gd name="connsiteY56" fmla="*/ 467871 h 518501"/>
                <a:gd name="connsiteX57" fmla="*/ 324445 w 518288"/>
                <a:gd name="connsiteY57" fmla="*/ 461336 h 518501"/>
                <a:gd name="connsiteX58" fmla="*/ 271021 w 518288"/>
                <a:gd name="connsiteY58" fmla="*/ 408209 h 518501"/>
                <a:gd name="connsiteX59" fmla="*/ 269154 w 518288"/>
                <a:gd name="connsiteY59" fmla="*/ 408209 h 518501"/>
                <a:gd name="connsiteX60" fmla="*/ 262492 w 518288"/>
                <a:gd name="connsiteY60" fmla="*/ 408463 h 518501"/>
                <a:gd name="connsiteX61" fmla="*/ 259946 w 518288"/>
                <a:gd name="connsiteY61" fmla="*/ 408463 h 518501"/>
                <a:gd name="connsiteX62" fmla="*/ 155516 w 518288"/>
                <a:gd name="connsiteY62" fmla="*/ 365520 h 518501"/>
                <a:gd name="connsiteX63" fmla="*/ 143677 w 518288"/>
                <a:gd name="connsiteY63" fmla="*/ 352238 h 518501"/>
                <a:gd name="connsiteX64" fmla="*/ 140537 w 518288"/>
                <a:gd name="connsiteY64" fmla="*/ 347995 h 518501"/>
                <a:gd name="connsiteX65" fmla="*/ 140155 w 518288"/>
                <a:gd name="connsiteY65" fmla="*/ 347486 h 518501"/>
                <a:gd name="connsiteX66" fmla="*/ 171783 w 518288"/>
                <a:gd name="connsiteY66" fmla="*/ 139843 h 518501"/>
                <a:gd name="connsiteX67" fmla="*/ 322196 w 518288"/>
                <a:gd name="connsiteY67" fmla="*/ 124707 h 518501"/>
                <a:gd name="connsiteX68" fmla="*/ 323512 w 518288"/>
                <a:gd name="connsiteY68" fmla="*/ 125302 h 518501"/>
                <a:gd name="connsiteX69" fmla="*/ 327755 w 518288"/>
                <a:gd name="connsiteY69" fmla="*/ 127466 h 518501"/>
                <a:gd name="connsiteX70" fmla="*/ 330004 w 518288"/>
                <a:gd name="connsiteY70" fmla="*/ 128654 h 518501"/>
                <a:gd name="connsiteX71" fmla="*/ 333526 w 518288"/>
                <a:gd name="connsiteY71" fmla="*/ 130606 h 518501"/>
                <a:gd name="connsiteX72" fmla="*/ 336412 w 518288"/>
                <a:gd name="connsiteY72" fmla="*/ 132261 h 518501"/>
                <a:gd name="connsiteX73" fmla="*/ 339382 w 518288"/>
                <a:gd name="connsiteY73" fmla="*/ 134128 h 518501"/>
                <a:gd name="connsiteX74" fmla="*/ 342480 w 518288"/>
                <a:gd name="connsiteY74" fmla="*/ 136122 h 518501"/>
                <a:gd name="connsiteX75" fmla="*/ 345323 w 518288"/>
                <a:gd name="connsiteY75" fmla="*/ 138117 h 518501"/>
                <a:gd name="connsiteX76" fmla="*/ 348378 w 518288"/>
                <a:gd name="connsiteY76" fmla="*/ 140281 h 518501"/>
                <a:gd name="connsiteX77" fmla="*/ 351221 w 518288"/>
                <a:gd name="connsiteY77" fmla="*/ 142487 h 518501"/>
                <a:gd name="connsiteX78" fmla="*/ 354022 w 518288"/>
                <a:gd name="connsiteY78" fmla="*/ 144694 h 518501"/>
                <a:gd name="connsiteX79" fmla="*/ 357035 w 518288"/>
                <a:gd name="connsiteY79" fmla="*/ 147282 h 518501"/>
                <a:gd name="connsiteX80" fmla="*/ 359454 w 518288"/>
                <a:gd name="connsiteY80" fmla="*/ 149362 h 518501"/>
                <a:gd name="connsiteX81" fmla="*/ 362551 w 518288"/>
                <a:gd name="connsiteY81" fmla="*/ 152247 h 518501"/>
                <a:gd name="connsiteX82" fmla="*/ 364503 w 518288"/>
                <a:gd name="connsiteY82" fmla="*/ 154114 h 518501"/>
                <a:gd name="connsiteX83" fmla="*/ 364715 w 518288"/>
                <a:gd name="connsiteY83" fmla="*/ 154369 h 518501"/>
                <a:gd name="connsiteX84" fmla="*/ 369935 w 518288"/>
                <a:gd name="connsiteY84" fmla="*/ 159758 h 518501"/>
                <a:gd name="connsiteX85" fmla="*/ 372608 w 518288"/>
                <a:gd name="connsiteY85" fmla="*/ 162898 h 518501"/>
                <a:gd name="connsiteX86" fmla="*/ 374772 w 518288"/>
                <a:gd name="connsiteY86" fmla="*/ 165359 h 518501"/>
                <a:gd name="connsiteX87" fmla="*/ 377997 w 518288"/>
                <a:gd name="connsiteY87" fmla="*/ 169603 h 518501"/>
                <a:gd name="connsiteX88" fmla="*/ 379228 w 518288"/>
                <a:gd name="connsiteY88" fmla="*/ 171258 h 518501"/>
                <a:gd name="connsiteX89" fmla="*/ 382580 w 518288"/>
                <a:gd name="connsiteY89" fmla="*/ 175925 h 518501"/>
                <a:gd name="connsiteX90" fmla="*/ 383386 w 518288"/>
                <a:gd name="connsiteY90" fmla="*/ 177113 h 518501"/>
                <a:gd name="connsiteX91" fmla="*/ 386739 w 518288"/>
                <a:gd name="connsiteY91" fmla="*/ 182333 h 518501"/>
                <a:gd name="connsiteX92" fmla="*/ 387205 w 518288"/>
                <a:gd name="connsiteY92" fmla="*/ 183097 h 518501"/>
                <a:gd name="connsiteX93" fmla="*/ 390515 w 518288"/>
                <a:gd name="connsiteY93" fmla="*/ 188868 h 518501"/>
                <a:gd name="connsiteX94" fmla="*/ 390515 w 518288"/>
                <a:gd name="connsiteY94" fmla="*/ 188868 h 518501"/>
                <a:gd name="connsiteX95" fmla="*/ 408168 w 518288"/>
                <a:gd name="connsiteY95" fmla="*/ 268983 h 518501"/>
                <a:gd name="connsiteX96" fmla="*/ 462483 w 518288"/>
                <a:gd name="connsiteY96" fmla="*/ 323298 h 518501"/>
                <a:gd name="connsiteX97" fmla="*/ 469103 w 518288"/>
                <a:gd name="connsiteY97" fmla="*/ 306834 h 518501"/>
                <a:gd name="connsiteX98" fmla="*/ 484422 w 518288"/>
                <a:gd name="connsiteY98" fmla="*/ 295334 h 518501"/>
                <a:gd name="connsiteX99" fmla="*/ 506318 w 518288"/>
                <a:gd name="connsiteY99" fmla="*/ 295334 h 518501"/>
                <a:gd name="connsiteX100" fmla="*/ 518241 w 518288"/>
                <a:gd name="connsiteY100" fmla="*/ 283411 h 518501"/>
                <a:gd name="connsiteX101" fmla="*/ 518241 w 518288"/>
                <a:gd name="connsiteY101" fmla="*/ 233381 h 518501"/>
                <a:gd name="connsiteX102" fmla="*/ 506530 w 518288"/>
                <a:gd name="connsiteY102" fmla="*/ 221499 h 518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518288" h="518501">
                  <a:moveTo>
                    <a:pt x="506530" y="221499"/>
                  </a:moveTo>
                  <a:lnTo>
                    <a:pt x="484634" y="221499"/>
                  </a:lnTo>
                  <a:cubicBezTo>
                    <a:pt x="477641" y="221212"/>
                    <a:pt x="471541" y="216663"/>
                    <a:pt x="469273" y="210042"/>
                  </a:cubicBezTo>
                  <a:lnTo>
                    <a:pt x="439569" y="140535"/>
                  </a:lnTo>
                  <a:cubicBezTo>
                    <a:pt x="436434" y="134376"/>
                    <a:pt x="437412" y="126922"/>
                    <a:pt x="442030" y="121780"/>
                  </a:cubicBezTo>
                  <a:lnTo>
                    <a:pt x="456882" y="106970"/>
                  </a:lnTo>
                  <a:cubicBezTo>
                    <a:pt x="461569" y="102344"/>
                    <a:pt x="461619" y="94795"/>
                    <a:pt x="456993" y="90107"/>
                  </a:cubicBezTo>
                  <a:cubicBezTo>
                    <a:pt x="456956" y="90070"/>
                    <a:pt x="456919" y="90033"/>
                    <a:pt x="456882" y="89996"/>
                  </a:cubicBezTo>
                  <a:lnTo>
                    <a:pt x="421195" y="54309"/>
                  </a:lnTo>
                  <a:cubicBezTo>
                    <a:pt x="416497" y="49649"/>
                    <a:pt x="408920" y="49649"/>
                    <a:pt x="404221" y="54309"/>
                  </a:cubicBezTo>
                  <a:lnTo>
                    <a:pt x="388181" y="70434"/>
                  </a:lnTo>
                  <a:cubicBezTo>
                    <a:pt x="382987" y="75136"/>
                    <a:pt x="375482" y="76273"/>
                    <a:pt x="369128" y="73320"/>
                  </a:cubicBezTo>
                  <a:lnTo>
                    <a:pt x="308872" y="49302"/>
                  </a:lnTo>
                  <a:cubicBezTo>
                    <a:pt x="302277" y="47065"/>
                    <a:pt x="297717" y="41025"/>
                    <a:pt x="297373" y="34068"/>
                  </a:cubicBezTo>
                  <a:lnTo>
                    <a:pt x="297373" y="11875"/>
                  </a:lnTo>
                  <a:cubicBezTo>
                    <a:pt x="297349" y="5316"/>
                    <a:pt x="292050" y="-2"/>
                    <a:pt x="285491" y="-48"/>
                  </a:cubicBezTo>
                  <a:lnTo>
                    <a:pt x="234995" y="-48"/>
                  </a:lnTo>
                  <a:cubicBezTo>
                    <a:pt x="228363" y="-119"/>
                    <a:pt x="222929" y="5200"/>
                    <a:pt x="222859" y="11832"/>
                  </a:cubicBezTo>
                  <a:cubicBezTo>
                    <a:pt x="222859" y="11847"/>
                    <a:pt x="222859" y="11861"/>
                    <a:pt x="222859" y="11876"/>
                  </a:cubicBezTo>
                  <a:lnTo>
                    <a:pt x="222859" y="34281"/>
                  </a:lnTo>
                  <a:cubicBezTo>
                    <a:pt x="222516" y="41247"/>
                    <a:pt x="218036" y="47331"/>
                    <a:pt x="211486" y="49727"/>
                  </a:cubicBezTo>
                  <a:lnTo>
                    <a:pt x="141343" y="79727"/>
                  </a:lnTo>
                  <a:cubicBezTo>
                    <a:pt x="135229" y="82923"/>
                    <a:pt x="127770" y="81957"/>
                    <a:pt x="122672" y="77309"/>
                  </a:cubicBezTo>
                  <a:lnTo>
                    <a:pt x="106929" y="61566"/>
                  </a:lnTo>
                  <a:cubicBezTo>
                    <a:pt x="102240" y="56882"/>
                    <a:pt x="94644" y="56882"/>
                    <a:pt x="89955" y="61566"/>
                  </a:cubicBezTo>
                  <a:lnTo>
                    <a:pt x="54268" y="97040"/>
                  </a:lnTo>
                  <a:cubicBezTo>
                    <a:pt x="49581" y="101633"/>
                    <a:pt x="49504" y="109155"/>
                    <a:pt x="54097" y="113843"/>
                  </a:cubicBezTo>
                  <a:cubicBezTo>
                    <a:pt x="54153" y="113900"/>
                    <a:pt x="54211" y="113958"/>
                    <a:pt x="54268" y="114014"/>
                  </a:cubicBezTo>
                  <a:lnTo>
                    <a:pt x="71242" y="130988"/>
                  </a:lnTo>
                  <a:cubicBezTo>
                    <a:pt x="75972" y="136150"/>
                    <a:pt x="77128" y="143652"/>
                    <a:pt x="74170" y="149998"/>
                  </a:cubicBezTo>
                  <a:lnTo>
                    <a:pt x="50322" y="209872"/>
                  </a:lnTo>
                  <a:cubicBezTo>
                    <a:pt x="48219" y="216553"/>
                    <a:pt x="42130" y="221179"/>
                    <a:pt x="35131" y="221415"/>
                  </a:cubicBezTo>
                  <a:lnTo>
                    <a:pt x="11834" y="221415"/>
                  </a:lnTo>
                  <a:cubicBezTo>
                    <a:pt x="5272" y="221415"/>
                    <a:pt x="-47" y="226734"/>
                    <a:pt x="-47" y="233296"/>
                  </a:cubicBezTo>
                  <a:lnTo>
                    <a:pt x="-47" y="283750"/>
                  </a:lnTo>
                  <a:cubicBezTo>
                    <a:pt x="-71" y="290335"/>
                    <a:pt x="5249" y="295693"/>
                    <a:pt x="11834" y="295716"/>
                  </a:cubicBezTo>
                  <a:cubicBezTo>
                    <a:pt x="11834" y="295716"/>
                    <a:pt x="11834" y="295716"/>
                    <a:pt x="11834" y="295716"/>
                  </a:cubicBezTo>
                  <a:lnTo>
                    <a:pt x="35597" y="295716"/>
                  </a:lnTo>
                  <a:cubicBezTo>
                    <a:pt x="42600" y="295956"/>
                    <a:pt x="48735" y="300473"/>
                    <a:pt x="51043" y="307089"/>
                  </a:cubicBezTo>
                  <a:lnTo>
                    <a:pt x="80280" y="376086"/>
                  </a:lnTo>
                  <a:cubicBezTo>
                    <a:pt x="83500" y="382211"/>
                    <a:pt x="82569" y="389693"/>
                    <a:pt x="77946" y="394842"/>
                  </a:cubicBezTo>
                  <a:lnTo>
                    <a:pt x="61482" y="411179"/>
                  </a:lnTo>
                  <a:cubicBezTo>
                    <a:pt x="56795" y="415838"/>
                    <a:pt x="56772" y="423415"/>
                    <a:pt x="61431" y="428102"/>
                  </a:cubicBezTo>
                  <a:cubicBezTo>
                    <a:pt x="61448" y="428119"/>
                    <a:pt x="61465" y="428136"/>
                    <a:pt x="61482" y="428153"/>
                  </a:cubicBezTo>
                  <a:lnTo>
                    <a:pt x="97212" y="463755"/>
                  </a:lnTo>
                  <a:cubicBezTo>
                    <a:pt x="101703" y="468442"/>
                    <a:pt x="109144" y="468601"/>
                    <a:pt x="113831" y="464109"/>
                  </a:cubicBezTo>
                  <a:cubicBezTo>
                    <a:pt x="113951" y="463994"/>
                    <a:pt x="114070" y="463876"/>
                    <a:pt x="114185" y="463755"/>
                  </a:cubicBezTo>
                  <a:lnTo>
                    <a:pt x="131753" y="446399"/>
                  </a:lnTo>
                  <a:cubicBezTo>
                    <a:pt x="136876" y="441679"/>
                    <a:pt x="144363" y="440569"/>
                    <a:pt x="150636" y="443599"/>
                  </a:cubicBezTo>
                  <a:lnTo>
                    <a:pt x="211826" y="467998"/>
                  </a:lnTo>
                  <a:cubicBezTo>
                    <a:pt x="218357" y="470272"/>
                    <a:pt x="222856" y="476282"/>
                    <a:pt x="223198" y="483190"/>
                  </a:cubicBezTo>
                  <a:lnTo>
                    <a:pt x="223198" y="506571"/>
                  </a:lnTo>
                  <a:cubicBezTo>
                    <a:pt x="223244" y="513130"/>
                    <a:pt x="228563" y="518429"/>
                    <a:pt x="235122" y="518452"/>
                  </a:cubicBezTo>
                  <a:lnTo>
                    <a:pt x="285618" y="518452"/>
                  </a:lnTo>
                  <a:cubicBezTo>
                    <a:pt x="292171" y="518429"/>
                    <a:pt x="297477" y="513123"/>
                    <a:pt x="297500" y="506571"/>
                  </a:cubicBezTo>
                  <a:lnTo>
                    <a:pt x="297500" y="483190"/>
                  </a:lnTo>
                  <a:cubicBezTo>
                    <a:pt x="297811" y="476202"/>
                    <a:pt x="302376" y="470120"/>
                    <a:pt x="309000" y="467871"/>
                  </a:cubicBezTo>
                  <a:lnTo>
                    <a:pt x="324445" y="461336"/>
                  </a:lnTo>
                  <a:lnTo>
                    <a:pt x="271021" y="408209"/>
                  </a:lnTo>
                  <a:lnTo>
                    <a:pt x="269154" y="408209"/>
                  </a:lnTo>
                  <a:cubicBezTo>
                    <a:pt x="266947" y="408209"/>
                    <a:pt x="264911" y="408421"/>
                    <a:pt x="262492" y="408463"/>
                  </a:cubicBezTo>
                  <a:lnTo>
                    <a:pt x="259946" y="408463"/>
                  </a:lnTo>
                  <a:cubicBezTo>
                    <a:pt x="220816" y="408576"/>
                    <a:pt x="183247" y="393127"/>
                    <a:pt x="155516" y="365520"/>
                  </a:cubicBezTo>
                  <a:cubicBezTo>
                    <a:pt x="151302" y="361339"/>
                    <a:pt x="147348" y="356903"/>
                    <a:pt x="143677" y="352238"/>
                  </a:cubicBezTo>
                  <a:cubicBezTo>
                    <a:pt x="142616" y="350923"/>
                    <a:pt x="141555" y="349565"/>
                    <a:pt x="140537" y="347995"/>
                  </a:cubicBezTo>
                  <a:lnTo>
                    <a:pt x="140155" y="347486"/>
                  </a:lnTo>
                  <a:cubicBezTo>
                    <a:pt x="91550" y="281413"/>
                    <a:pt x="105710" y="188448"/>
                    <a:pt x="171783" y="139843"/>
                  </a:cubicBezTo>
                  <a:cubicBezTo>
                    <a:pt x="215411" y="107750"/>
                    <a:pt x="273049" y="101950"/>
                    <a:pt x="322196" y="124707"/>
                  </a:cubicBezTo>
                  <a:lnTo>
                    <a:pt x="323512" y="125302"/>
                  </a:lnTo>
                  <a:cubicBezTo>
                    <a:pt x="324955" y="125980"/>
                    <a:pt x="326397" y="126744"/>
                    <a:pt x="327755" y="127466"/>
                  </a:cubicBezTo>
                  <a:cubicBezTo>
                    <a:pt x="328519" y="127848"/>
                    <a:pt x="329283" y="128229"/>
                    <a:pt x="330004" y="128654"/>
                  </a:cubicBezTo>
                  <a:cubicBezTo>
                    <a:pt x="330726" y="129078"/>
                    <a:pt x="332381" y="129927"/>
                    <a:pt x="333526" y="130606"/>
                  </a:cubicBezTo>
                  <a:lnTo>
                    <a:pt x="336412" y="132261"/>
                  </a:lnTo>
                  <a:lnTo>
                    <a:pt x="339382" y="134128"/>
                  </a:lnTo>
                  <a:lnTo>
                    <a:pt x="342480" y="136122"/>
                  </a:lnTo>
                  <a:cubicBezTo>
                    <a:pt x="343456" y="136759"/>
                    <a:pt x="344389" y="137438"/>
                    <a:pt x="345323" y="138117"/>
                  </a:cubicBezTo>
                  <a:cubicBezTo>
                    <a:pt x="346257" y="138796"/>
                    <a:pt x="347360" y="139517"/>
                    <a:pt x="348378" y="140281"/>
                  </a:cubicBezTo>
                  <a:lnTo>
                    <a:pt x="351221" y="142487"/>
                  </a:lnTo>
                  <a:lnTo>
                    <a:pt x="354022" y="144694"/>
                  </a:lnTo>
                  <a:cubicBezTo>
                    <a:pt x="355040" y="145500"/>
                    <a:pt x="356059" y="146391"/>
                    <a:pt x="357035" y="147282"/>
                  </a:cubicBezTo>
                  <a:cubicBezTo>
                    <a:pt x="358011" y="148173"/>
                    <a:pt x="358690" y="148640"/>
                    <a:pt x="359454" y="149362"/>
                  </a:cubicBezTo>
                  <a:cubicBezTo>
                    <a:pt x="360217" y="150083"/>
                    <a:pt x="361533" y="151271"/>
                    <a:pt x="362551" y="152247"/>
                  </a:cubicBezTo>
                  <a:lnTo>
                    <a:pt x="364503" y="154114"/>
                  </a:lnTo>
                  <a:lnTo>
                    <a:pt x="364715" y="154369"/>
                  </a:lnTo>
                  <a:cubicBezTo>
                    <a:pt x="366498" y="156109"/>
                    <a:pt x="368237" y="157933"/>
                    <a:pt x="369935" y="159758"/>
                  </a:cubicBezTo>
                  <a:cubicBezTo>
                    <a:pt x="370868" y="160776"/>
                    <a:pt x="371717" y="161837"/>
                    <a:pt x="372608" y="162898"/>
                  </a:cubicBezTo>
                  <a:lnTo>
                    <a:pt x="374772" y="165359"/>
                  </a:lnTo>
                  <a:cubicBezTo>
                    <a:pt x="375875" y="166717"/>
                    <a:pt x="376936" y="168117"/>
                    <a:pt x="377997" y="169603"/>
                  </a:cubicBezTo>
                  <a:lnTo>
                    <a:pt x="379228" y="171258"/>
                  </a:lnTo>
                  <a:cubicBezTo>
                    <a:pt x="380373" y="172785"/>
                    <a:pt x="381477" y="174355"/>
                    <a:pt x="382580" y="175925"/>
                  </a:cubicBezTo>
                  <a:cubicBezTo>
                    <a:pt x="382835" y="176350"/>
                    <a:pt x="383132" y="176731"/>
                    <a:pt x="383386" y="177113"/>
                  </a:cubicBezTo>
                  <a:cubicBezTo>
                    <a:pt x="384532" y="178853"/>
                    <a:pt x="385678" y="180593"/>
                    <a:pt x="386739" y="182333"/>
                  </a:cubicBezTo>
                  <a:lnTo>
                    <a:pt x="387205" y="183097"/>
                  </a:lnTo>
                  <a:cubicBezTo>
                    <a:pt x="388351" y="185006"/>
                    <a:pt x="389454" y="186916"/>
                    <a:pt x="390515" y="188868"/>
                  </a:cubicBezTo>
                  <a:lnTo>
                    <a:pt x="390515" y="188868"/>
                  </a:lnTo>
                  <a:cubicBezTo>
                    <a:pt x="403835" y="213374"/>
                    <a:pt x="409955" y="241148"/>
                    <a:pt x="408168" y="268983"/>
                  </a:cubicBezTo>
                  <a:lnTo>
                    <a:pt x="462483" y="323298"/>
                  </a:lnTo>
                  <a:lnTo>
                    <a:pt x="469103" y="306834"/>
                  </a:lnTo>
                  <a:cubicBezTo>
                    <a:pt x="471352" y="300211"/>
                    <a:pt x="477434" y="295645"/>
                    <a:pt x="484422" y="295334"/>
                  </a:cubicBezTo>
                  <a:lnTo>
                    <a:pt x="506318" y="295334"/>
                  </a:lnTo>
                  <a:cubicBezTo>
                    <a:pt x="512884" y="295288"/>
                    <a:pt x="518195" y="289977"/>
                    <a:pt x="518241" y="283411"/>
                  </a:cubicBezTo>
                  <a:lnTo>
                    <a:pt x="518241" y="233381"/>
                  </a:lnTo>
                  <a:cubicBezTo>
                    <a:pt x="518197" y="226903"/>
                    <a:pt x="513006" y="221637"/>
                    <a:pt x="506530" y="221499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6" name="Freihandform: Form 305">
              <a:extLst>
                <a:ext uri="{FF2B5EF4-FFF2-40B4-BE49-F238E27FC236}">
                  <a16:creationId xmlns:a16="http://schemas.microsoft.com/office/drawing/2014/main" id="{D86B8FB3-ACD2-450D-B705-561CA9151EB1}"/>
                </a:ext>
              </a:extLst>
            </p:cNvPr>
            <p:cNvSpPr/>
            <p:nvPr/>
          </p:nvSpPr>
          <p:spPr>
            <a:xfrm>
              <a:off x="3300601" y="2615162"/>
              <a:ext cx="518288" cy="518501"/>
            </a:xfrm>
            <a:custGeom>
              <a:avLst/>
              <a:gdLst>
                <a:gd name="connsiteX0" fmla="*/ 506530 w 518288"/>
                <a:gd name="connsiteY0" fmla="*/ 221499 h 518501"/>
                <a:gd name="connsiteX1" fmla="*/ 484634 w 518288"/>
                <a:gd name="connsiteY1" fmla="*/ 221499 h 518501"/>
                <a:gd name="connsiteX2" fmla="*/ 469273 w 518288"/>
                <a:gd name="connsiteY2" fmla="*/ 210042 h 518501"/>
                <a:gd name="connsiteX3" fmla="*/ 439569 w 518288"/>
                <a:gd name="connsiteY3" fmla="*/ 140535 h 518501"/>
                <a:gd name="connsiteX4" fmla="*/ 442030 w 518288"/>
                <a:gd name="connsiteY4" fmla="*/ 121780 h 518501"/>
                <a:gd name="connsiteX5" fmla="*/ 456882 w 518288"/>
                <a:gd name="connsiteY5" fmla="*/ 106970 h 518501"/>
                <a:gd name="connsiteX6" fmla="*/ 456993 w 518288"/>
                <a:gd name="connsiteY6" fmla="*/ 90107 h 518501"/>
                <a:gd name="connsiteX7" fmla="*/ 456882 w 518288"/>
                <a:gd name="connsiteY7" fmla="*/ 89996 h 518501"/>
                <a:gd name="connsiteX8" fmla="*/ 421195 w 518288"/>
                <a:gd name="connsiteY8" fmla="*/ 54309 h 518501"/>
                <a:gd name="connsiteX9" fmla="*/ 404221 w 518288"/>
                <a:gd name="connsiteY9" fmla="*/ 54309 h 518501"/>
                <a:gd name="connsiteX10" fmla="*/ 388181 w 518288"/>
                <a:gd name="connsiteY10" fmla="*/ 70434 h 518501"/>
                <a:gd name="connsiteX11" fmla="*/ 369128 w 518288"/>
                <a:gd name="connsiteY11" fmla="*/ 73320 h 518501"/>
                <a:gd name="connsiteX12" fmla="*/ 308872 w 518288"/>
                <a:gd name="connsiteY12" fmla="*/ 49302 h 518501"/>
                <a:gd name="connsiteX13" fmla="*/ 297373 w 518288"/>
                <a:gd name="connsiteY13" fmla="*/ 34068 h 518501"/>
                <a:gd name="connsiteX14" fmla="*/ 297373 w 518288"/>
                <a:gd name="connsiteY14" fmla="*/ 11875 h 518501"/>
                <a:gd name="connsiteX15" fmla="*/ 285491 w 518288"/>
                <a:gd name="connsiteY15" fmla="*/ -48 h 518501"/>
                <a:gd name="connsiteX16" fmla="*/ 234995 w 518288"/>
                <a:gd name="connsiteY16" fmla="*/ -48 h 518501"/>
                <a:gd name="connsiteX17" fmla="*/ 222859 w 518288"/>
                <a:gd name="connsiteY17" fmla="*/ 11832 h 518501"/>
                <a:gd name="connsiteX18" fmla="*/ 222859 w 518288"/>
                <a:gd name="connsiteY18" fmla="*/ 11876 h 518501"/>
                <a:gd name="connsiteX19" fmla="*/ 222859 w 518288"/>
                <a:gd name="connsiteY19" fmla="*/ 34281 h 518501"/>
                <a:gd name="connsiteX20" fmla="*/ 211486 w 518288"/>
                <a:gd name="connsiteY20" fmla="*/ 49727 h 518501"/>
                <a:gd name="connsiteX21" fmla="*/ 141343 w 518288"/>
                <a:gd name="connsiteY21" fmla="*/ 79727 h 518501"/>
                <a:gd name="connsiteX22" fmla="*/ 122672 w 518288"/>
                <a:gd name="connsiteY22" fmla="*/ 77309 h 518501"/>
                <a:gd name="connsiteX23" fmla="*/ 106929 w 518288"/>
                <a:gd name="connsiteY23" fmla="*/ 61566 h 518501"/>
                <a:gd name="connsiteX24" fmla="*/ 89955 w 518288"/>
                <a:gd name="connsiteY24" fmla="*/ 61566 h 518501"/>
                <a:gd name="connsiteX25" fmla="*/ 54268 w 518288"/>
                <a:gd name="connsiteY25" fmla="*/ 97040 h 518501"/>
                <a:gd name="connsiteX26" fmla="*/ 54097 w 518288"/>
                <a:gd name="connsiteY26" fmla="*/ 113843 h 518501"/>
                <a:gd name="connsiteX27" fmla="*/ 54268 w 518288"/>
                <a:gd name="connsiteY27" fmla="*/ 114014 h 518501"/>
                <a:gd name="connsiteX28" fmla="*/ 71242 w 518288"/>
                <a:gd name="connsiteY28" fmla="*/ 130988 h 518501"/>
                <a:gd name="connsiteX29" fmla="*/ 74170 w 518288"/>
                <a:gd name="connsiteY29" fmla="*/ 149998 h 518501"/>
                <a:gd name="connsiteX30" fmla="*/ 50322 w 518288"/>
                <a:gd name="connsiteY30" fmla="*/ 209872 h 518501"/>
                <a:gd name="connsiteX31" fmla="*/ 35131 w 518288"/>
                <a:gd name="connsiteY31" fmla="*/ 221415 h 518501"/>
                <a:gd name="connsiteX32" fmla="*/ 11834 w 518288"/>
                <a:gd name="connsiteY32" fmla="*/ 221415 h 518501"/>
                <a:gd name="connsiteX33" fmla="*/ -47 w 518288"/>
                <a:gd name="connsiteY33" fmla="*/ 233296 h 518501"/>
                <a:gd name="connsiteX34" fmla="*/ -47 w 518288"/>
                <a:gd name="connsiteY34" fmla="*/ 283750 h 518501"/>
                <a:gd name="connsiteX35" fmla="*/ 11834 w 518288"/>
                <a:gd name="connsiteY35" fmla="*/ 295716 h 518501"/>
                <a:gd name="connsiteX36" fmla="*/ 11834 w 518288"/>
                <a:gd name="connsiteY36" fmla="*/ 295716 h 518501"/>
                <a:gd name="connsiteX37" fmla="*/ 35597 w 518288"/>
                <a:gd name="connsiteY37" fmla="*/ 295716 h 518501"/>
                <a:gd name="connsiteX38" fmla="*/ 51043 w 518288"/>
                <a:gd name="connsiteY38" fmla="*/ 307089 h 518501"/>
                <a:gd name="connsiteX39" fmla="*/ 80280 w 518288"/>
                <a:gd name="connsiteY39" fmla="*/ 376086 h 518501"/>
                <a:gd name="connsiteX40" fmla="*/ 77946 w 518288"/>
                <a:gd name="connsiteY40" fmla="*/ 394842 h 518501"/>
                <a:gd name="connsiteX41" fmla="*/ 61482 w 518288"/>
                <a:gd name="connsiteY41" fmla="*/ 411179 h 518501"/>
                <a:gd name="connsiteX42" fmla="*/ 61431 w 518288"/>
                <a:gd name="connsiteY42" fmla="*/ 428102 h 518501"/>
                <a:gd name="connsiteX43" fmla="*/ 61482 w 518288"/>
                <a:gd name="connsiteY43" fmla="*/ 428153 h 518501"/>
                <a:gd name="connsiteX44" fmla="*/ 97212 w 518288"/>
                <a:gd name="connsiteY44" fmla="*/ 463755 h 518501"/>
                <a:gd name="connsiteX45" fmla="*/ 113831 w 518288"/>
                <a:gd name="connsiteY45" fmla="*/ 464109 h 518501"/>
                <a:gd name="connsiteX46" fmla="*/ 114185 w 518288"/>
                <a:gd name="connsiteY46" fmla="*/ 463755 h 518501"/>
                <a:gd name="connsiteX47" fmla="*/ 131753 w 518288"/>
                <a:gd name="connsiteY47" fmla="*/ 446399 h 518501"/>
                <a:gd name="connsiteX48" fmla="*/ 150636 w 518288"/>
                <a:gd name="connsiteY48" fmla="*/ 443599 h 518501"/>
                <a:gd name="connsiteX49" fmla="*/ 211826 w 518288"/>
                <a:gd name="connsiteY49" fmla="*/ 467998 h 518501"/>
                <a:gd name="connsiteX50" fmla="*/ 223198 w 518288"/>
                <a:gd name="connsiteY50" fmla="*/ 483190 h 518501"/>
                <a:gd name="connsiteX51" fmla="*/ 223198 w 518288"/>
                <a:gd name="connsiteY51" fmla="*/ 506571 h 518501"/>
                <a:gd name="connsiteX52" fmla="*/ 235122 w 518288"/>
                <a:gd name="connsiteY52" fmla="*/ 518452 h 518501"/>
                <a:gd name="connsiteX53" fmla="*/ 285618 w 518288"/>
                <a:gd name="connsiteY53" fmla="*/ 518452 h 518501"/>
                <a:gd name="connsiteX54" fmla="*/ 297500 w 518288"/>
                <a:gd name="connsiteY54" fmla="*/ 506571 h 518501"/>
                <a:gd name="connsiteX55" fmla="*/ 297500 w 518288"/>
                <a:gd name="connsiteY55" fmla="*/ 483190 h 518501"/>
                <a:gd name="connsiteX56" fmla="*/ 309000 w 518288"/>
                <a:gd name="connsiteY56" fmla="*/ 467871 h 518501"/>
                <a:gd name="connsiteX57" fmla="*/ 324445 w 518288"/>
                <a:gd name="connsiteY57" fmla="*/ 461336 h 518501"/>
                <a:gd name="connsiteX58" fmla="*/ 271021 w 518288"/>
                <a:gd name="connsiteY58" fmla="*/ 408209 h 518501"/>
                <a:gd name="connsiteX59" fmla="*/ 269154 w 518288"/>
                <a:gd name="connsiteY59" fmla="*/ 408209 h 518501"/>
                <a:gd name="connsiteX60" fmla="*/ 262492 w 518288"/>
                <a:gd name="connsiteY60" fmla="*/ 408463 h 518501"/>
                <a:gd name="connsiteX61" fmla="*/ 259946 w 518288"/>
                <a:gd name="connsiteY61" fmla="*/ 408463 h 518501"/>
                <a:gd name="connsiteX62" fmla="*/ 155516 w 518288"/>
                <a:gd name="connsiteY62" fmla="*/ 365520 h 518501"/>
                <a:gd name="connsiteX63" fmla="*/ 143677 w 518288"/>
                <a:gd name="connsiteY63" fmla="*/ 352238 h 518501"/>
                <a:gd name="connsiteX64" fmla="*/ 140537 w 518288"/>
                <a:gd name="connsiteY64" fmla="*/ 347995 h 518501"/>
                <a:gd name="connsiteX65" fmla="*/ 140155 w 518288"/>
                <a:gd name="connsiteY65" fmla="*/ 347486 h 518501"/>
                <a:gd name="connsiteX66" fmla="*/ 171783 w 518288"/>
                <a:gd name="connsiteY66" fmla="*/ 139843 h 518501"/>
                <a:gd name="connsiteX67" fmla="*/ 322196 w 518288"/>
                <a:gd name="connsiteY67" fmla="*/ 124707 h 518501"/>
                <a:gd name="connsiteX68" fmla="*/ 323512 w 518288"/>
                <a:gd name="connsiteY68" fmla="*/ 125302 h 518501"/>
                <a:gd name="connsiteX69" fmla="*/ 327755 w 518288"/>
                <a:gd name="connsiteY69" fmla="*/ 127466 h 518501"/>
                <a:gd name="connsiteX70" fmla="*/ 330004 w 518288"/>
                <a:gd name="connsiteY70" fmla="*/ 128654 h 518501"/>
                <a:gd name="connsiteX71" fmla="*/ 333526 w 518288"/>
                <a:gd name="connsiteY71" fmla="*/ 130606 h 518501"/>
                <a:gd name="connsiteX72" fmla="*/ 336412 w 518288"/>
                <a:gd name="connsiteY72" fmla="*/ 132261 h 518501"/>
                <a:gd name="connsiteX73" fmla="*/ 339382 w 518288"/>
                <a:gd name="connsiteY73" fmla="*/ 134128 h 518501"/>
                <a:gd name="connsiteX74" fmla="*/ 342480 w 518288"/>
                <a:gd name="connsiteY74" fmla="*/ 136122 h 518501"/>
                <a:gd name="connsiteX75" fmla="*/ 345323 w 518288"/>
                <a:gd name="connsiteY75" fmla="*/ 138117 h 518501"/>
                <a:gd name="connsiteX76" fmla="*/ 348378 w 518288"/>
                <a:gd name="connsiteY76" fmla="*/ 140281 h 518501"/>
                <a:gd name="connsiteX77" fmla="*/ 351221 w 518288"/>
                <a:gd name="connsiteY77" fmla="*/ 142487 h 518501"/>
                <a:gd name="connsiteX78" fmla="*/ 354022 w 518288"/>
                <a:gd name="connsiteY78" fmla="*/ 144694 h 518501"/>
                <a:gd name="connsiteX79" fmla="*/ 357035 w 518288"/>
                <a:gd name="connsiteY79" fmla="*/ 147282 h 518501"/>
                <a:gd name="connsiteX80" fmla="*/ 359454 w 518288"/>
                <a:gd name="connsiteY80" fmla="*/ 149362 h 518501"/>
                <a:gd name="connsiteX81" fmla="*/ 362551 w 518288"/>
                <a:gd name="connsiteY81" fmla="*/ 152247 h 518501"/>
                <a:gd name="connsiteX82" fmla="*/ 364503 w 518288"/>
                <a:gd name="connsiteY82" fmla="*/ 154114 h 518501"/>
                <a:gd name="connsiteX83" fmla="*/ 364715 w 518288"/>
                <a:gd name="connsiteY83" fmla="*/ 154369 h 518501"/>
                <a:gd name="connsiteX84" fmla="*/ 369935 w 518288"/>
                <a:gd name="connsiteY84" fmla="*/ 159758 h 518501"/>
                <a:gd name="connsiteX85" fmla="*/ 372608 w 518288"/>
                <a:gd name="connsiteY85" fmla="*/ 162898 h 518501"/>
                <a:gd name="connsiteX86" fmla="*/ 374772 w 518288"/>
                <a:gd name="connsiteY86" fmla="*/ 165359 h 518501"/>
                <a:gd name="connsiteX87" fmla="*/ 377997 w 518288"/>
                <a:gd name="connsiteY87" fmla="*/ 169603 h 518501"/>
                <a:gd name="connsiteX88" fmla="*/ 379228 w 518288"/>
                <a:gd name="connsiteY88" fmla="*/ 171258 h 518501"/>
                <a:gd name="connsiteX89" fmla="*/ 382580 w 518288"/>
                <a:gd name="connsiteY89" fmla="*/ 175925 h 518501"/>
                <a:gd name="connsiteX90" fmla="*/ 383386 w 518288"/>
                <a:gd name="connsiteY90" fmla="*/ 177113 h 518501"/>
                <a:gd name="connsiteX91" fmla="*/ 386739 w 518288"/>
                <a:gd name="connsiteY91" fmla="*/ 182333 h 518501"/>
                <a:gd name="connsiteX92" fmla="*/ 387205 w 518288"/>
                <a:gd name="connsiteY92" fmla="*/ 183097 h 518501"/>
                <a:gd name="connsiteX93" fmla="*/ 390515 w 518288"/>
                <a:gd name="connsiteY93" fmla="*/ 188868 h 518501"/>
                <a:gd name="connsiteX94" fmla="*/ 390515 w 518288"/>
                <a:gd name="connsiteY94" fmla="*/ 188868 h 518501"/>
                <a:gd name="connsiteX95" fmla="*/ 408168 w 518288"/>
                <a:gd name="connsiteY95" fmla="*/ 268983 h 518501"/>
                <a:gd name="connsiteX96" fmla="*/ 462483 w 518288"/>
                <a:gd name="connsiteY96" fmla="*/ 323298 h 518501"/>
                <a:gd name="connsiteX97" fmla="*/ 469103 w 518288"/>
                <a:gd name="connsiteY97" fmla="*/ 306834 h 518501"/>
                <a:gd name="connsiteX98" fmla="*/ 484422 w 518288"/>
                <a:gd name="connsiteY98" fmla="*/ 295334 h 518501"/>
                <a:gd name="connsiteX99" fmla="*/ 506318 w 518288"/>
                <a:gd name="connsiteY99" fmla="*/ 295334 h 518501"/>
                <a:gd name="connsiteX100" fmla="*/ 518241 w 518288"/>
                <a:gd name="connsiteY100" fmla="*/ 283411 h 518501"/>
                <a:gd name="connsiteX101" fmla="*/ 518241 w 518288"/>
                <a:gd name="connsiteY101" fmla="*/ 233381 h 518501"/>
                <a:gd name="connsiteX102" fmla="*/ 506530 w 518288"/>
                <a:gd name="connsiteY102" fmla="*/ 221499 h 518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518288" h="518501">
                  <a:moveTo>
                    <a:pt x="506530" y="221499"/>
                  </a:moveTo>
                  <a:lnTo>
                    <a:pt x="484634" y="221499"/>
                  </a:lnTo>
                  <a:cubicBezTo>
                    <a:pt x="477641" y="221212"/>
                    <a:pt x="471541" y="216663"/>
                    <a:pt x="469273" y="210042"/>
                  </a:cubicBezTo>
                  <a:lnTo>
                    <a:pt x="439569" y="140535"/>
                  </a:lnTo>
                  <a:cubicBezTo>
                    <a:pt x="436434" y="134376"/>
                    <a:pt x="437412" y="126922"/>
                    <a:pt x="442030" y="121780"/>
                  </a:cubicBezTo>
                  <a:lnTo>
                    <a:pt x="456882" y="106970"/>
                  </a:lnTo>
                  <a:cubicBezTo>
                    <a:pt x="461569" y="102344"/>
                    <a:pt x="461619" y="94795"/>
                    <a:pt x="456993" y="90107"/>
                  </a:cubicBezTo>
                  <a:cubicBezTo>
                    <a:pt x="456956" y="90070"/>
                    <a:pt x="456919" y="90033"/>
                    <a:pt x="456882" y="89996"/>
                  </a:cubicBezTo>
                  <a:lnTo>
                    <a:pt x="421195" y="54309"/>
                  </a:lnTo>
                  <a:cubicBezTo>
                    <a:pt x="416497" y="49649"/>
                    <a:pt x="408920" y="49649"/>
                    <a:pt x="404221" y="54309"/>
                  </a:cubicBezTo>
                  <a:lnTo>
                    <a:pt x="388181" y="70434"/>
                  </a:lnTo>
                  <a:cubicBezTo>
                    <a:pt x="382987" y="75136"/>
                    <a:pt x="375482" y="76273"/>
                    <a:pt x="369128" y="73320"/>
                  </a:cubicBezTo>
                  <a:lnTo>
                    <a:pt x="308872" y="49302"/>
                  </a:lnTo>
                  <a:cubicBezTo>
                    <a:pt x="302277" y="47065"/>
                    <a:pt x="297717" y="41025"/>
                    <a:pt x="297373" y="34068"/>
                  </a:cubicBezTo>
                  <a:lnTo>
                    <a:pt x="297373" y="11875"/>
                  </a:lnTo>
                  <a:cubicBezTo>
                    <a:pt x="297349" y="5316"/>
                    <a:pt x="292050" y="-2"/>
                    <a:pt x="285491" y="-48"/>
                  </a:cubicBezTo>
                  <a:lnTo>
                    <a:pt x="234995" y="-48"/>
                  </a:lnTo>
                  <a:cubicBezTo>
                    <a:pt x="228363" y="-119"/>
                    <a:pt x="222929" y="5200"/>
                    <a:pt x="222859" y="11832"/>
                  </a:cubicBezTo>
                  <a:cubicBezTo>
                    <a:pt x="222859" y="11847"/>
                    <a:pt x="222859" y="11861"/>
                    <a:pt x="222859" y="11876"/>
                  </a:cubicBezTo>
                  <a:lnTo>
                    <a:pt x="222859" y="34281"/>
                  </a:lnTo>
                  <a:cubicBezTo>
                    <a:pt x="222516" y="41247"/>
                    <a:pt x="218036" y="47331"/>
                    <a:pt x="211486" y="49727"/>
                  </a:cubicBezTo>
                  <a:lnTo>
                    <a:pt x="141343" y="79727"/>
                  </a:lnTo>
                  <a:cubicBezTo>
                    <a:pt x="135229" y="82923"/>
                    <a:pt x="127770" y="81957"/>
                    <a:pt x="122672" y="77309"/>
                  </a:cubicBezTo>
                  <a:lnTo>
                    <a:pt x="106929" y="61566"/>
                  </a:lnTo>
                  <a:cubicBezTo>
                    <a:pt x="102240" y="56882"/>
                    <a:pt x="94644" y="56882"/>
                    <a:pt x="89955" y="61566"/>
                  </a:cubicBezTo>
                  <a:lnTo>
                    <a:pt x="54268" y="97040"/>
                  </a:lnTo>
                  <a:cubicBezTo>
                    <a:pt x="49581" y="101633"/>
                    <a:pt x="49504" y="109155"/>
                    <a:pt x="54097" y="113843"/>
                  </a:cubicBezTo>
                  <a:cubicBezTo>
                    <a:pt x="54153" y="113900"/>
                    <a:pt x="54211" y="113958"/>
                    <a:pt x="54268" y="114014"/>
                  </a:cubicBezTo>
                  <a:lnTo>
                    <a:pt x="71242" y="130988"/>
                  </a:lnTo>
                  <a:cubicBezTo>
                    <a:pt x="75972" y="136150"/>
                    <a:pt x="77128" y="143652"/>
                    <a:pt x="74170" y="149998"/>
                  </a:cubicBezTo>
                  <a:lnTo>
                    <a:pt x="50322" y="209872"/>
                  </a:lnTo>
                  <a:cubicBezTo>
                    <a:pt x="48219" y="216553"/>
                    <a:pt x="42130" y="221179"/>
                    <a:pt x="35131" y="221415"/>
                  </a:cubicBezTo>
                  <a:lnTo>
                    <a:pt x="11834" y="221415"/>
                  </a:lnTo>
                  <a:cubicBezTo>
                    <a:pt x="5272" y="221415"/>
                    <a:pt x="-47" y="226734"/>
                    <a:pt x="-47" y="233296"/>
                  </a:cubicBezTo>
                  <a:lnTo>
                    <a:pt x="-47" y="283750"/>
                  </a:lnTo>
                  <a:cubicBezTo>
                    <a:pt x="-71" y="290335"/>
                    <a:pt x="5249" y="295693"/>
                    <a:pt x="11834" y="295716"/>
                  </a:cubicBezTo>
                  <a:cubicBezTo>
                    <a:pt x="11834" y="295716"/>
                    <a:pt x="11834" y="295716"/>
                    <a:pt x="11834" y="295716"/>
                  </a:cubicBezTo>
                  <a:lnTo>
                    <a:pt x="35597" y="295716"/>
                  </a:lnTo>
                  <a:cubicBezTo>
                    <a:pt x="42600" y="295956"/>
                    <a:pt x="48735" y="300473"/>
                    <a:pt x="51043" y="307089"/>
                  </a:cubicBezTo>
                  <a:lnTo>
                    <a:pt x="80280" y="376086"/>
                  </a:lnTo>
                  <a:cubicBezTo>
                    <a:pt x="83500" y="382211"/>
                    <a:pt x="82569" y="389693"/>
                    <a:pt x="77946" y="394842"/>
                  </a:cubicBezTo>
                  <a:lnTo>
                    <a:pt x="61482" y="411179"/>
                  </a:lnTo>
                  <a:cubicBezTo>
                    <a:pt x="56795" y="415838"/>
                    <a:pt x="56772" y="423415"/>
                    <a:pt x="61431" y="428102"/>
                  </a:cubicBezTo>
                  <a:cubicBezTo>
                    <a:pt x="61448" y="428119"/>
                    <a:pt x="61465" y="428136"/>
                    <a:pt x="61482" y="428153"/>
                  </a:cubicBezTo>
                  <a:lnTo>
                    <a:pt x="97212" y="463755"/>
                  </a:lnTo>
                  <a:cubicBezTo>
                    <a:pt x="101703" y="468442"/>
                    <a:pt x="109144" y="468601"/>
                    <a:pt x="113831" y="464109"/>
                  </a:cubicBezTo>
                  <a:cubicBezTo>
                    <a:pt x="113951" y="463994"/>
                    <a:pt x="114070" y="463876"/>
                    <a:pt x="114185" y="463755"/>
                  </a:cubicBezTo>
                  <a:lnTo>
                    <a:pt x="131753" y="446399"/>
                  </a:lnTo>
                  <a:cubicBezTo>
                    <a:pt x="136876" y="441679"/>
                    <a:pt x="144363" y="440569"/>
                    <a:pt x="150636" y="443599"/>
                  </a:cubicBezTo>
                  <a:lnTo>
                    <a:pt x="211826" y="467998"/>
                  </a:lnTo>
                  <a:cubicBezTo>
                    <a:pt x="218357" y="470272"/>
                    <a:pt x="222856" y="476282"/>
                    <a:pt x="223198" y="483190"/>
                  </a:cubicBezTo>
                  <a:lnTo>
                    <a:pt x="223198" y="506571"/>
                  </a:lnTo>
                  <a:cubicBezTo>
                    <a:pt x="223244" y="513130"/>
                    <a:pt x="228563" y="518429"/>
                    <a:pt x="235122" y="518452"/>
                  </a:cubicBezTo>
                  <a:lnTo>
                    <a:pt x="285618" y="518452"/>
                  </a:lnTo>
                  <a:cubicBezTo>
                    <a:pt x="292171" y="518429"/>
                    <a:pt x="297477" y="513123"/>
                    <a:pt x="297500" y="506571"/>
                  </a:cubicBezTo>
                  <a:lnTo>
                    <a:pt x="297500" y="483190"/>
                  </a:lnTo>
                  <a:cubicBezTo>
                    <a:pt x="297811" y="476202"/>
                    <a:pt x="302376" y="470120"/>
                    <a:pt x="309000" y="467871"/>
                  </a:cubicBezTo>
                  <a:lnTo>
                    <a:pt x="324445" y="461336"/>
                  </a:lnTo>
                  <a:lnTo>
                    <a:pt x="271021" y="408209"/>
                  </a:lnTo>
                  <a:lnTo>
                    <a:pt x="269154" y="408209"/>
                  </a:lnTo>
                  <a:cubicBezTo>
                    <a:pt x="266947" y="408209"/>
                    <a:pt x="264911" y="408421"/>
                    <a:pt x="262492" y="408463"/>
                  </a:cubicBezTo>
                  <a:lnTo>
                    <a:pt x="259946" y="408463"/>
                  </a:lnTo>
                  <a:cubicBezTo>
                    <a:pt x="220816" y="408576"/>
                    <a:pt x="183247" y="393127"/>
                    <a:pt x="155516" y="365520"/>
                  </a:cubicBezTo>
                  <a:cubicBezTo>
                    <a:pt x="151302" y="361339"/>
                    <a:pt x="147348" y="356903"/>
                    <a:pt x="143677" y="352238"/>
                  </a:cubicBezTo>
                  <a:cubicBezTo>
                    <a:pt x="142616" y="350923"/>
                    <a:pt x="141555" y="349565"/>
                    <a:pt x="140537" y="347995"/>
                  </a:cubicBezTo>
                  <a:lnTo>
                    <a:pt x="140155" y="347486"/>
                  </a:lnTo>
                  <a:cubicBezTo>
                    <a:pt x="91550" y="281413"/>
                    <a:pt x="105710" y="188448"/>
                    <a:pt x="171783" y="139843"/>
                  </a:cubicBezTo>
                  <a:cubicBezTo>
                    <a:pt x="215411" y="107750"/>
                    <a:pt x="273049" y="101950"/>
                    <a:pt x="322196" y="124707"/>
                  </a:cubicBezTo>
                  <a:lnTo>
                    <a:pt x="323512" y="125302"/>
                  </a:lnTo>
                  <a:cubicBezTo>
                    <a:pt x="324955" y="125980"/>
                    <a:pt x="326397" y="126744"/>
                    <a:pt x="327755" y="127466"/>
                  </a:cubicBezTo>
                  <a:cubicBezTo>
                    <a:pt x="328519" y="127848"/>
                    <a:pt x="329283" y="128229"/>
                    <a:pt x="330004" y="128654"/>
                  </a:cubicBezTo>
                  <a:cubicBezTo>
                    <a:pt x="330726" y="129078"/>
                    <a:pt x="332381" y="129927"/>
                    <a:pt x="333526" y="130606"/>
                  </a:cubicBezTo>
                  <a:lnTo>
                    <a:pt x="336412" y="132261"/>
                  </a:lnTo>
                  <a:lnTo>
                    <a:pt x="339382" y="134128"/>
                  </a:lnTo>
                  <a:lnTo>
                    <a:pt x="342480" y="136122"/>
                  </a:lnTo>
                  <a:cubicBezTo>
                    <a:pt x="343456" y="136759"/>
                    <a:pt x="344389" y="137438"/>
                    <a:pt x="345323" y="138117"/>
                  </a:cubicBezTo>
                  <a:cubicBezTo>
                    <a:pt x="346257" y="138796"/>
                    <a:pt x="347360" y="139517"/>
                    <a:pt x="348378" y="140281"/>
                  </a:cubicBezTo>
                  <a:lnTo>
                    <a:pt x="351221" y="142487"/>
                  </a:lnTo>
                  <a:lnTo>
                    <a:pt x="354022" y="144694"/>
                  </a:lnTo>
                  <a:cubicBezTo>
                    <a:pt x="355040" y="145500"/>
                    <a:pt x="356059" y="146391"/>
                    <a:pt x="357035" y="147282"/>
                  </a:cubicBezTo>
                  <a:cubicBezTo>
                    <a:pt x="358011" y="148173"/>
                    <a:pt x="358690" y="148640"/>
                    <a:pt x="359454" y="149362"/>
                  </a:cubicBezTo>
                  <a:cubicBezTo>
                    <a:pt x="360217" y="150083"/>
                    <a:pt x="361533" y="151271"/>
                    <a:pt x="362551" y="152247"/>
                  </a:cubicBezTo>
                  <a:lnTo>
                    <a:pt x="364503" y="154114"/>
                  </a:lnTo>
                  <a:lnTo>
                    <a:pt x="364715" y="154369"/>
                  </a:lnTo>
                  <a:cubicBezTo>
                    <a:pt x="366498" y="156109"/>
                    <a:pt x="368237" y="157933"/>
                    <a:pt x="369935" y="159758"/>
                  </a:cubicBezTo>
                  <a:cubicBezTo>
                    <a:pt x="370868" y="160776"/>
                    <a:pt x="371717" y="161837"/>
                    <a:pt x="372608" y="162898"/>
                  </a:cubicBezTo>
                  <a:lnTo>
                    <a:pt x="374772" y="165359"/>
                  </a:lnTo>
                  <a:cubicBezTo>
                    <a:pt x="375875" y="166717"/>
                    <a:pt x="376936" y="168117"/>
                    <a:pt x="377997" y="169603"/>
                  </a:cubicBezTo>
                  <a:lnTo>
                    <a:pt x="379228" y="171258"/>
                  </a:lnTo>
                  <a:cubicBezTo>
                    <a:pt x="380373" y="172785"/>
                    <a:pt x="381477" y="174355"/>
                    <a:pt x="382580" y="175925"/>
                  </a:cubicBezTo>
                  <a:cubicBezTo>
                    <a:pt x="382835" y="176350"/>
                    <a:pt x="383132" y="176731"/>
                    <a:pt x="383386" y="177113"/>
                  </a:cubicBezTo>
                  <a:cubicBezTo>
                    <a:pt x="384532" y="178853"/>
                    <a:pt x="385678" y="180593"/>
                    <a:pt x="386739" y="182333"/>
                  </a:cubicBezTo>
                  <a:lnTo>
                    <a:pt x="387205" y="183097"/>
                  </a:lnTo>
                  <a:cubicBezTo>
                    <a:pt x="388351" y="185006"/>
                    <a:pt x="389454" y="186916"/>
                    <a:pt x="390515" y="188868"/>
                  </a:cubicBezTo>
                  <a:lnTo>
                    <a:pt x="390515" y="188868"/>
                  </a:lnTo>
                  <a:cubicBezTo>
                    <a:pt x="403835" y="213374"/>
                    <a:pt x="409955" y="241148"/>
                    <a:pt x="408168" y="268983"/>
                  </a:cubicBezTo>
                  <a:lnTo>
                    <a:pt x="462483" y="323298"/>
                  </a:lnTo>
                  <a:lnTo>
                    <a:pt x="469103" y="306834"/>
                  </a:lnTo>
                  <a:cubicBezTo>
                    <a:pt x="471352" y="300211"/>
                    <a:pt x="477434" y="295645"/>
                    <a:pt x="484422" y="295334"/>
                  </a:cubicBezTo>
                  <a:lnTo>
                    <a:pt x="506318" y="295334"/>
                  </a:lnTo>
                  <a:cubicBezTo>
                    <a:pt x="512884" y="295288"/>
                    <a:pt x="518195" y="289977"/>
                    <a:pt x="518241" y="283411"/>
                  </a:cubicBezTo>
                  <a:lnTo>
                    <a:pt x="518241" y="233381"/>
                  </a:lnTo>
                  <a:cubicBezTo>
                    <a:pt x="518197" y="226903"/>
                    <a:pt x="513006" y="221637"/>
                    <a:pt x="506530" y="221499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11" name="Gruppieren 310">
            <a:extLst>
              <a:ext uri="{FF2B5EF4-FFF2-40B4-BE49-F238E27FC236}">
                <a16:creationId xmlns:a16="http://schemas.microsoft.com/office/drawing/2014/main" id="{9709E9B8-EEF9-41F0-B205-F806B5A6C2B3}"/>
              </a:ext>
            </a:extLst>
          </p:cNvPr>
          <p:cNvGrpSpPr/>
          <p:nvPr/>
        </p:nvGrpSpPr>
        <p:grpSpPr>
          <a:xfrm>
            <a:off x="8258237" y="3717396"/>
            <a:ext cx="755851" cy="756064"/>
            <a:chOff x="8258237" y="2500034"/>
            <a:chExt cx="755851" cy="756064"/>
          </a:xfrm>
          <a:solidFill>
            <a:schemeClr val="bg1"/>
          </a:solidFill>
        </p:grpSpPr>
        <p:grpSp>
          <p:nvGrpSpPr>
            <p:cNvPr id="312" name="Grafik 91">
              <a:extLst>
                <a:ext uri="{FF2B5EF4-FFF2-40B4-BE49-F238E27FC236}">
                  <a16:creationId xmlns:a16="http://schemas.microsoft.com/office/drawing/2014/main" id="{AF578E48-8E6E-45E5-A39C-7708DEBF7261}"/>
                </a:ext>
              </a:extLst>
            </p:cNvPr>
            <p:cNvGrpSpPr/>
            <p:nvPr/>
          </p:nvGrpSpPr>
          <p:grpSpPr>
            <a:xfrm>
              <a:off x="8258237" y="2500034"/>
              <a:ext cx="755851" cy="756064"/>
              <a:chOff x="8258237" y="2500034"/>
              <a:chExt cx="755851" cy="756064"/>
            </a:xfrm>
            <a:grpFill/>
          </p:grpSpPr>
          <p:sp>
            <p:nvSpPr>
              <p:cNvPr id="317" name="Freihandform: Form 316">
                <a:extLst>
                  <a:ext uri="{FF2B5EF4-FFF2-40B4-BE49-F238E27FC236}">
                    <a16:creationId xmlns:a16="http://schemas.microsoft.com/office/drawing/2014/main" id="{47FEBA31-6F52-4C25-8B8F-B801BB92970B}"/>
                  </a:ext>
                </a:extLst>
              </p:cNvPr>
              <p:cNvSpPr/>
              <p:nvPr/>
            </p:nvSpPr>
            <p:spPr>
              <a:xfrm>
                <a:off x="8258237" y="2500034"/>
                <a:ext cx="683499" cy="466270"/>
              </a:xfrm>
              <a:custGeom>
                <a:avLst/>
                <a:gdLst>
                  <a:gd name="connsiteX0" fmla="*/ 10573 w 683499"/>
                  <a:gd name="connsiteY0" fmla="*/ 466221 h 466270"/>
                  <a:gd name="connsiteX1" fmla="*/ 289109 w 683499"/>
                  <a:gd name="connsiteY1" fmla="*/ 10507 h 466270"/>
                  <a:gd name="connsiteX2" fmla="*/ 683449 w 683499"/>
                  <a:gd name="connsiteY2" fmla="*/ 155944 h 466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99" h="466270">
                    <a:moveTo>
                      <a:pt x="10573" y="466221"/>
                    </a:moveTo>
                    <a:cubicBezTo>
                      <a:pt x="-38354" y="263463"/>
                      <a:pt x="86351" y="59433"/>
                      <a:pt x="289109" y="10507"/>
                    </a:cubicBezTo>
                    <a:cubicBezTo>
                      <a:pt x="437882" y="-25393"/>
                      <a:pt x="593612" y="32042"/>
                      <a:pt x="683449" y="155944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318" name="Freihandform: Form 317">
                <a:extLst>
                  <a:ext uri="{FF2B5EF4-FFF2-40B4-BE49-F238E27FC236}">
                    <a16:creationId xmlns:a16="http://schemas.microsoft.com/office/drawing/2014/main" id="{4EC6BC95-BA1B-47EB-B5FB-F41B29971145}"/>
                  </a:ext>
                </a:extLst>
              </p:cNvPr>
              <p:cNvSpPr/>
              <p:nvPr/>
            </p:nvSpPr>
            <p:spPr>
              <a:xfrm>
                <a:off x="8889628" y="2617539"/>
                <a:ext cx="89068" cy="101502"/>
              </a:xfrm>
              <a:custGeom>
                <a:avLst/>
                <a:gdLst>
                  <a:gd name="connsiteX0" fmla="*/ 0 w 89068"/>
                  <a:gd name="connsiteY0" fmla="*/ 52788 h 101502"/>
                  <a:gd name="connsiteX1" fmla="*/ 89069 w 89068"/>
                  <a:gd name="connsiteY1" fmla="*/ 101502 h 101502"/>
                  <a:gd name="connsiteX2" fmla="*/ 86735 w 89068"/>
                  <a:gd name="connsiteY2" fmla="*/ 0 h 101502"/>
                  <a:gd name="connsiteX3" fmla="*/ 0 w 89068"/>
                  <a:gd name="connsiteY3" fmla="*/ 52788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0" y="52788"/>
                    </a:moveTo>
                    <a:lnTo>
                      <a:pt x="89069" y="101502"/>
                    </a:lnTo>
                    <a:lnTo>
                      <a:pt x="86735" y="0"/>
                    </a:lnTo>
                    <a:lnTo>
                      <a:pt x="0" y="52788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9" name="Freihandform: Form 318">
                <a:extLst>
                  <a:ext uri="{FF2B5EF4-FFF2-40B4-BE49-F238E27FC236}">
                    <a16:creationId xmlns:a16="http://schemas.microsoft.com/office/drawing/2014/main" id="{AEA95BF3-69F0-4DE8-88F9-E37DABF5BE0A}"/>
                  </a:ext>
                </a:extLst>
              </p:cNvPr>
              <p:cNvSpPr/>
              <p:nvPr/>
            </p:nvSpPr>
            <p:spPr>
              <a:xfrm>
                <a:off x="8330645" y="2790415"/>
                <a:ext cx="683443" cy="465683"/>
              </a:xfrm>
              <a:custGeom>
                <a:avLst/>
                <a:gdLst>
                  <a:gd name="connsiteX0" fmla="*/ 672909 w 683443"/>
                  <a:gd name="connsiteY0" fmla="*/ -49 h 465683"/>
                  <a:gd name="connsiteX1" fmla="*/ 393646 w 683443"/>
                  <a:gd name="connsiteY1" fmla="*/ 455220 h 465683"/>
                  <a:gd name="connsiteX2" fmla="*/ -51 w 683443"/>
                  <a:gd name="connsiteY2" fmla="*/ 309719 h 465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43" h="465683">
                    <a:moveTo>
                      <a:pt x="672909" y="-49"/>
                    </a:moveTo>
                    <a:cubicBezTo>
                      <a:pt x="721512" y="202786"/>
                      <a:pt x="596481" y="406617"/>
                      <a:pt x="393646" y="455220"/>
                    </a:cubicBezTo>
                    <a:cubicBezTo>
                      <a:pt x="245063" y="490822"/>
                      <a:pt x="89667" y="433392"/>
                      <a:pt x="-51" y="309719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320" name="Freihandform: Form 319">
                <a:extLst>
                  <a:ext uri="{FF2B5EF4-FFF2-40B4-BE49-F238E27FC236}">
                    <a16:creationId xmlns:a16="http://schemas.microsoft.com/office/drawing/2014/main" id="{1D0CF195-EC1D-4ABB-85B2-9863DE6AB283}"/>
                  </a:ext>
                </a:extLst>
              </p:cNvPr>
              <p:cNvSpPr/>
              <p:nvPr/>
            </p:nvSpPr>
            <p:spPr>
              <a:xfrm>
                <a:off x="8293685" y="3037254"/>
                <a:ext cx="89068" cy="101502"/>
              </a:xfrm>
              <a:custGeom>
                <a:avLst/>
                <a:gdLst>
                  <a:gd name="connsiteX0" fmla="*/ 89069 w 89068"/>
                  <a:gd name="connsiteY0" fmla="*/ 48714 h 101502"/>
                  <a:gd name="connsiteX1" fmla="*/ 0 w 89068"/>
                  <a:gd name="connsiteY1" fmla="*/ 0 h 101502"/>
                  <a:gd name="connsiteX2" fmla="*/ 2334 w 89068"/>
                  <a:gd name="connsiteY2" fmla="*/ 101502 h 101502"/>
                  <a:gd name="connsiteX3" fmla="*/ 89069 w 89068"/>
                  <a:gd name="connsiteY3" fmla="*/ 48714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89069" y="48714"/>
                    </a:moveTo>
                    <a:lnTo>
                      <a:pt x="0" y="0"/>
                    </a:lnTo>
                    <a:lnTo>
                      <a:pt x="2334" y="101502"/>
                    </a:lnTo>
                    <a:lnTo>
                      <a:pt x="89069" y="48714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313" name="Freihandform: Form 312">
              <a:extLst>
                <a:ext uri="{FF2B5EF4-FFF2-40B4-BE49-F238E27FC236}">
                  <a16:creationId xmlns:a16="http://schemas.microsoft.com/office/drawing/2014/main" id="{2A2B0523-BD87-407D-9C57-60C30A493D0F}"/>
                </a:ext>
              </a:extLst>
            </p:cNvPr>
            <p:cNvSpPr/>
            <p:nvPr/>
          </p:nvSpPr>
          <p:spPr>
            <a:xfrm>
              <a:off x="8889628" y="2617539"/>
              <a:ext cx="89068" cy="101502"/>
            </a:xfrm>
            <a:custGeom>
              <a:avLst/>
              <a:gdLst>
                <a:gd name="connsiteX0" fmla="*/ 0 w 89068"/>
                <a:gd name="connsiteY0" fmla="*/ 52788 h 101502"/>
                <a:gd name="connsiteX1" fmla="*/ 89069 w 89068"/>
                <a:gd name="connsiteY1" fmla="*/ 101502 h 101502"/>
                <a:gd name="connsiteX2" fmla="*/ 86735 w 89068"/>
                <a:gd name="connsiteY2" fmla="*/ 0 h 101502"/>
                <a:gd name="connsiteX3" fmla="*/ 0 w 89068"/>
                <a:gd name="connsiteY3" fmla="*/ 52788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0" y="52788"/>
                  </a:moveTo>
                  <a:lnTo>
                    <a:pt x="89069" y="101502"/>
                  </a:lnTo>
                  <a:lnTo>
                    <a:pt x="86735" y="0"/>
                  </a:lnTo>
                  <a:lnTo>
                    <a:pt x="0" y="52788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4" name="Freihandform: Form 313">
              <a:extLst>
                <a:ext uri="{FF2B5EF4-FFF2-40B4-BE49-F238E27FC236}">
                  <a16:creationId xmlns:a16="http://schemas.microsoft.com/office/drawing/2014/main" id="{E1C9A019-BD72-44D4-8C32-7806E422B22A}"/>
                </a:ext>
              </a:extLst>
            </p:cNvPr>
            <p:cNvSpPr/>
            <p:nvPr/>
          </p:nvSpPr>
          <p:spPr>
            <a:xfrm>
              <a:off x="8293685" y="3037254"/>
              <a:ext cx="89068" cy="101502"/>
            </a:xfrm>
            <a:custGeom>
              <a:avLst/>
              <a:gdLst>
                <a:gd name="connsiteX0" fmla="*/ 89069 w 89068"/>
                <a:gd name="connsiteY0" fmla="*/ 48714 h 101502"/>
                <a:gd name="connsiteX1" fmla="*/ 0 w 89068"/>
                <a:gd name="connsiteY1" fmla="*/ 0 h 101502"/>
                <a:gd name="connsiteX2" fmla="*/ 2334 w 89068"/>
                <a:gd name="connsiteY2" fmla="*/ 101502 h 101502"/>
                <a:gd name="connsiteX3" fmla="*/ 89069 w 89068"/>
                <a:gd name="connsiteY3" fmla="*/ 48714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89069" y="48714"/>
                  </a:moveTo>
                  <a:lnTo>
                    <a:pt x="0" y="0"/>
                  </a:lnTo>
                  <a:lnTo>
                    <a:pt x="2334" y="101502"/>
                  </a:lnTo>
                  <a:lnTo>
                    <a:pt x="89069" y="48714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5" name="Freihandform: Form 314">
              <a:extLst>
                <a:ext uri="{FF2B5EF4-FFF2-40B4-BE49-F238E27FC236}">
                  <a16:creationId xmlns:a16="http://schemas.microsoft.com/office/drawing/2014/main" id="{474265D8-E928-44FF-9DA4-09E97266A370}"/>
                </a:ext>
              </a:extLst>
            </p:cNvPr>
            <p:cNvSpPr/>
            <p:nvPr/>
          </p:nvSpPr>
          <p:spPr>
            <a:xfrm>
              <a:off x="8509249" y="2595092"/>
              <a:ext cx="267291" cy="588219"/>
            </a:xfrm>
            <a:custGeom>
              <a:avLst/>
              <a:gdLst>
                <a:gd name="connsiteX0" fmla="*/ 267292 w 267291"/>
                <a:gd name="connsiteY0" fmla="*/ 232750 h 588219"/>
                <a:gd name="connsiteX1" fmla="*/ 138674 w 267291"/>
                <a:gd name="connsiteY1" fmla="*/ 232750 h 588219"/>
                <a:gd name="connsiteX2" fmla="*/ 239370 w 267291"/>
                <a:gd name="connsiteY2" fmla="*/ 0 h 588219"/>
                <a:gd name="connsiteX3" fmla="*/ 99805 w 267291"/>
                <a:gd name="connsiteY3" fmla="*/ 0 h 588219"/>
                <a:gd name="connsiteX4" fmla="*/ 0 w 267291"/>
                <a:gd name="connsiteY4" fmla="*/ 310405 h 588219"/>
                <a:gd name="connsiteX5" fmla="*/ 109946 w 267291"/>
                <a:gd name="connsiteY5" fmla="*/ 310405 h 588219"/>
                <a:gd name="connsiteX6" fmla="*/ 10863 w 267291"/>
                <a:gd name="connsiteY6" fmla="*/ 587414 h 588219"/>
                <a:gd name="connsiteX7" fmla="*/ 11797 w 267291"/>
                <a:gd name="connsiteY7" fmla="*/ 588220 h 588219"/>
                <a:gd name="connsiteX8" fmla="*/ 267292 w 267291"/>
                <a:gd name="connsiteY8" fmla="*/ 232750 h 588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7291" h="588219">
                  <a:moveTo>
                    <a:pt x="267292" y="232750"/>
                  </a:moveTo>
                  <a:lnTo>
                    <a:pt x="138674" y="232750"/>
                  </a:lnTo>
                  <a:lnTo>
                    <a:pt x="239370" y="0"/>
                  </a:lnTo>
                  <a:lnTo>
                    <a:pt x="99805" y="0"/>
                  </a:lnTo>
                  <a:lnTo>
                    <a:pt x="0" y="310405"/>
                  </a:lnTo>
                  <a:lnTo>
                    <a:pt x="109946" y="310405"/>
                  </a:lnTo>
                  <a:lnTo>
                    <a:pt x="10863" y="587414"/>
                  </a:lnTo>
                  <a:lnTo>
                    <a:pt x="11797" y="588220"/>
                  </a:lnTo>
                  <a:lnTo>
                    <a:pt x="267292" y="232750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6" name="Freihandform: Form 315">
              <a:extLst>
                <a:ext uri="{FF2B5EF4-FFF2-40B4-BE49-F238E27FC236}">
                  <a16:creationId xmlns:a16="http://schemas.microsoft.com/office/drawing/2014/main" id="{58F060DA-FF8D-42F8-8FFB-68E5EE0A169C}"/>
                </a:ext>
              </a:extLst>
            </p:cNvPr>
            <p:cNvSpPr/>
            <p:nvPr/>
          </p:nvSpPr>
          <p:spPr>
            <a:xfrm>
              <a:off x="8509249" y="2595092"/>
              <a:ext cx="267291" cy="588219"/>
            </a:xfrm>
            <a:custGeom>
              <a:avLst/>
              <a:gdLst>
                <a:gd name="connsiteX0" fmla="*/ 267292 w 267291"/>
                <a:gd name="connsiteY0" fmla="*/ 232750 h 588219"/>
                <a:gd name="connsiteX1" fmla="*/ 138674 w 267291"/>
                <a:gd name="connsiteY1" fmla="*/ 232750 h 588219"/>
                <a:gd name="connsiteX2" fmla="*/ 239370 w 267291"/>
                <a:gd name="connsiteY2" fmla="*/ 0 h 588219"/>
                <a:gd name="connsiteX3" fmla="*/ 99805 w 267291"/>
                <a:gd name="connsiteY3" fmla="*/ 0 h 588219"/>
                <a:gd name="connsiteX4" fmla="*/ 0 w 267291"/>
                <a:gd name="connsiteY4" fmla="*/ 310405 h 588219"/>
                <a:gd name="connsiteX5" fmla="*/ 109946 w 267291"/>
                <a:gd name="connsiteY5" fmla="*/ 310405 h 588219"/>
                <a:gd name="connsiteX6" fmla="*/ 10863 w 267291"/>
                <a:gd name="connsiteY6" fmla="*/ 587414 h 588219"/>
                <a:gd name="connsiteX7" fmla="*/ 11797 w 267291"/>
                <a:gd name="connsiteY7" fmla="*/ 588220 h 588219"/>
                <a:gd name="connsiteX8" fmla="*/ 267292 w 267291"/>
                <a:gd name="connsiteY8" fmla="*/ 232750 h 588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7291" h="588219">
                  <a:moveTo>
                    <a:pt x="267292" y="232750"/>
                  </a:moveTo>
                  <a:lnTo>
                    <a:pt x="138674" y="232750"/>
                  </a:lnTo>
                  <a:lnTo>
                    <a:pt x="239370" y="0"/>
                  </a:lnTo>
                  <a:lnTo>
                    <a:pt x="99805" y="0"/>
                  </a:lnTo>
                  <a:lnTo>
                    <a:pt x="0" y="310405"/>
                  </a:lnTo>
                  <a:lnTo>
                    <a:pt x="109946" y="310405"/>
                  </a:lnTo>
                  <a:lnTo>
                    <a:pt x="10863" y="587414"/>
                  </a:lnTo>
                  <a:lnTo>
                    <a:pt x="11797" y="588220"/>
                  </a:lnTo>
                  <a:lnTo>
                    <a:pt x="267292" y="232750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21" name="Gruppieren 320">
            <a:extLst>
              <a:ext uri="{FF2B5EF4-FFF2-40B4-BE49-F238E27FC236}">
                <a16:creationId xmlns:a16="http://schemas.microsoft.com/office/drawing/2014/main" id="{1A399FDB-10E2-4A25-A405-BA361530DDDC}"/>
              </a:ext>
            </a:extLst>
          </p:cNvPr>
          <p:cNvGrpSpPr/>
          <p:nvPr/>
        </p:nvGrpSpPr>
        <p:grpSpPr>
          <a:xfrm>
            <a:off x="10796447" y="3717396"/>
            <a:ext cx="755851" cy="756064"/>
            <a:chOff x="10796447" y="2500034"/>
            <a:chExt cx="755851" cy="756064"/>
          </a:xfrm>
          <a:solidFill>
            <a:schemeClr val="bg1"/>
          </a:solidFill>
        </p:grpSpPr>
        <p:grpSp>
          <p:nvGrpSpPr>
            <p:cNvPr id="322" name="Grafik 96">
              <a:extLst>
                <a:ext uri="{FF2B5EF4-FFF2-40B4-BE49-F238E27FC236}">
                  <a16:creationId xmlns:a16="http://schemas.microsoft.com/office/drawing/2014/main" id="{FA2A6D84-3631-4309-A55C-C38EF323639A}"/>
                </a:ext>
              </a:extLst>
            </p:cNvPr>
            <p:cNvGrpSpPr/>
            <p:nvPr/>
          </p:nvGrpSpPr>
          <p:grpSpPr>
            <a:xfrm>
              <a:off x="10796447" y="2500034"/>
              <a:ext cx="755851" cy="756064"/>
              <a:chOff x="10796447" y="2500034"/>
              <a:chExt cx="755851" cy="756064"/>
            </a:xfrm>
            <a:grpFill/>
          </p:grpSpPr>
          <p:sp>
            <p:nvSpPr>
              <p:cNvPr id="330" name="Freihandform: Form 329">
                <a:extLst>
                  <a:ext uri="{FF2B5EF4-FFF2-40B4-BE49-F238E27FC236}">
                    <a16:creationId xmlns:a16="http://schemas.microsoft.com/office/drawing/2014/main" id="{46639398-E228-4A1E-BEC2-C40169D8FEB8}"/>
                  </a:ext>
                </a:extLst>
              </p:cNvPr>
              <p:cNvSpPr/>
              <p:nvPr/>
            </p:nvSpPr>
            <p:spPr>
              <a:xfrm>
                <a:off x="10796447" y="2500034"/>
                <a:ext cx="683499" cy="466270"/>
              </a:xfrm>
              <a:custGeom>
                <a:avLst/>
                <a:gdLst>
                  <a:gd name="connsiteX0" fmla="*/ 10573 w 683499"/>
                  <a:gd name="connsiteY0" fmla="*/ 466221 h 466270"/>
                  <a:gd name="connsiteX1" fmla="*/ 289109 w 683499"/>
                  <a:gd name="connsiteY1" fmla="*/ 10507 h 466270"/>
                  <a:gd name="connsiteX2" fmla="*/ 683449 w 683499"/>
                  <a:gd name="connsiteY2" fmla="*/ 155944 h 466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99" h="466270">
                    <a:moveTo>
                      <a:pt x="10573" y="466221"/>
                    </a:moveTo>
                    <a:cubicBezTo>
                      <a:pt x="-38354" y="263463"/>
                      <a:pt x="86351" y="59433"/>
                      <a:pt x="289109" y="10507"/>
                    </a:cubicBezTo>
                    <a:cubicBezTo>
                      <a:pt x="437882" y="-25393"/>
                      <a:pt x="593612" y="32042"/>
                      <a:pt x="683449" y="155944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331" name="Freihandform: Form 330">
                <a:extLst>
                  <a:ext uri="{FF2B5EF4-FFF2-40B4-BE49-F238E27FC236}">
                    <a16:creationId xmlns:a16="http://schemas.microsoft.com/office/drawing/2014/main" id="{798AEC4A-9C59-47B3-826E-148BCE5EC255}"/>
                  </a:ext>
                </a:extLst>
              </p:cNvPr>
              <p:cNvSpPr/>
              <p:nvPr/>
            </p:nvSpPr>
            <p:spPr>
              <a:xfrm>
                <a:off x="11427838" y="2617539"/>
                <a:ext cx="89068" cy="101502"/>
              </a:xfrm>
              <a:custGeom>
                <a:avLst/>
                <a:gdLst>
                  <a:gd name="connsiteX0" fmla="*/ 0 w 89068"/>
                  <a:gd name="connsiteY0" fmla="*/ 52788 h 101502"/>
                  <a:gd name="connsiteX1" fmla="*/ 89069 w 89068"/>
                  <a:gd name="connsiteY1" fmla="*/ 101502 h 101502"/>
                  <a:gd name="connsiteX2" fmla="*/ 86735 w 89068"/>
                  <a:gd name="connsiteY2" fmla="*/ 0 h 101502"/>
                  <a:gd name="connsiteX3" fmla="*/ 0 w 89068"/>
                  <a:gd name="connsiteY3" fmla="*/ 52788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0" y="52788"/>
                    </a:moveTo>
                    <a:lnTo>
                      <a:pt x="89069" y="101502"/>
                    </a:lnTo>
                    <a:lnTo>
                      <a:pt x="86735" y="0"/>
                    </a:lnTo>
                    <a:lnTo>
                      <a:pt x="0" y="52788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2" name="Freihandform: Form 331">
                <a:extLst>
                  <a:ext uri="{FF2B5EF4-FFF2-40B4-BE49-F238E27FC236}">
                    <a16:creationId xmlns:a16="http://schemas.microsoft.com/office/drawing/2014/main" id="{791A550B-7046-43D9-8A3D-A52E0EF07687}"/>
                  </a:ext>
                </a:extLst>
              </p:cNvPr>
              <p:cNvSpPr/>
              <p:nvPr/>
            </p:nvSpPr>
            <p:spPr>
              <a:xfrm>
                <a:off x="10868855" y="2790415"/>
                <a:ext cx="683443" cy="465683"/>
              </a:xfrm>
              <a:custGeom>
                <a:avLst/>
                <a:gdLst>
                  <a:gd name="connsiteX0" fmla="*/ 672909 w 683443"/>
                  <a:gd name="connsiteY0" fmla="*/ -49 h 465683"/>
                  <a:gd name="connsiteX1" fmla="*/ 393646 w 683443"/>
                  <a:gd name="connsiteY1" fmla="*/ 455220 h 465683"/>
                  <a:gd name="connsiteX2" fmla="*/ -51 w 683443"/>
                  <a:gd name="connsiteY2" fmla="*/ 309719 h 465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43" h="465683">
                    <a:moveTo>
                      <a:pt x="672909" y="-49"/>
                    </a:moveTo>
                    <a:cubicBezTo>
                      <a:pt x="721512" y="202786"/>
                      <a:pt x="596481" y="406617"/>
                      <a:pt x="393646" y="455220"/>
                    </a:cubicBezTo>
                    <a:cubicBezTo>
                      <a:pt x="245063" y="490822"/>
                      <a:pt x="89667" y="433392"/>
                      <a:pt x="-51" y="309719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333" name="Freihandform: Form 332">
                <a:extLst>
                  <a:ext uri="{FF2B5EF4-FFF2-40B4-BE49-F238E27FC236}">
                    <a16:creationId xmlns:a16="http://schemas.microsoft.com/office/drawing/2014/main" id="{6D68F28E-CEDC-4673-BBDE-2D8BFA413500}"/>
                  </a:ext>
                </a:extLst>
              </p:cNvPr>
              <p:cNvSpPr/>
              <p:nvPr/>
            </p:nvSpPr>
            <p:spPr>
              <a:xfrm>
                <a:off x="10831895" y="3037254"/>
                <a:ext cx="89068" cy="101502"/>
              </a:xfrm>
              <a:custGeom>
                <a:avLst/>
                <a:gdLst>
                  <a:gd name="connsiteX0" fmla="*/ 89069 w 89068"/>
                  <a:gd name="connsiteY0" fmla="*/ 48714 h 101502"/>
                  <a:gd name="connsiteX1" fmla="*/ 0 w 89068"/>
                  <a:gd name="connsiteY1" fmla="*/ 0 h 101502"/>
                  <a:gd name="connsiteX2" fmla="*/ 2334 w 89068"/>
                  <a:gd name="connsiteY2" fmla="*/ 101502 h 101502"/>
                  <a:gd name="connsiteX3" fmla="*/ 89069 w 89068"/>
                  <a:gd name="connsiteY3" fmla="*/ 48714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89069" y="48714"/>
                    </a:moveTo>
                    <a:lnTo>
                      <a:pt x="0" y="0"/>
                    </a:lnTo>
                    <a:lnTo>
                      <a:pt x="2334" y="101502"/>
                    </a:lnTo>
                    <a:lnTo>
                      <a:pt x="89069" y="48714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323" name="Freihandform: Form 322">
              <a:extLst>
                <a:ext uri="{FF2B5EF4-FFF2-40B4-BE49-F238E27FC236}">
                  <a16:creationId xmlns:a16="http://schemas.microsoft.com/office/drawing/2014/main" id="{7D19DB74-D214-44EA-8710-BF0EBDA863AF}"/>
                </a:ext>
              </a:extLst>
            </p:cNvPr>
            <p:cNvSpPr/>
            <p:nvPr/>
          </p:nvSpPr>
          <p:spPr>
            <a:xfrm>
              <a:off x="11222754" y="2914917"/>
              <a:ext cx="37991" cy="59831"/>
            </a:xfrm>
            <a:custGeom>
              <a:avLst/>
              <a:gdLst>
                <a:gd name="connsiteX0" fmla="*/ 32156 w 37991"/>
                <a:gd name="connsiteY0" fmla="*/ 59783 h 59831"/>
                <a:gd name="connsiteX1" fmla="*/ 37927 w 37991"/>
                <a:gd name="connsiteY1" fmla="*/ 37250 h 59831"/>
                <a:gd name="connsiteX2" fmla="*/ 36357 w 37991"/>
                <a:gd name="connsiteY2" fmla="*/ 31607 h 59831"/>
                <a:gd name="connsiteX3" fmla="*/ 15946 w 37991"/>
                <a:gd name="connsiteY3" fmla="*/ -49 h 59831"/>
                <a:gd name="connsiteX4" fmla="*/ -51 w 37991"/>
                <a:gd name="connsiteY4" fmla="*/ 22738 h 59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91" h="59831">
                  <a:moveTo>
                    <a:pt x="32156" y="59783"/>
                  </a:moveTo>
                  <a:cubicBezTo>
                    <a:pt x="32156" y="59783"/>
                    <a:pt x="36951" y="43828"/>
                    <a:pt x="37927" y="37250"/>
                  </a:cubicBezTo>
                  <a:cubicBezTo>
                    <a:pt x="38035" y="35248"/>
                    <a:pt x="37484" y="33265"/>
                    <a:pt x="36357" y="31607"/>
                  </a:cubicBezTo>
                  <a:cubicBezTo>
                    <a:pt x="29596" y="20998"/>
                    <a:pt x="22792" y="10446"/>
                    <a:pt x="15946" y="-49"/>
                  </a:cubicBezTo>
                  <a:lnTo>
                    <a:pt x="-51" y="22738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4" name="Freihandform: Form 323">
              <a:extLst>
                <a:ext uri="{FF2B5EF4-FFF2-40B4-BE49-F238E27FC236}">
                  <a16:creationId xmlns:a16="http://schemas.microsoft.com/office/drawing/2014/main" id="{9DFA6D38-97D7-4D0D-AAE1-3129FD4FC1DE}"/>
                </a:ext>
              </a:extLst>
            </p:cNvPr>
            <p:cNvSpPr/>
            <p:nvPr/>
          </p:nvSpPr>
          <p:spPr>
            <a:xfrm>
              <a:off x="11292401" y="2777515"/>
              <a:ext cx="166710" cy="197445"/>
            </a:xfrm>
            <a:custGeom>
              <a:avLst/>
              <a:gdLst>
                <a:gd name="connsiteX0" fmla="*/ 164367 w 166710"/>
                <a:gd name="connsiteY0" fmla="*/ 154453 h 197445"/>
                <a:gd name="connsiteX1" fmla="*/ 157366 w 166710"/>
                <a:gd name="connsiteY1" fmla="*/ 145287 h 197445"/>
                <a:gd name="connsiteX2" fmla="*/ 132542 w 166710"/>
                <a:gd name="connsiteY2" fmla="*/ 114056 h 197445"/>
                <a:gd name="connsiteX3" fmla="*/ 88580 w 166710"/>
                <a:gd name="connsiteY3" fmla="*/ 57576 h 197445"/>
                <a:gd name="connsiteX4" fmla="*/ 51620 w 166710"/>
                <a:gd name="connsiteY4" fmla="*/ 10220 h 197445"/>
                <a:gd name="connsiteX5" fmla="*/ 42836 w 166710"/>
                <a:gd name="connsiteY5" fmla="*/ -49 h 197445"/>
                <a:gd name="connsiteX6" fmla="*/ 39187 w 166710"/>
                <a:gd name="connsiteY6" fmla="*/ 4194 h 197445"/>
                <a:gd name="connsiteX7" fmla="*/ 2354 w 166710"/>
                <a:gd name="connsiteY7" fmla="*/ 56940 h 197445"/>
                <a:gd name="connsiteX8" fmla="*/ 3458 w 166710"/>
                <a:gd name="connsiteY8" fmla="*/ 65427 h 197445"/>
                <a:gd name="connsiteX9" fmla="*/ 73262 w 166710"/>
                <a:gd name="connsiteY9" fmla="*/ 122500 h 197445"/>
                <a:gd name="connsiteX10" fmla="*/ 161779 w 166710"/>
                <a:gd name="connsiteY10" fmla="*/ 194638 h 197445"/>
                <a:gd name="connsiteX11" fmla="*/ 165089 w 166710"/>
                <a:gd name="connsiteY11" fmla="*/ 197396 h 197445"/>
                <a:gd name="connsiteX12" fmla="*/ 165513 w 166710"/>
                <a:gd name="connsiteY12" fmla="*/ 191371 h 197445"/>
                <a:gd name="connsiteX13" fmla="*/ 166659 w 166710"/>
                <a:gd name="connsiteY13" fmla="*/ 160945 h 197445"/>
                <a:gd name="connsiteX14" fmla="*/ 164367 w 166710"/>
                <a:gd name="connsiteY14" fmla="*/ 154453 h 197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66710" h="197445">
                  <a:moveTo>
                    <a:pt x="164367" y="154453"/>
                  </a:moveTo>
                  <a:cubicBezTo>
                    <a:pt x="162193" y="151279"/>
                    <a:pt x="159856" y="148219"/>
                    <a:pt x="157366" y="145287"/>
                  </a:cubicBezTo>
                  <a:cubicBezTo>
                    <a:pt x="149091" y="134891"/>
                    <a:pt x="140732" y="124537"/>
                    <a:pt x="132542" y="114056"/>
                  </a:cubicBezTo>
                  <a:cubicBezTo>
                    <a:pt x="117860" y="95258"/>
                    <a:pt x="103262" y="76417"/>
                    <a:pt x="88580" y="57576"/>
                  </a:cubicBezTo>
                  <a:cubicBezTo>
                    <a:pt x="76274" y="41791"/>
                    <a:pt x="64011" y="25963"/>
                    <a:pt x="51620" y="10220"/>
                  </a:cubicBezTo>
                  <a:cubicBezTo>
                    <a:pt x="48989" y="6825"/>
                    <a:pt x="46019" y="3643"/>
                    <a:pt x="42836" y="-49"/>
                  </a:cubicBezTo>
                  <a:cubicBezTo>
                    <a:pt x="41547" y="1301"/>
                    <a:pt x="40329" y="2717"/>
                    <a:pt x="39187" y="4194"/>
                  </a:cubicBezTo>
                  <a:cubicBezTo>
                    <a:pt x="26881" y="21762"/>
                    <a:pt x="14660" y="39372"/>
                    <a:pt x="2354" y="56940"/>
                  </a:cubicBezTo>
                  <a:cubicBezTo>
                    <a:pt x="-998" y="61692"/>
                    <a:pt x="-1040" y="61947"/>
                    <a:pt x="3458" y="65427"/>
                  </a:cubicBezTo>
                  <a:lnTo>
                    <a:pt x="73262" y="122500"/>
                  </a:lnTo>
                  <a:cubicBezTo>
                    <a:pt x="102767" y="146631"/>
                    <a:pt x="132273" y="170677"/>
                    <a:pt x="161779" y="194638"/>
                  </a:cubicBezTo>
                  <a:cubicBezTo>
                    <a:pt x="162797" y="195487"/>
                    <a:pt x="163391" y="195826"/>
                    <a:pt x="165089" y="197396"/>
                  </a:cubicBezTo>
                  <a:cubicBezTo>
                    <a:pt x="165089" y="195105"/>
                    <a:pt x="165386" y="192941"/>
                    <a:pt x="165513" y="191371"/>
                  </a:cubicBezTo>
                  <a:cubicBezTo>
                    <a:pt x="166234" y="180635"/>
                    <a:pt x="166532" y="172360"/>
                    <a:pt x="166659" y="160945"/>
                  </a:cubicBezTo>
                  <a:cubicBezTo>
                    <a:pt x="166449" y="158624"/>
                    <a:pt x="165661" y="156392"/>
                    <a:pt x="164367" y="154453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5" name="Freihandform: Form 324">
              <a:extLst>
                <a:ext uri="{FF2B5EF4-FFF2-40B4-BE49-F238E27FC236}">
                  <a16:creationId xmlns:a16="http://schemas.microsoft.com/office/drawing/2014/main" id="{91C4E033-0E5B-4A93-BCD8-D6BC7C17D9C9}"/>
                </a:ext>
              </a:extLst>
            </p:cNvPr>
            <p:cNvSpPr/>
            <p:nvPr/>
          </p:nvSpPr>
          <p:spPr>
            <a:xfrm>
              <a:off x="10871486" y="2838154"/>
              <a:ext cx="108461" cy="98192"/>
            </a:xfrm>
            <a:custGeom>
              <a:avLst/>
              <a:gdLst>
                <a:gd name="connsiteX0" fmla="*/ 6908 w 108461"/>
                <a:gd name="connsiteY0" fmla="*/ 80193 h 98192"/>
                <a:gd name="connsiteX1" fmla="*/ 49342 w 108461"/>
                <a:gd name="connsiteY1" fmla="*/ 98143 h 98192"/>
                <a:gd name="connsiteX2" fmla="*/ 108410 w 108461"/>
                <a:gd name="connsiteY2" fmla="*/ -49 h 98192"/>
                <a:gd name="connsiteX3" fmla="*/ 64406 w 108461"/>
                <a:gd name="connsiteY3" fmla="*/ 24563 h 98192"/>
                <a:gd name="connsiteX4" fmla="*/ 4234 w 108461"/>
                <a:gd name="connsiteY4" fmla="*/ 64790 h 98192"/>
                <a:gd name="connsiteX5" fmla="*/ 6908 w 108461"/>
                <a:gd name="connsiteY5" fmla="*/ 80193 h 98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8461" h="98192">
                  <a:moveTo>
                    <a:pt x="6908" y="80193"/>
                  </a:moveTo>
                  <a:cubicBezTo>
                    <a:pt x="20996" y="86431"/>
                    <a:pt x="35254" y="92160"/>
                    <a:pt x="49342" y="98143"/>
                  </a:cubicBezTo>
                  <a:lnTo>
                    <a:pt x="108410" y="-49"/>
                  </a:lnTo>
                  <a:cubicBezTo>
                    <a:pt x="94392" y="9267"/>
                    <a:pt x="79681" y="17495"/>
                    <a:pt x="64406" y="24563"/>
                  </a:cubicBezTo>
                  <a:cubicBezTo>
                    <a:pt x="42298" y="34874"/>
                    <a:pt x="21123" y="46543"/>
                    <a:pt x="4234" y="64790"/>
                  </a:cubicBezTo>
                  <a:cubicBezTo>
                    <a:pt x="-1961" y="71537"/>
                    <a:pt x="-1749" y="76374"/>
                    <a:pt x="6908" y="80193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6" name="Freihandform: Form 325">
              <a:extLst>
                <a:ext uri="{FF2B5EF4-FFF2-40B4-BE49-F238E27FC236}">
                  <a16:creationId xmlns:a16="http://schemas.microsoft.com/office/drawing/2014/main" id="{0A115269-285A-4478-996A-395D080AB98E}"/>
                </a:ext>
              </a:extLst>
            </p:cNvPr>
            <p:cNvSpPr/>
            <p:nvPr/>
          </p:nvSpPr>
          <p:spPr>
            <a:xfrm>
              <a:off x="10963228" y="2894845"/>
              <a:ext cx="84867" cy="120371"/>
            </a:xfrm>
            <a:custGeom>
              <a:avLst/>
              <a:gdLst>
                <a:gd name="connsiteX0" fmla="*/ 24603 w 84867"/>
                <a:gd name="connsiteY0" fmla="*/ 113462 h 120371"/>
                <a:gd name="connsiteX1" fmla="*/ 45480 w 84867"/>
                <a:gd name="connsiteY1" fmla="*/ 109430 h 120371"/>
                <a:gd name="connsiteX2" fmla="*/ 59187 w 84867"/>
                <a:gd name="connsiteY2" fmla="*/ 81297 h 120371"/>
                <a:gd name="connsiteX3" fmla="*/ 74845 w 84867"/>
                <a:gd name="connsiteY3" fmla="*/ 28933 h 120371"/>
                <a:gd name="connsiteX4" fmla="*/ 84817 w 84867"/>
                <a:gd name="connsiteY4" fmla="*/ -49 h 120371"/>
                <a:gd name="connsiteX5" fmla="*/ -51 w 84867"/>
                <a:gd name="connsiteY5" fmla="*/ 76332 h 120371"/>
                <a:gd name="connsiteX6" fmla="*/ 24603 w 84867"/>
                <a:gd name="connsiteY6" fmla="*/ 113462 h 120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4867" h="120371">
                  <a:moveTo>
                    <a:pt x="24603" y="113462"/>
                  </a:moveTo>
                  <a:cubicBezTo>
                    <a:pt x="31520" y="123349"/>
                    <a:pt x="34660" y="123009"/>
                    <a:pt x="45480" y="109430"/>
                  </a:cubicBezTo>
                  <a:cubicBezTo>
                    <a:pt x="50809" y="100442"/>
                    <a:pt x="55393" y="91033"/>
                    <a:pt x="59187" y="81297"/>
                  </a:cubicBezTo>
                  <a:cubicBezTo>
                    <a:pt x="65849" y="64323"/>
                    <a:pt x="69753" y="46416"/>
                    <a:pt x="74845" y="28933"/>
                  </a:cubicBezTo>
                  <a:cubicBezTo>
                    <a:pt x="77730" y="19089"/>
                    <a:pt x="80998" y="9371"/>
                    <a:pt x="84817" y="-49"/>
                  </a:cubicBezTo>
                  <a:lnTo>
                    <a:pt x="-51" y="76332"/>
                  </a:lnTo>
                  <a:cubicBezTo>
                    <a:pt x="8138" y="88638"/>
                    <a:pt x="16074" y="101368"/>
                    <a:pt x="24603" y="113462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7" name="Freihandform: Form 326">
              <a:extLst>
                <a:ext uri="{FF2B5EF4-FFF2-40B4-BE49-F238E27FC236}">
                  <a16:creationId xmlns:a16="http://schemas.microsoft.com/office/drawing/2014/main" id="{22B43A87-79F3-469D-93EC-44F7BD93505D}"/>
                </a:ext>
              </a:extLst>
            </p:cNvPr>
            <p:cNvSpPr/>
            <p:nvPr/>
          </p:nvSpPr>
          <p:spPr>
            <a:xfrm>
              <a:off x="11066342" y="2652585"/>
              <a:ext cx="319704" cy="270520"/>
            </a:xfrm>
            <a:custGeom>
              <a:avLst/>
              <a:gdLst>
                <a:gd name="connsiteX0" fmla="*/ 318501 w 319704"/>
                <a:gd name="connsiteY0" fmla="*/ 1186 h 270520"/>
                <a:gd name="connsiteX1" fmla="*/ 312348 w 319704"/>
                <a:gd name="connsiteY1" fmla="*/ 422 h 270520"/>
                <a:gd name="connsiteX2" fmla="*/ 308444 w 319704"/>
                <a:gd name="connsiteY2" fmla="*/ 2544 h 270520"/>
                <a:gd name="connsiteX3" fmla="*/ 294780 w 319704"/>
                <a:gd name="connsiteY3" fmla="*/ 14807 h 270520"/>
                <a:gd name="connsiteX4" fmla="*/ 239107 w 319704"/>
                <a:gd name="connsiteY4" fmla="*/ 81853 h 270520"/>
                <a:gd name="connsiteX5" fmla="*/ 224424 w 319704"/>
                <a:gd name="connsiteY5" fmla="*/ 86096 h 270520"/>
                <a:gd name="connsiteX6" fmla="*/ 74505 w 319704"/>
                <a:gd name="connsiteY6" fmla="*/ 36024 h 270520"/>
                <a:gd name="connsiteX7" fmla="*/ 42552 w 319704"/>
                <a:gd name="connsiteY7" fmla="*/ 24864 h 270520"/>
                <a:gd name="connsiteX8" fmla="*/ 34575 w 319704"/>
                <a:gd name="connsiteY8" fmla="*/ 24143 h 270520"/>
                <a:gd name="connsiteX9" fmla="*/ 8436 w 319704"/>
                <a:gd name="connsiteY9" fmla="*/ 33648 h 270520"/>
                <a:gd name="connsiteX10" fmla="*/ -51 w 319704"/>
                <a:gd name="connsiteY10" fmla="*/ 37255 h 270520"/>
                <a:gd name="connsiteX11" fmla="*/ 3938 w 319704"/>
                <a:gd name="connsiteY11" fmla="*/ 39886 h 270520"/>
                <a:gd name="connsiteX12" fmla="*/ 32326 w 319704"/>
                <a:gd name="connsiteY12" fmla="*/ 57156 h 270520"/>
                <a:gd name="connsiteX13" fmla="*/ 110447 w 319704"/>
                <a:gd name="connsiteY13" fmla="*/ 104555 h 270520"/>
                <a:gd name="connsiteX14" fmla="*/ 150123 w 319704"/>
                <a:gd name="connsiteY14" fmla="*/ 128445 h 270520"/>
                <a:gd name="connsiteX15" fmla="*/ 180166 w 319704"/>
                <a:gd name="connsiteY15" fmla="*/ 146692 h 270520"/>
                <a:gd name="connsiteX16" fmla="*/ 182288 w 319704"/>
                <a:gd name="connsiteY16" fmla="*/ 153057 h 270520"/>
                <a:gd name="connsiteX17" fmla="*/ 181566 w 319704"/>
                <a:gd name="connsiteY17" fmla="*/ 154160 h 270520"/>
                <a:gd name="connsiteX18" fmla="*/ 161537 w 319704"/>
                <a:gd name="connsiteY18" fmla="*/ 182506 h 270520"/>
                <a:gd name="connsiteX19" fmla="*/ 127972 w 319704"/>
                <a:gd name="connsiteY19" fmla="*/ 226001 h 270520"/>
                <a:gd name="connsiteX20" fmla="*/ 73784 w 319704"/>
                <a:gd name="connsiteY20" fmla="*/ 214289 h 270520"/>
                <a:gd name="connsiteX21" fmla="*/ 67546 w 319704"/>
                <a:gd name="connsiteY21" fmla="*/ 214841 h 270520"/>
                <a:gd name="connsiteX22" fmla="*/ 48536 w 319704"/>
                <a:gd name="connsiteY22" fmla="*/ 226510 h 270520"/>
                <a:gd name="connsiteX23" fmla="*/ 106925 w 319704"/>
                <a:gd name="connsiteY23" fmla="*/ 253498 h 270520"/>
                <a:gd name="connsiteX24" fmla="*/ 144182 w 319704"/>
                <a:gd name="connsiteY24" fmla="*/ 270472 h 270520"/>
                <a:gd name="connsiteX25" fmla="*/ 162853 w 319704"/>
                <a:gd name="connsiteY25" fmla="*/ 245605 h 270520"/>
                <a:gd name="connsiteX26" fmla="*/ 202571 w 319704"/>
                <a:gd name="connsiteY26" fmla="*/ 187344 h 270520"/>
                <a:gd name="connsiteX27" fmla="*/ 249248 w 319704"/>
                <a:gd name="connsiteY27" fmla="*/ 118431 h 270520"/>
                <a:gd name="connsiteX28" fmla="*/ 301994 w 319704"/>
                <a:gd name="connsiteY28" fmla="*/ 42050 h 270520"/>
                <a:gd name="connsiteX29" fmla="*/ 309547 w 319704"/>
                <a:gd name="connsiteY29" fmla="*/ 30550 h 270520"/>
                <a:gd name="connsiteX30" fmla="*/ 319222 w 319704"/>
                <a:gd name="connsiteY30" fmla="*/ 9036 h 270520"/>
                <a:gd name="connsiteX31" fmla="*/ 318501 w 319704"/>
                <a:gd name="connsiteY31" fmla="*/ 1186 h 270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19704" h="270520">
                  <a:moveTo>
                    <a:pt x="318501" y="1186"/>
                  </a:moveTo>
                  <a:cubicBezTo>
                    <a:pt x="317737" y="-172"/>
                    <a:pt x="315488" y="-384"/>
                    <a:pt x="312348" y="422"/>
                  </a:cubicBezTo>
                  <a:cubicBezTo>
                    <a:pt x="310946" y="926"/>
                    <a:pt x="309629" y="1641"/>
                    <a:pt x="308444" y="2544"/>
                  </a:cubicBezTo>
                  <a:cubicBezTo>
                    <a:pt x="303334" y="5967"/>
                    <a:pt x="298734" y="10095"/>
                    <a:pt x="294780" y="14807"/>
                  </a:cubicBezTo>
                  <a:cubicBezTo>
                    <a:pt x="276024" y="37000"/>
                    <a:pt x="257565" y="59448"/>
                    <a:pt x="239107" y="81853"/>
                  </a:cubicBezTo>
                  <a:cubicBezTo>
                    <a:pt x="233845" y="88218"/>
                    <a:pt x="232190" y="88770"/>
                    <a:pt x="224424" y="86096"/>
                  </a:cubicBezTo>
                  <a:cubicBezTo>
                    <a:pt x="219332" y="84229"/>
                    <a:pt x="87787" y="40480"/>
                    <a:pt x="74505" y="36024"/>
                  </a:cubicBezTo>
                  <a:cubicBezTo>
                    <a:pt x="63812" y="32417"/>
                    <a:pt x="53288" y="28428"/>
                    <a:pt x="42552" y="24864"/>
                  </a:cubicBezTo>
                  <a:cubicBezTo>
                    <a:pt x="40020" y="23854"/>
                    <a:pt x="37248" y="23604"/>
                    <a:pt x="34575" y="24143"/>
                  </a:cubicBezTo>
                  <a:cubicBezTo>
                    <a:pt x="25579" y="26943"/>
                    <a:pt x="17601" y="29998"/>
                    <a:pt x="8436" y="33648"/>
                  </a:cubicBezTo>
                  <a:cubicBezTo>
                    <a:pt x="6017" y="34624"/>
                    <a:pt x="3004" y="35982"/>
                    <a:pt x="-51" y="37255"/>
                  </a:cubicBezTo>
                  <a:cubicBezTo>
                    <a:pt x="2283" y="38825"/>
                    <a:pt x="2707" y="39164"/>
                    <a:pt x="3938" y="39886"/>
                  </a:cubicBezTo>
                  <a:lnTo>
                    <a:pt x="32326" y="57156"/>
                  </a:lnTo>
                  <a:lnTo>
                    <a:pt x="110447" y="104555"/>
                  </a:lnTo>
                  <a:lnTo>
                    <a:pt x="150123" y="128445"/>
                  </a:lnTo>
                  <a:cubicBezTo>
                    <a:pt x="160137" y="134513"/>
                    <a:pt x="170194" y="140539"/>
                    <a:pt x="180166" y="146692"/>
                  </a:cubicBezTo>
                  <a:cubicBezTo>
                    <a:pt x="183688" y="148856"/>
                    <a:pt x="184155" y="150087"/>
                    <a:pt x="182288" y="153057"/>
                  </a:cubicBezTo>
                  <a:lnTo>
                    <a:pt x="181566" y="154160"/>
                  </a:lnTo>
                  <a:cubicBezTo>
                    <a:pt x="174862" y="163581"/>
                    <a:pt x="161537" y="182506"/>
                    <a:pt x="161537" y="182506"/>
                  </a:cubicBezTo>
                  <a:lnTo>
                    <a:pt x="127972" y="226001"/>
                  </a:lnTo>
                  <a:cubicBezTo>
                    <a:pt x="109895" y="222097"/>
                    <a:pt x="91861" y="218108"/>
                    <a:pt x="73784" y="214289"/>
                  </a:cubicBezTo>
                  <a:cubicBezTo>
                    <a:pt x="71701" y="213780"/>
                    <a:pt x="69507" y="213974"/>
                    <a:pt x="67546" y="214841"/>
                  </a:cubicBezTo>
                  <a:cubicBezTo>
                    <a:pt x="61308" y="218363"/>
                    <a:pt x="55325" y="222309"/>
                    <a:pt x="48536" y="226510"/>
                  </a:cubicBezTo>
                  <a:cubicBezTo>
                    <a:pt x="49936" y="227656"/>
                    <a:pt x="80658" y="241617"/>
                    <a:pt x="106925" y="253498"/>
                  </a:cubicBezTo>
                  <a:cubicBezTo>
                    <a:pt x="126826" y="262494"/>
                    <a:pt x="144182" y="270472"/>
                    <a:pt x="144182" y="270472"/>
                  </a:cubicBezTo>
                  <a:cubicBezTo>
                    <a:pt x="144182" y="270472"/>
                    <a:pt x="162259" y="246454"/>
                    <a:pt x="162853" y="245605"/>
                  </a:cubicBezTo>
                  <a:cubicBezTo>
                    <a:pt x="176177" y="226256"/>
                    <a:pt x="189374" y="206778"/>
                    <a:pt x="202571" y="187344"/>
                  </a:cubicBezTo>
                  <a:cubicBezTo>
                    <a:pt x="218187" y="164387"/>
                    <a:pt x="233675" y="141345"/>
                    <a:pt x="249248" y="118431"/>
                  </a:cubicBezTo>
                  <a:cubicBezTo>
                    <a:pt x="266731" y="92970"/>
                    <a:pt x="284511" y="67510"/>
                    <a:pt x="301994" y="42050"/>
                  </a:cubicBezTo>
                  <a:cubicBezTo>
                    <a:pt x="304582" y="38273"/>
                    <a:pt x="307128" y="34454"/>
                    <a:pt x="309547" y="30550"/>
                  </a:cubicBezTo>
                  <a:cubicBezTo>
                    <a:pt x="313726" y="23847"/>
                    <a:pt x="316980" y="16610"/>
                    <a:pt x="319222" y="9036"/>
                  </a:cubicBezTo>
                  <a:cubicBezTo>
                    <a:pt x="319986" y="6422"/>
                    <a:pt x="319728" y="3616"/>
                    <a:pt x="318501" y="1186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8" name="Freihandform: Form 327">
              <a:extLst>
                <a:ext uri="{FF2B5EF4-FFF2-40B4-BE49-F238E27FC236}">
                  <a16:creationId xmlns:a16="http://schemas.microsoft.com/office/drawing/2014/main" id="{A5F507B1-6DA2-438D-9004-BA197328405A}"/>
                </a:ext>
              </a:extLst>
            </p:cNvPr>
            <p:cNvSpPr/>
            <p:nvPr/>
          </p:nvSpPr>
          <p:spPr>
            <a:xfrm>
              <a:off x="11005238" y="2923191"/>
              <a:ext cx="197954" cy="242085"/>
            </a:xfrm>
            <a:custGeom>
              <a:avLst/>
              <a:gdLst>
                <a:gd name="connsiteX0" fmla="*/ 193999 w 197954"/>
                <a:gd name="connsiteY0" fmla="*/ 18452 h 242085"/>
                <a:gd name="connsiteX1" fmla="*/ 197903 w 197954"/>
                <a:gd name="connsiteY1" fmla="*/ 12681 h 242085"/>
                <a:gd name="connsiteX2" fmla="*/ 169685 w 197954"/>
                <a:gd name="connsiteY2" fmla="*/ -49 h 242085"/>
                <a:gd name="connsiteX3" fmla="*/ -51 w 197954"/>
                <a:gd name="connsiteY3" fmla="*/ 218825 h 242085"/>
                <a:gd name="connsiteX4" fmla="*/ 42383 w 197954"/>
                <a:gd name="connsiteY4" fmla="*/ 242037 h 242085"/>
                <a:gd name="connsiteX5" fmla="*/ 192854 w 197954"/>
                <a:gd name="connsiteY5" fmla="*/ 19937 h 242085"/>
                <a:gd name="connsiteX6" fmla="*/ 193999 w 197954"/>
                <a:gd name="connsiteY6" fmla="*/ 18452 h 242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7954" h="242085">
                  <a:moveTo>
                    <a:pt x="193999" y="18452"/>
                  </a:moveTo>
                  <a:lnTo>
                    <a:pt x="197903" y="12681"/>
                  </a:lnTo>
                  <a:lnTo>
                    <a:pt x="169685" y="-49"/>
                  </a:lnTo>
                  <a:lnTo>
                    <a:pt x="-51" y="218825"/>
                  </a:lnTo>
                  <a:cubicBezTo>
                    <a:pt x="13497" y="227607"/>
                    <a:pt x="27681" y="235366"/>
                    <a:pt x="42383" y="242037"/>
                  </a:cubicBezTo>
                  <a:cubicBezTo>
                    <a:pt x="116939" y="131708"/>
                    <a:pt x="186191" y="29655"/>
                    <a:pt x="192854" y="19937"/>
                  </a:cubicBezTo>
                  <a:cubicBezTo>
                    <a:pt x="193210" y="19423"/>
                    <a:pt x="193593" y="18928"/>
                    <a:pt x="193999" y="18452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9" name="Freihandform: Form 328">
              <a:extLst>
                <a:ext uri="{FF2B5EF4-FFF2-40B4-BE49-F238E27FC236}">
                  <a16:creationId xmlns:a16="http://schemas.microsoft.com/office/drawing/2014/main" id="{2273C324-ECE0-47B4-975A-DC59F97FAC8F}"/>
                </a:ext>
              </a:extLst>
            </p:cNvPr>
            <p:cNvSpPr/>
            <p:nvPr/>
          </p:nvSpPr>
          <p:spPr>
            <a:xfrm>
              <a:off x="10933185" y="2771873"/>
              <a:ext cx="160151" cy="189848"/>
            </a:xfrm>
            <a:custGeom>
              <a:avLst/>
              <a:gdLst>
                <a:gd name="connsiteX0" fmla="*/ 154154 w 160151"/>
                <a:gd name="connsiteY0" fmla="*/ 289 h 189848"/>
                <a:gd name="connsiteX1" fmla="*/ 131070 w 160151"/>
                <a:gd name="connsiteY1" fmla="*/ 7461 h 189848"/>
                <a:gd name="connsiteX2" fmla="*/ 86429 w 160151"/>
                <a:gd name="connsiteY2" fmla="*/ 34873 h 189848"/>
                <a:gd name="connsiteX3" fmla="*/ 82186 w 160151"/>
                <a:gd name="connsiteY3" fmla="*/ 39116 h 189848"/>
                <a:gd name="connsiteX4" fmla="*/ 19850 w 160151"/>
                <a:gd name="connsiteY4" fmla="*/ 142189 h 189848"/>
                <a:gd name="connsiteX5" fmla="*/ -51 w 160151"/>
                <a:gd name="connsiteY5" fmla="*/ 174438 h 189848"/>
                <a:gd name="connsiteX6" fmla="*/ 19256 w 160151"/>
                <a:gd name="connsiteY6" fmla="*/ 189799 h 189848"/>
                <a:gd name="connsiteX7" fmla="*/ 44123 w 160151"/>
                <a:gd name="connsiteY7" fmla="*/ 165357 h 189848"/>
                <a:gd name="connsiteX8" fmla="*/ 136968 w 160151"/>
                <a:gd name="connsiteY8" fmla="*/ 81805 h 189848"/>
                <a:gd name="connsiteX9" fmla="*/ 160095 w 160151"/>
                <a:gd name="connsiteY9" fmla="*/ 5424 h 189848"/>
                <a:gd name="connsiteX10" fmla="*/ 154154 w 160151"/>
                <a:gd name="connsiteY10" fmla="*/ 289 h 189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0151" h="189848">
                  <a:moveTo>
                    <a:pt x="154154" y="289"/>
                  </a:moveTo>
                  <a:cubicBezTo>
                    <a:pt x="146310" y="2172"/>
                    <a:pt x="138599" y="4568"/>
                    <a:pt x="131070" y="7461"/>
                  </a:cubicBezTo>
                  <a:cubicBezTo>
                    <a:pt x="114545" y="13600"/>
                    <a:pt x="99380" y="22912"/>
                    <a:pt x="86429" y="34873"/>
                  </a:cubicBezTo>
                  <a:lnTo>
                    <a:pt x="82186" y="39116"/>
                  </a:lnTo>
                  <a:lnTo>
                    <a:pt x="19850" y="142189"/>
                  </a:lnTo>
                  <a:lnTo>
                    <a:pt x="-51" y="174438"/>
                  </a:lnTo>
                  <a:cubicBezTo>
                    <a:pt x="2703" y="182980"/>
                    <a:pt x="10314" y="189036"/>
                    <a:pt x="19256" y="189799"/>
                  </a:cubicBezTo>
                  <a:lnTo>
                    <a:pt x="44123" y="165357"/>
                  </a:lnTo>
                  <a:lnTo>
                    <a:pt x="136968" y="81805"/>
                  </a:lnTo>
                  <a:cubicBezTo>
                    <a:pt x="150709" y="58576"/>
                    <a:pt x="158643" y="32374"/>
                    <a:pt x="160095" y="5424"/>
                  </a:cubicBezTo>
                  <a:cubicBezTo>
                    <a:pt x="160179" y="1096"/>
                    <a:pt x="159288" y="-899"/>
                    <a:pt x="154154" y="289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34" name="Gruppieren 333">
            <a:extLst>
              <a:ext uri="{FF2B5EF4-FFF2-40B4-BE49-F238E27FC236}">
                <a16:creationId xmlns:a16="http://schemas.microsoft.com/office/drawing/2014/main" id="{C628D58C-181C-4BFF-8E3D-1761F4EBC1DF}"/>
              </a:ext>
            </a:extLst>
          </p:cNvPr>
          <p:cNvGrpSpPr/>
          <p:nvPr/>
        </p:nvGrpSpPr>
        <p:grpSpPr>
          <a:xfrm>
            <a:off x="737585" y="5093700"/>
            <a:ext cx="567882" cy="568042"/>
            <a:chOff x="643601" y="2500034"/>
            <a:chExt cx="755851" cy="756064"/>
          </a:xfrm>
          <a:solidFill>
            <a:schemeClr val="bg1"/>
          </a:solidFill>
          <a:effectLst>
            <a:outerShdw blurRad="12700" dist="127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335" name="Grafik 77">
              <a:extLst>
                <a:ext uri="{FF2B5EF4-FFF2-40B4-BE49-F238E27FC236}">
                  <a16:creationId xmlns:a16="http://schemas.microsoft.com/office/drawing/2014/main" id="{B705D648-22DC-4CEE-92A3-440B00D775AB}"/>
                </a:ext>
              </a:extLst>
            </p:cNvPr>
            <p:cNvGrpSpPr/>
            <p:nvPr/>
          </p:nvGrpSpPr>
          <p:grpSpPr>
            <a:xfrm>
              <a:off x="679049" y="2617539"/>
              <a:ext cx="720403" cy="638559"/>
              <a:chOff x="679049" y="2617539"/>
              <a:chExt cx="720403" cy="638559"/>
            </a:xfrm>
            <a:grpFill/>
          </p:grpSpPr>
          <p:sp>
            <p:nvSpPr>
              <p:cNvPr id="344" name="Freihandform: Form 343">
                <a:extLst>
                  <a:ext uri="{FF2B5EF4-FFF2-40B4-BE49-F238E27FC236}">
                    <a16:creationId xmlns:a16="http://schemas.microsoft.com/office/drawing/2014/main" id="{EE4B8727-F35B-4A73-8099-21D5E1BD6C17}"/>
                  </a:ext>
                </a:extLst>
              </p:cNvPr>
              <p:cNvSpPr/>
              <p:nvPr/>
            </p:nvSpPr>
            <p:spPr>
              <a:xfrm>
                <a:off x="1274992" y="2617539"/>
                <a:ext cx="89068" cy="101502"/>
              </a:xfrm>
              <a:custGeom>
                <a:avLst/>
                <a:gdLst>
                  <a:gd name="connsiteX0" fmla="*/ 0 w 89068"/>
                  <a:gd name="connsiteY0" fmla="*/ 52788 h 101502"/>
                  <a:gd name="connsiteX1" fmla="*/ 89069 w 89068"/>
                  <a:gd name="connsiteY1" fmla="*/ 101502 h 101502"/>
                  <a:gd name="connsiteX2" fmla="*/ 86735 w 89068"/>
                  <a:gd name="connsiteY2" fmla="*/ 0 h 101502"/>
                  <a:gd name="connsiteX3" fmla="*/ 0 w 89068"/>
                  <a:gd name="connsiteY3" fmla="*/ 52788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0" y="52788"/>
                    </a:moveTo>
                    <a:lnTo>
                      <a:pt x="89069" y="101502"/>
                    </a:lnTo>
                    <a:lnTo>
                      <a:pt x="86735" y="0"/>
                    </a:lnTo>
                    <a:lnTo>
                      <a:pt x="0" y="52788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5" name="Freihandform: Form 344">
                <a:extLst>
                  <a:ext uri="{FF2B5EF4-FFF2-40B4-BE49-F238E27FC236}">
                    <a16:creationId xmlns:a16="http://schemas.microsoft.com/office/drawing/2014/main" id="{584980C3-F2AA-4451-85B8-7F2153981F2A}"/>
                  </a:ext>
                </a:extLst>
              </p:cNvPr>
              <p:cNvSpPr/>
              <p:nvPr/>
            </p:nvSpPr>
            <p:spPr>
              <a:xfrm>
                <a:off x="716009" y="2790415"/>
                <a:ext cx="683443" cy="465683"/>
              </a:xfrm>
              <a:custGeom>
                <a:avLst/>
                <a:gdLst>
                  <a:gd name="connsiteX0" fmla="*/ 672909 w 683443"/>
                  <a:gd name="connsiteY0" fmla="*/ -49 h 465683"/>
                  <a:gd name="connsiteX1" fmla="*/ 393646 w 683443"/>
                  <a:gd name="connsiteY1" fmla="*/ 455220 h 465683"/>
                  <a:gd name="connsiteX2" fmla="*/ -51 w 683443"/>
                  <a:gd name="connsiteY2" fmla="*/ 309719 h 465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43" h="465683">
                    <a:moveTo>
                      <a:pt x="672909" y="-49"/>
                    </a:moveTo>
                    <a:cubicBezTo>
                      <a:pt x="721512" y="202786"/>
                      <a:pt x="596481" y="406617"/>
                      <a:pt x="393646" y="455220"/>
                    </a:cubicBezTo>
                    <a:cubicBezTo>
                      <a:pt x="245063" y="490822"/>
                      <a:pt x="89667" y="433392"/>
                      <a:pt x="-51" y="309719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6" name="Freihandform: Form 345">
                <a:extLst>
                  <a:ext uri="{FF2B5EF4-FFF2-40B4-BE49-F238E27FC236}">
                    <a16:creationId xmlns:a16="http://schemas.microsoft.com/office/drawing/2014/main" id="{4F8BFB36-C35C-4A64-BE8F-2A93E79C486C}"/>
                  </a:ext>
                </a:extLst>
              </p:cNvPr>
              <p:cNvSpPr/>
              <p:nvPr/>
            </p:nvSpPr>
            <p:spPr>
              <a:xfrm>
                <a:off x="679049" y="3037254"/>
                <a:ext cx="89068" cy="101502"/>
              </a:xfrm>
              <a:custGeom>
                <a:avLst/>
                <a:gdLst>
                  <a:gd name="connsiteX0" fmla="*/ 89069 w 89068"/>
                  <a:gd name="connsiteY0" fmla="*/ 48714 h 101502"/>
                  <a:gd name="connsiteX1" fmla="*/ 0 w 89068"/>
                  <a:gd name="connsiteY1" fmla="*/ 0 h 101502"/>
                  <a:gd name="connsiteX2" fmla="*/ 2334 w 89068"/>
                  <a:gd name="connsiteY2" fmla="*/ 101502 h 101502"/>
                  <a:gd name="connsiteX3" fmla="*/ 89069 w 89068"/>
                  <a:gd name="connsiteY3" fmla="*/ 48714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89069" y="48714"/>
                    </a:moveTo>
                    <a:lnTo>
                      <a:pt x="0" y="0"/>
                    </a:lnTo>
                    <a:lnTo>
                      <a:pt x="2334" y="101502"/>
                    </a:lnTo>
                    <a:lnTo>
                      <a:pt x="89069" y="48714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336" name="Freihandform: Form 335">
              <a:extLst>
                <a:ext uri="{FF2B5EF4-FFF2-40B4-BE49-F238E27FC236}">
                  <a16:creationId xmlns:a16="http://schemas.microsoft.com/office/drawing/2014/main" id="{C209579C-109B-4050-AA84-9B07DDE7DB34}"/>
                </a:ext>
              </a:extLst>
            </p:cNvPr>
            <p:cNvSpPr/>
            <p:nvPr/>
          </p:nvSpPr>
          <p:spPr>
            <a:xfrm>
              <a:off x="643601" y="2500034"/>
              <a:ext cx="683499" cy="466270"/>
            </a:xfrm>
            <a:custGeom>
              <a:avLst/>
              <a:gdLst>
                <a:gd name="connsiteX0" fmla="*/ 10573 w 683499"/>
                <a:gd name="connsiteY0" fmla="*/ 466221 h 466270"/>
                <a:gd name="connsiteX1" fmla="*/ 289109 w 683499"/>
                <a:gd name="connsiteY1" fmla="*/ 10507 h 466270"/>
                <a:gd name="connsiteX2" fmla="*/ 683449 w 683499"/>
                <a:gd name="connsiteY2" fmla="*/ 155944 h 466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3499" h="466270">
                  <a:moveTo>
                    <a:pt x="10573" y="466221"/>
                  </a:moveTo>
                  <a:cubicBezTo>
                    <a:pt x="-38354" y="263463"/>
                    <a:pt x="86351" y="59433"/>
                    <a:pt x="289109" y="10507"/>
                  </a:cubicBezTo>
                  <a:cubicBezTo>
                    <a:pt x="437882" y="-25393"/>
                    <a:pt x="593612" y="32042"/>
                    <a:pt x="683449" y="155944"/>
                  </a:cubicBezTo>
                </a:path>
              </a:pathLst>
            </a:custGeom>
            <a:noFill/>
            <a:ln w="33594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7" name="Freihandform: Form 336">
              <a:extLst>
                <a:ext uri="{FF2B5EF4-FFF2-40B4-BE49-F238E27FC236}">
                  <a16:creationId xmlns:a16="http://schemas.microsoft.com/office/drawing/2014/main" id="{7F56C88A-1286-401F-BA56-9F4B4E005C02}"/>
                </a:ext>
              </a:extLst>
            </p:cNvPr>
            <p:cNvSpPr/>
            <p:nvPr/>
          </p:nvSpPr>
          <p:spPr>
            <a:xfrm>
              <a:off x="1274992" y="2617539"/>
              <a:ext cx="89068" cy="101502"/>
            </a:xfrm>
            <a:custGeom>
              <a:avLst/>
              <a:gdLst>
                <a:gd name="connsiteX0" fmla="*/ 0 w 89068"/>
                <a:gd name="connsiteY0" fmla="*/ 52788 h 101502"/>
                <a:gd name="connsiteX1" fmla="*/ 89069 w 89068"/>
                <a:gd name="connsiteY1" fmla="*/ 101502 h 101502"/>
                <a:gd name="connsiteX2" fmla="*/ 86735 w 89068"/>
                <a:gd name="connsiteY2" fmla="*/ 0 h 101502"/>
                <a:gd name="connsiteX3" fmla="*/ 0 w 89068"/>
                <a:gd name="connsiteY3" fmla="*/ 52788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0" y="52788"/>
                  </a:moveTo>
                  <a:lnTo>
                    <a:pt x="89069" y="101502"/>
                  </a:lnTo>
                  <a:lnTo>
                    <a:pt x="86735" y="0"/>
                  </a:lnTo>
                  <a:lnTo>
                    <a:pt x="0" y="52788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8" name="Freihandform: Form 337">
              <a:extLst>
                <a:ext uri="{FF2B5EF4-FFF2-40B4-BE49-F238E27FC236}">
                  <a16:creationId xmlns:a16="http://schemas.microsoft.com/office/drawing/2014/main" id="{39F1235B-7371-4CFD-A227-9B0A71E9780D}"/>
                </a:ext>
              </a:extLst>
            </p:cNvPr>
            <p:cNvSpPr/>
            <p:nvPr/>
          </p:nvSpPr>
          <p:spPr>
            <a:xfrm>
              <a:off x="679049" y="3037254"/>
              <a:ext cx="89068" cy="101502"/>
            </a:xfrm>
            <a:custGeom>
              <a:avLst/>
              <a:gdLst>
                <a:gd name="connsiteX0" fmla="*/ 89069 w 89068"/>
                <a:gd name="connsiteY0" fmla="*/ 48714 h 101502"/>
                <a:gd name="connsiteX1" fmla="*/ 0 w 89068"/>
                <a:gd name="connsiteY1" fmla="*/ 0 h 101502"/>
                <a:gd name="connsiteX2" fmla="*/ 2334 w 89068"/>
                <a:gd name="connsiteY2" fmla="*/ 101502 h 101502"/>
                <a:gd name="connsiteX3" fmla="*/ 89069 w 89068"/>
                <a:gd name="connsiteY3" fmla="*/ 48714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89069" y="48714"/>
                  </a:moveTo>
                  <a:lnTo>
                    <a:pt x="0" y="0"/>
                  </a:lnTo>
                  <a:lnTo>
                    <a:pt x="2334" y="101502"/>
                  </a:lnTo>
                  <a:lnTo>
                    <a:pt x="89069" y="48714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339" name="Grafik 77">
              <a:extLst>
                <a:ext uri="{FF2B5EF4-FFF2-40B4-BE49-F238E27FC236}">
                  <a16:creationId xmlns:a16="http://schemas.microsoft.com/office/drawing/2014/main" id="{F1553A15-91E7-421C-9F2A-E257FCF334C9}"/>
                </a:ext>
              </a:extLst>
            </p:cNvPr>
            <p:cNvGrpSpPr/>
            <p:nvPr/>
          </p:nvGrpSpPr>
          <p:grpSpPr>
            <a:xfrm>
              <a:off x="725166" y="2579807"/>
              <a:ext cx="594423" cy="595447"/>
              <a:chOff x="725166" y="2579807"/>
              <a:chExt cx="594423" cy="595447"/>
            </a:xfrm>
            <a:grpFill/>
          </p:grpSpPr>
          <p:sp>
            <p:nvSpPr>
              <p:cNvPr id="342" name="Freihandform: Form 341">
                <a:extLst>
                  <a:ext uri="{FF2B5EF4-FFF2-40B4-BE49-F238E27FC236}">
                    <a16:creationId xmlns:a16="http://schemas.microsoft.com/office/drawing/2014/main" id="{95CBA907-1439-4CF2-A347-DEE1AEB73741}"/>
                  </a:ext>
                </a:extLst>
              </p:cNvPr>
              <p:cNvSpPr/>
              <p:nvPr/>
            </p:nvSpPr>
            <p:spPr>
              <a:xfrm>
                <a:off x="982367" y="2843331"/>
                <a:ext cx="68530" cy="68530"/>
              </a:xfrm>
              <a:custGeom>
                <a:avLst/>
                <a:gdLst>
                  <a:gd name="connsiteX0" fmla="*/ 0 w 68530"/>
                  <a:gd name="connsiteY0" fmla="*/ 0 h 68530"/>
                  <a:gd name="connsiteX1" fmla="*/ 68531 w 68530"/>
                  <a:gd name="connsiteY1" fmla="*/ 0 h 68530"/>
                  <a:gd name="connsiteX2" fmla="*/ 68531 w 68530"/>
                  <a:gd name="connsiteY2" fmla="*/ 68531 h 68530"/>
                  <a:gd name="connsiteX3" fmla="*/ 0 w 68530"/>
                  <a:gd name="connsiteY3" fmla="*/ 68531 h 68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530" h="68530">
                    <a:moveTo>
                      <a:pt x="0" y="0"/>
                    </a:moveTo>
                    <a:lnTo>
                      <a:pt x="68531" y="0"/>
                    </a:lnTo>
                    <a:lnTo>
                      <a:pt x="68531" y="68531"/>
                    </a:lnTo>
                    <a:lnTo>
                      <a:pt x="0" y="68531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3" name="Freihandform: Form 342">
                <a:extLst>
                  <a:ext uri="{FF2B5EF4-FFF2-40B4-BE49-F238E27FC236}">
                    <a16:creationId xmlns:a16="http://schemas.microsoft.com/office/drawing/2014/main" id="{0CF699B7-E247-49ED-ACA5-5628F597DCDB}"/>
                  </a:ext>
                </a:extLst>
              </p:cNvPr>
              <p:cNvSpPr/>
              <p:nvPr/>
            </p:nvSpPr>
            <p:spPr>
              <a:xfrm>
                <a:off x="725166" y="2579807"/>
                <a:ext cx="594423" cy="595447"/>
              </a:xfrm>
              <a:custGeom>
                <a:avLst/>
                <a:gdLst>
                  <a:gd name="connsiteX0" fmla="*/ 594373 w 594423"/>
                  <a:gd name="connsiteY0" fmla="*/ 301241 h 595447"/>
                  <a:gd name="connsiteX1" fmla="*/ 559639 w 594423"/>
                  <a:gd name="connsiteY1" fmla="*/ 267321 h 595447"/>
                  <a:gd name="connsiteX2" fmla="*/ 528473 w 594423"/>
                  <a:gd name="connsiteY2" fmla="*/ 288171 h 595447"/>
                  <a:gd name="connsiteX3" fmla="*/ 528261 w 594423"/>
                  <a:gd name="connsiteY3" fmla="*/ 288723 h 595447"/>
                  <a:gd name="connsiteX4" fmla="*/ 381227 w 594423"/>
                  <a:gd name="connsiteY4" fmla="*/ 288723 h 595447"/>
                  <a:gd name="connsiteX5" fmla="*/ 381227 w 594423"/>
                  <a:gd name="connsiteY5" fmla="*/ 267888 h 595447"/>
                  <a:gd name="connsiteX6" fmla="*/ 441483 w 594423"/>
                  <a:gd name="connsiteY6" fmla="*/ 267888 h 595447"/>
                  <a:gd name="connsiteX7" fmla="*/ 450352 w 594423"/>
                  <a:gd name="connsiteY7" fmla="*/ 264238 h 595447"/>
                  <a:gd name="connsiteX8" fmla="*/ 467877 w 594423"/>
                  <a:gd name="connsiteY8" fmla="*/ 246713 h 595447"/>
                  <a:gd name="connsiteX9" fmla="*/ 468429 w 594423"/>
                  <a:gd name="connsiteY9" fmla="*/ 246968 h 595447"/>
                  <a:gd name="connsiteX10" fmla="*/ 483196 w 594423"/>
                  <a:gd name="connsiteY10" fmla="*/ 250363 h 595447"/>
                  <a:gd name="connsiteX11" fmla="*/ 517738 w 594423"/>
                  <a:gd name="connsiteY11" fmla="*/ 216077 h 595447"/>
                  <a:gd name="connsiteX12" fmla="*/ 483453 w 594423"/>
                  <a:gd name="connsiteY12" fmla="*/ 181535 h 595447"/>
                  <a:gd name="connsiteX13" fmla="*/ 448910 w 594423"/>
                  <a:gd name="connsiteY13" fmla="*/ 215820 h 595447"/>
                  <a:gd name="connsiteX14" fmla="*/ 450903 w 594423"/>
                  <a:gd name="connsiteY14" fmla="*/ 227491 h 595447"/>
                  <a:gd name="connsiteX15" fmla="*/ 450903 w 594423"/>
                  <a:gd name="connsiteY15" fmla="*/ 228000 h 595447"/>
                  <a:gd name="connsiteX16" fmla="*/ 436136 w 594423"/>
                  <a:gd name="connsiteY16" fmla="*/ 242809 h 595447"/>
                  <a:gd name="connsiteX17" fmla="*/ 380972 w 594423"/>
                  <a:gd name="connsiteY17" fmla="*/ 242809 h 595447"/>
                  <a:gd name="connsiteX18" fmla="*/ 380972 w 594423"/>
                  <a:gd name="connsiteY18" fmla="*/ 208098 h 595447"/>
                  <a:gd name="connsiteX19" fmla="*/ 350250 w 594423"/>
                  <a:gd name="connsiteY19" fmla="*/ 208098 h 595447"/>
                  <a:gd name="connsiteX20" fmla="*/ 350250 w 594423"/>
                  <a:gd name="connsiteY20" fmla="*/ 200418 h 595447"/>
                  <a:gd name="connsiteX21" fmla="*/ 365781 w 594423"/>
                  <a:gd name="connsiteY21" fmla="*/ 184887 h 595447"/>
                  <a:gd name="connsiteX22" fmla="*/ 366290 w 594423"/>
                  <a:gd name="connsiteY22" fmla="*/ 184887 h 595447"/>
                  <a:gd name="connsiteX23" fmla="*/ 379529 w 594423"/>
                  <a:gd name="connsiteY23" fmla="*/ 187560 h 595447"/>
                  <a:gd name="connsiteX24" fmla="*/ 413816 w 594423"/>
                  <a:gd name="connsiteY24" fmla="*/ 153274 h 595447"/>
                  <a:gd name="connsiteX25" fmla="*/ 379529 w 594423"/>
                  <a:gd name="connsiteY25" fmla="*/ 118987 h 595447"/>
                  <a:gd name="connsiteX26" fmla="*/ 345243 w 594423"/>
                  <a:gd name="connsiteY26" fmla="*/ 153274 h 595447"/>
                  <a:gd name="connsiteX27" fmla="*/ 347831 w 594423"/>
                  <a:gd name="connsiteY27" fmla="*/ 166386 h 595447"/>
                  <a:gd name="connsiteX28" fmla="*/ 348086 w 594423"/>
                  <a:gd name="connsiteY28" fmla="*/ 166895 h 595447"/>
                  <a:gd name="connsiteX29" fmla="*/ 328863 w 594423"/>
                  <a:gd name="connsiteY29" fmla="*/ 186117 h 595447"/>
                  <a:gd name="connsiteX30" fmla="*/ 325172 w 594423"/>
                  <a:gd name="connsiteY30" fmla="*/ 194986 h 595447"/>
                  <a:gd name="connsiteX31" fmla="*/ 325171 w 594423"/>
                  <a:gd name="connsiteY31" fmla="*/ 207716 h 595447"/>
                  <a:gd name="connsiteX32" fmla="*/ 304167 w 594423"/>
                  <a:gd name="connsiteY32" fmla="*/ 207716 h 595447"/>
                  <a:gd name="connsiteX33" fmla="*/ 304167 w 594423"/>
                  <a:gd name="connsiteY33" fmla="*/ 65944 h 595447"/>
                  <a:gd name="connsiteX34" fmla="*/ 304718 w 594423"/>
                  <a:gd name="connsiteY34" fmla="*/ 65944 h 595447"/>
                  <a:gd name="connsiteX35" fmla="*/ 323347 w 594423"/>
                  <a:gd name="connsiteY35" fmla="*/ 21177 h 595447"/>
                  <a:gd name="connsiteX36" fmla="*/ 278579 w 594423"/>
                  <a:gd name="connsiteY36" fmla="*/ 2549 h 595447"/>
                  <a:gd name="connsiteX37" fmla="*/ 259951 w 594423"/>
                  <a:gd name="connsiteY37" fmla="*/ 47316 h 595447"/>
                  <a:gd name="connsiteX38" fmla="*/ 278579 w 594423"/>
                  <a:gd name="connsiteY38" fmla="*/ 65944 h 595447"/>
                  <a:gd name="connsiteX39" fmla="*/ 279088 w 594423"/>
                  <a:gd name="connsiteY39" fmla="*/ 65944 h 595447"/>
                  <a:gd name="connsiteX40" fmla="*/ 279088 w 594423"/>
                  <a:gd name="connsiteY40" fmla="*/ 207929 h 595447"/>
                  <a:gd name="connsiteX41" fmla="*/ 258126 w 594423"/>
                  <a:gd name="connsiteY41" fmla="*/ 207929 h 595447"/>
                  <a:gd name="connsiteX42" fmla="*/ 258126 w 594423"/>
                  <a:gd name="connsiteY42" fmla="*/ 153740 h 595447"/>
                  <a:gd name="connsiteX43" fmla="*/ 254434 w 594423"/>
                  <a:gd name="connsiteY43" fmla="*/ 144872 h 595447"/>
                  <a:gd name="connsiteX44" fmla="*/ 236909 w 594423"/>
                  <a:gd name="connsiteY44" fmla="*/ 127346 h 595447"/>
                  <a:gd name="connsiteX45" fmla="*/ 237206 w 594423"/>
                  <a:gd name="connsiteY45" fmla="*/ 126795 h 595447"/>
                  <a:gd name="connsiteX46" fmla="*/ 240601 w 594423"/>
                  <a:gd name="connsiteY46" fmla="*/ 112028 h 595447"/>
                  <a:gd name="connsiteX47" fmla="*/ 206315 w 594423"/>
                  <a:gd name="connsiteY47" fmla="*/ 77485 h 595447"/>
                  <a:gd name="connsiteX48" fmla="*/ 171773 w 594423"/>
                  <a:gd name="connsiteY48" fmla="*/ 111771 h 595447"/>
                  <a:gd name="connsiteX49" fmla="*/ 206058 w 594423"/>
                  <a:gd name="connsiteY49" fmla="*/ 146313 h 595447"/>
                  <a:gd name="connsiteX50" fmla="*/ 217729 w 594423"/>
                  <a:gd name="connsiteY50" fmla="*/ 144320 h 595447"/>
                  <a:gd name="connsiteX51" fmla="*/ 218238 w 594423"/>
                  <a:gd name="connsiteY51" fmla="*/ 144320 h 595447"/>
                  <a:gd name="connsiteX52" fmla="*/ 233047 w 594423"/>
                  <a:gd name="connsiteY52" fmla="*/ 159087 h 595447"/>
                  <a:gd name="connsiteX53" fmla="*/ 233047 w 594423"/>
                  <a:gd name="connsiteY53" fmla="*/ 208098 h 595447"/>
                  <a:gd name="connsiteX54" fmla="*/ 201731 w 594423"/>
                  <a:gd name="connsiteY54" fmla="*/ 208098 h 595447"/>
                  <a:gd name="connsiteX55" fmla="*/ 201731 w 594423"/>
                  <a:gd name="connsiteY55" fmla="*/ 242809 h 595447"/>
                  <a:gd name="connsiteX56" fmla="*/ 149113 w 594423"/>
                  <a:gd name="connsiteY56" fmla="*/ 242809 h 595447"/>
                  <a:gd name="connsiteX57" fmla="*/ 134303 w 594423"/>
                  <a:gd name="connsiteY57" fmla="*/ 228000 h 595447"/>
                  <a:gd name="connsiteX58" fmla="*/ 134303 w 594423"/>
                  <a:gd name="connsiteY58" fmla="*/ 227491 h 595447"/>
                  <a:gd name="connsiteX59" fmla="*/ 136298 w 594423"/>
                  <a:gd name="connsiteY59" fmla="*/ 216076 h 595447"/>
                  <a:gd name="connsiteX60" fmla="*/ 102291 w 594423"/>
                  <a:gd name="connsiteY60" fmla="*/ 181344 h 595447"/>
                  <a:gd name="connsiteX61" fmla="*/ 67559 w 594423"/>
                  <a:gd name="connsiteY61" fmla="*/ 215351 h 595447"/>
                  <a:gd name="connsiteX62" fmla="*/ 101566 w 594423"/>
                  <a:gd name="connsiteY62" fmla="*/ 250083 h 595447"/>
                  <a:gd name="connsiteX63" fmla="*/ 116863 w 594423"/>
                  <a:gd name="connsiteY63" fmla="*/ 246671 h 595447"/>
                  <a:gd name="connsiteX64" fmla="*/ 117415 w 594423"/>
                  <a:gd name="connsiteY64" fmla="*/ 246416 h 595447"/>
                  <a:gd name="connsiteX65" fmla="*/ 134898 w 594423"/>
                  <a:gd name="connsiteY65" fmla="*/ 263941 h 595447"/>
                  <a:gd name="connsiteX66" fmla="*/ 143766 w 594423"/>
                  <a:gd name="connsiteY66" fmla="*/ 267591 h 595447"/>
                  <a:gd name="connsiteX67" fmla="*/ 201731 w 594423"/>
                  <a:gd name="connsiteY67" fmla="*/ 267591 h 595447"/>
                  <a:gd name="connsiteX68" fmla="*/ 201731 w 594423"/>
                  <a:gd name="connsiteY68" fmla="*/ 288596 h 595447"/>
                  <a:gd name="connsiteX69" fmla="*/ 65942 w 594423"/>
                  <a:gd name="connsiteY69" fmla="*/ 288596 h 595447"/>
                  <a:gd name="connsiteX70" fmla="*/ 65942 w 594423"/>
                  <a:gd name="connsiteY70" fmla="*/ 288044 h 595447"/>
                  <a:gd name="connsiteX71" fmla="*/ 21175 w 594423"/>
                  <a:gd name="connsiteY71" fmla="*/ 269416 h 595447"/>
                  <a:gd name="connsiteX72" fmla="*/ 2546 w 594423"/>
                  <a:gd name="connsiteY72" fmla="*/ 314183 h 595447"/>
                  <a:gd name="connsiteX73" fmla="*/ 47314 w 594423"/>
                  <a:gd name="connsiteY73" fmla="*/ 332811 h 595447"/>
                  <a:gd name="connsiteX74" fmla="*/ 65942 w 594423"/>
                  <a:gd name="connsiteY74" fmla="*/ 314183 h 595447"/>
                  <a:gd name="connsiteX75" fmla="*/ 65942 w 594423"/>
                  <a:gd name="connsiteY75" fmla="*/ 313674 h 595447"/>
                  <a:gd name="connsiteX76" fmla="*/ 201731 w 594423"/>
                  <a:gd name="connsiteY76" fmla="*/ 313674 h 595447"/>
                  <a:gd name="connsiteX77" fmla="*/ 201731 w 594423"/>
                  <a:gd name="connsiteY77" fmla="*/ 334636 h 595447"/>
                  <a:gd name="connsiteX78" fmla="*/ 173555 w 594423"/>
                  <a:gd name="connsiteY78" fmla="*/ 334636 h 595447"/>
                  <a:gd name="connsiteX79" fmla="*/ 164686 w 594423"/>
                  <a:gd name="connsiteY79" fmla="*/ 338328 h 595447"/>
                  <a:gd name="connsiteX80" fmla="*/ 145633 w 594423"/>
                  <a:gd name="connsiteY80" fmla="*/ 357381 h 595447"/>
                  <a:gd name="connsiteX81" fmla="*/ 145124 w 594423"/>
                  <a:gd name="connsiteY81" fmla="*/ 357169 h 595447"/>
                  <a:gd name="connsiteX82" fmla="*/ 100608 w 594423"/>
                  <a:gd name="connsiteY82" fmla="*/ 376390 h 595447"/>
                  <a:gd name="connsiteX83" fmla="*/ 119828 w 594423"/>
                  <a:gd name="connsiteY83" fmla="*/ 420906 h 595447"/>
                  <a:gd name="connsiteX84" fmla="*/ 164345 w 594423"/>
                  <a:gd name="connsiteY84" fmla="*/ 401685 h 595447"/>
                  <a:gd name="connsiteX85" fmla="*/ 163922 w 594423"/>
                  <a:gd name="connsiteY85" fmla="*/ 375373 h 595447"/>
                  <a:gd name="connsiteX86" fmla="*/ 163668 w 594423"/>
                  <a:gd name="connsiteY86" fmla="*/ 374821 h 595447"/>
                  <a:gd name="connsiteX87" fmla="*/ 178774 w 594423"/>
                  <a:gd name="connsiteY87" fmla="*/ 359757 h 595447"/>
                  <a:gd name="connsiteX88" fmla="*/ 201731 w 594423"/>
                  <a:gd name="connsiteY88" fmla="*/ 359757 h 595447"/>
                  <a:gd name="connsiteX89" fmla="*/ 201731 w 594423"/>
                  <a:gd name="connsiteY89" fmla="*/ 387382 h 595447"/>
                  <a:gd name="connsiteX90" fmla="*/ 232496 w 594423"/>
                  <a:gd name="connsiteY90" fmla="*/ 387382 h 595447"/>
                  <a:gd name="connsiteX91" fmla="*/ 232496 w 594423"/>
                  <a:gd name="connsiteY91" fmla="*/ 446110 h 595447"/>
                  <a:gd name="connsiteX92" fmla="*/ 217686 w 594423"/>
                  <a:gd name="connsiteY92" fmla="*/ 460920 h 595447"/>
                  <a:gd name="connsiteX93" fmla="*/ 217177 w 594423"/>
                  <a:gd name="connsiteY93" fmla="*/ 460920 h 595447"/>
                  <a:gd name="connsiteX94" fmla="*/ 205720 w 594423"/>
                  <a:gd name="connsiteY94" fmla="*/ 458883 h 595447"/>
                  <a:gd name="connsiteX95" fmla="*/ 171355 w 594423"/>
                  <a:gd name="connsiteY95" fmla="*/ 493176 h 595447"/>
                  <a:gd name="connsiteX96" fmla="*/ 205648 w 594423"/>
                  <a:gd name="connsiteY96" fmla="*/ 527541 h 595447"/>
                  <a:gd name="connsiteX97" fmla="*/ 240013 w 594423"/>
                  <a:gd name="connsiteY97" fmla="*/ 493248 h 595447"/>
                  <a:gd name="connsiteX98" fmla="*/ 236654 w 594423"/>
                  <a:gd name="connsiteY98" fmla="*/ 478403 h 595447"/>
                  <a:gd name="connsiteX99" fmla="*/ 236357 w 594423"/>
                  <a:gd name="connsiteY99" fmla="*/ 477851 h 595447"/>
                  <a:gd name="connsiteX100" fmla="*/ 253882 w 594423"/>
                  <a:gd name="connsiteY100" fmla="*/ 460368 h 595447"/>
                  <a:gd name="connsiteX101" fmla="*/ 257574 w 594423"/>
                  <a:gd name="connsiteY101" fmla="*/ 451500 h 595447"/>
                  <a:gd name="connsiteX102" fmla="*/ 257574 w 594423"/>
                  <a:gd name="connsiteY102" fmla="*/ 387849 h 595447"/>
                  <a:gd name="connsiteX103" fmla="*/ 279215 w 594423"/>
                  <a:gd name="connsiteY103" fmla="*/ 387849 h 595447"/>
                  <a:gd name="connsiteX104" fmla="*/ 279215 w 594423"/>
                  <a:gd name="connsiteY104" fmla="*/ 529239 h 595447"/>
                  <a:gd name="connsiteX105" fmla="*/ 278664 w 594423"/>
                  <a:gd name="connsiteY105" fmla="*/ 529493 h 595447"/>
                  <a:gd name="connsiteX106" fmla="*/ 260082 w 594423"/>
                  <a:gd name="connsiteY106" fmla="*/ 574215 h 595447"/>
                  <a:gd name="connsiteX107" fmla="*/ 304803 w 594423"/>
                  <a:gd name="connsiteY107" fmla="*/ 592797 h 595447"/>
                  <a:gd name="connsiteX108" fmla="*/ 323386 w 594423"/>
                  <a:gd name="connsiteY108" fmla="*/ 548076 h 595447"/>
                  <a:gd name="connsiteX109" fmla="*/ 304803 w 594423"/>
                  <a:gd name="connsiteY109" fmla="*/ 529493 h 595447"/>
                  <a:gd name="connsiteX110" fmla="*/ 304294 w 594423"/>
                  <a:gd name="connsiteY110" fmla="*/ 529493 h 595447"/>
                  <a:gd name="connsiteX111" fmla="*/ 304294 w 594423"/>
                  <a:gd name="connsiteY111" fmla="*/ 387509 h 595447"/>
                  <a:gd name="connsiteX112" fmla="*/ 324535 w 594423"/>
                  <a:gd name="connsiteY112" fmla="*/ 387509 h 595447"/>
                  <a:gd name="connsiteX113" fmla="*/ 324535 w 594423"/>
                  <a:gd name="connsiteY113" fmla="*/ 416152 h 595447"/>
                  <a:gd name="connsiteX114" fmla="*/ 328227 w 594423"/>
                  <a:gd name="connsiteY114" fmla="*/ 425021 h 595447"/>
                  <a:gd name="connsiteX115" fmla="*/ 345752 w 594423"/>
                  <a:gd name="connsiteY115" fmla="*/ 442546 h 595447"/>
                  <a:gd name="connsiteX116" fmla="*/ 345455 w 594423"/>
                  <a:gd name="connsiteY116" fmla="*/ 443098 h 595447"/>
                  <a:gd name="connsiteX117" fmla="*/ 342060 w 594423"/>
                  <a:gd name="connsiteY117" fmla="*/ 457865 h 595447"/>
                  <a:gd name="connsiteX118" fmla="*/ 376347 w 594423"/>
                  <a:gd name="connsiteY118" fmla="*/ 492236 h 595447"/>
                  <a:gd name="connsiteX119" fmla="*/ 410718 w 594423"/>
                  <a:gd name="connsiteY119" fmla="*/ 457950 h 595447"/>
                  <a:gd name="connsiteX120" fmla="*/ 376432 w 594423"/>
                  <a:gd name="connsiteY120" fmla="*/ 423578 h 595447"/>
                  <a:gd name="connsiteX121" fmla="*/ 376389 w 594423"/>
                  <a:gd name="connsiteY121" fmla="*/ 423578 h 595447"/>
                  <a:gd name="connsiteX122" fmla="*/ 364932 w 594423"/>
                  <a:gd name="connsiteY122" fmla="*/ 425615 h 595447"/>
                  <a:gd name="connsiteX123" fmla="*/ 364423 w 594423"/>
                  <a:gd name="connsiteY123" fmla="*/ 425615 h 595447"/>
                  <a:gd name="connsiteX124" fmla="*/ 364041 w 594423"/>
                  <a:gd name="connsiteY124" fmla="*/ 425233 h 595447"/>
                  <a:gd name="connsiteX125" fmla="*/ 349614 w 594423"/>
                  <a:gd name="connsiteY125" fmla="*/ 410805 h 595447"/>
                  <a:gd name="connsiteX126" fmla="*/ 349614 w 594423"/>
                  <a:gd name="connsiteY126" fmla="*/ 387339 h 595447"/>
                  <a:gd name="connsiteX127" fmla="*/ 381312 w 594423"/>
                  <a:gd name="connsiteY127" fmla="*/ 387339 h 595447"/>
                  <a:gd name="connsiteX128" fmla="*/ 381312 w 594423"/>
                  <a:gd name="connsiteY128" fmla="*/ 359715 h 595447"/>
                  <a:gd name="connsiteX129" fmla="*/ 415259 w 594423"/>
                  <a:gd name="connsiteY129" fmla="*/ 359715 h 595447"/>
                  <a:gd name="connsiteX130" fmla="*/ 430365 w 594423"/>
                  <a:gd name="connsiteY130" fmla="*/ 374779 h 595447"/>
                  <a:gd name="connsiteX131" fmla="*/ 430111 w 594423"/>
                  <a:gd name="connsiteY131" fmla="*/ 375331 h 595447"/>
                  <a:gd name="connsiteX132" fmla="*/ 447892 w 594423"/>
                  <a:gd name="connsiteY132" fmla="*/ 420441 h 595447"/>
                  <a:gd name="connsiteX133" fmla="*/ 493003 w 594423"/>
                  <a:gd name="connsiteY133" fmla="*/ 402659 h 595447"/>
                  <a:gd name="connsiteX134" fmla="*/ 475221 w 594423"/>
                  <a:gd name="connsiteY134" fmla="*/ 357549 h 595447"/>
                  <a:gd name="connsiteX135" fmla="*/ 448909 w 594423"/>
                  <a:gd name="connsiteY135" fmla="*/ 357126 h 595447"/>
                  <a:gd name="connsiteX136" fmla="*/ 448400 w 594423"/>
                  <a:gd name="connsiteY136" fmla="*/ 357339 h 595447"/>
                  <a:gd name="connsiteX137" fmla="*/ 429347 w 594423"/>
                  <a:gd name="connsiteY137" fmla="*/ 338286 h 595447"/>
                  <a:gd name="connsiteX138" fmla="*/ 420478 w 594423"/>
                  <a:gd name="connsiteY138" fmla="*/ 334594 h 595447"/>
                  <a:gd name="connsiteX139" fmla="*/ 381227 w 594423"/>
                  <a:gd name="connsiteY139" fmla="*/ 334594 h 595447"/>
                  <a:gd name="connsiteX140" fmla="*/ 381227 w 594423"/>
                  <a:gd name="connsiteY140" fmla="*/ 313632 h 595447"/>
                  <a:gd name="connsiteX141" fmla="*/ 528133 w 594423"/>
                  <a:gd name="connsiteY141" fmla="*/ 313632 h 595447"/>
                  <a:gd name="connsiteX142" fmla="*/ 528345 w 594423"/>
                  <a:gd name="connsiteY142" fmla="*/ 314141 h 595447"/>
                  <a:gd name="connsiteX143" fmla="*/ 573223 w 594423"/>
                  <a:gd name="connsiteY143" fmla="*/ 332660 h 595447"/>
                  <a:gd name="connsiteX144" fmla="*/ 594373 w 594423"/>
                  <a:gd name="connsiteY144" fmla="*/ 301071 h 595447"/>
                  <a:gd name="connsiteX145" fmla="*/ 483196 w 594423"/>
                  <a:gd name="connsiteY145" fmla="*/ 201351 h 595447"/>
                  <a:gd name="connsiteX146" fmla="*/ 497793 w 594423"/>
                  <a:gd name="connsiteY146" fmla="*/ 215864 h 595447"/>
                  <a:gd name="connsiteX147" fmla="*/ 483281 w 594423"/>
                  <a:gd name="connsiteY147" fmla="*/ 230461 h 595447"/>
                  <a:gd name="connsiteX148" fmla="*/ 468683 w 594423"/>
                  <a:gd name="connsiteY148" fmla="*/ 215948 h 595447"/>
                  <a:gd name="connsiteX149" fmla="*/ 468683 w 594423"/>
                  <a:gd name="connsiteY149" fmla="*/ 215906 h 595447"/>
                  <a:gd name="connsiteX150" fmla="*/ 483196 w 594423"/>
                  <a:gd name="connsiteY150" fmla="*/ 201351 h 595447"/>
                  <a:gd name="connsiteX151" fmla="*/ 379317 w 594423"/>
                  <a:gd name="connsiteY151" fmla="*/ 139567 h 595447"/>
                  <a:gd name="connsiteX152" fmla="*/ 393872 w 594423"/>
                  <a:gd name="connsiteY152" fmla="*/ 154122 h 595447"/>
                  <a:gd name="connsiteX153" fmla="*/ 379317 w 594423"/>
                  <a:gd name="connsiteY153" fmla="*/ 168677 h 595447"/>
                  <a:gd name="connsiteX154" fmla="*/ 364762 w 594423"/>
                  <a:gd name="connsiteY154" fmla="*/ 154122 h 595447"/>
                  <a:gd name="connsiteX155" fmla="*/ 379317 w 594423"/>
                  <a:gd name="connsiteY155" fmla="*/ 139567 h 595447"/>
                  <a:gd name="connsiteX156" fmla="*/ 205974 w 594423"/>
                  <a:gd name="connsiteY156" fmla="*/ 126540 h 595447"/>
                  <a:gd name="connsiteX157" fmla="*/ 191420 w 594423"/>
                  <a:gd name="connsiteY157" fmla="*/ 111985 h 595447"/>
                  <a:gd name="connsiteX158" fmla="*/ 205975 w 594423"/>
                  <a:gd name="connsiteY158" fmla="*/ 97430 h 595447"/>
                  <a:gd name="connsiteX159" fmla="*/ 220529 w 594423"/>
                  <a:gd name="connsiteY159" fmla="*/ 111985 h 595447"/>
                  <a:gd name="connsiteX160" fmla="*/ 220529 w 594423"/>
                  <a:gd name="connsiteY160" fmla="*/ 112028 h 595447"/>
                  <a:gd name="connsiteX161" fmla="*/ 206017 w 594423"/>
                  <a:gd name="connsiteY161" fmla="*/ 126540 h 595447"/>
                  <a:gd name="connsiteX162" fmla="*/ 205974 w 594423"/>
                  <a:gd name="connsiteY162" fmla="*/ 126540 h 595447"/>
                  <a:gd name="connsiteX163" fmla="*/ 102181 w 594423"/>
                  <a:gd name="connsiteY163" fmla="*/ 230419 h 595447"/>
                  <a:gd name="connsiteX164" fmla="*/ 87626 w 594423"/>
                  <a:gd name="connsiteY164" fmla="*/ 215864 h 595447"/>
                  <a:gd name="connsiteX165" fmla="*/ 102181 w 594423"/>
                  <a:gd name="connsiteY165" fmla="*/ 201309 h 595447"/>
                  <a:gd name="connsiteX166" fmla="*/ 116736 w 594423"/>
                  <a:gd name="connsiteY166" fmla="*/ 215864 h 595447"/>
                  <a:gd name="connsiteX167" fmla="*/ 116736 w 594423"/>
                  <a:gd name="connsiteY167" fmla="*/ 215906 h 595447"/>
                  <a:gd name="connsiteX168" fmla="*/ 102223 w 594423"/>
                  <a:gd name="connsiteY168" fmla="*/ 230419 h 595447"/>
                  <a:gd name="connsiteX169" fmla="*/ 102181 w 594423"/>
                  <a:gd name="connsiteY169" fmla="*/ 230419 h 595447"/>
                  <a:gd name="connsiteX170" fmla="*/ 33905 w 594423"/>
                  <a:gd name="connsiteY170" fmla="*/ 315796 h 595447"/>
                  <a:gd name="connsiteX171" fmla="*/ 19350 w 594423"/>
                  <a:gd name="connsiteY171" fmla="*/ 301241 h 595447"/>
                  <a:gd name="connsiteX172" fmla="*/ 33905 w 594423"/>
                  <a:gd name="connsiteY172" fmla="*/ 286686 h 595447"/>
                  <a:gd name="connsiteX173" fmla="*/ 48460 w 594423"/>
                  <a:gd name="connsiteY173" fmla="*/ 301241 h 595447"/>
                  <a:gd name="connsiteX174" fmla="*/ 33905 w 594423"/>
                  <a:gd name="connsiteY174" fmla="*/ 315796 h 595447"/>
                  <a:gd name="connsiteX175" fmla="*/ 132394 w 594423"/>
                  <a:gd name="connsiteY175" fmla="*/ 403676 h 595447"/>
                  <a:gd name="connsiteX176" fmla="*/ 117797 w 594423"/>
                  <a:gd name="connsiteY176" fmla="*/ 389164 h 595447"/>
                  <a:gd name="connsiteX177" fmla="*/ 132309 w 594423"/>
                  <a:gd name="connsiteY177" fmla="*/ 374567 h 595447"/>
                  <a:gd name="connsiteX178" fmla="*/ 146906 w 594423"/>
                  <a:gd name="connsiteY178" fmla="*/ 389079 h 595447"/>
                  <a:gd name="connsiteX179" fmla="*/ 146906 w 594423"/>
                  <a:gd name="connsiteY179" fmla="*/ 389164 h 595447"/>
                  <a:gd name="connsiteX180" fmla="*/ 132394 w 594423"/>
                  <a:gd name="connsiteY180" fmla="*/ 403676 h 595447"/>
                  <a:gd name="connsiteX181" fmla="*/ 205635 w 594423"/>
                  <a:gd name="connsiteY181" fmla="*/ 507555 h 595447"/>
                  <a:gd name="connsiteX182" fmla="*/ 191080 w 594423"/>
                  <a:gd name="connsiteY182" fmla="*/ 493000 h 595447"/>
                  <a:gd name="connsiteX183" fmla="*/ 205635 w 594423"/>
                  <a:gd name="connsiteY183" fmla="*/ 478445 h 595447"/>
                  <a:gd name="connsiteX184" fmla="*/ 220190 w 594423"/>
                  <a:gd name="connsiteY184" fmla="*/ 493000 h 595447"/>
                  <a:gd name="connsiteX185" fmla="*/ 220190 w 594423"/>
                  <a:gd name="connsiteY185" fmla="*/ 493042 h 595447"/>
                  <a:gd name="connsiteX186" fmla="*/ 205635 w 594423"/>
                  <a:gd name="connsiteY186" fmla="*/ 507555 h 595447"/>
                  <a:gd name="connsiteX187" fmla="*/ 376304 w 594423"/>
                  <a:gd name="connsiteY187" fmla="*/ 443352 h 595447"/>
                  <a:gd name="connsiteX188" fmla="*/ 390859 w 594423"/>
                  <a:gd name="connsiteY188" fmla="*/ 457907 h 595447"/>
                  <a:gd name="connsiteX189" fmla="*/ 376304 w 594423"/>
                  <a:gd name="connsiteY189" fmla="*/ 472462 h 595447"/>
                  <a:gd name="connsiteX190" fmla="*/ 361750 w 594423"/>
                  <a:gd name="connsiteY190" fmla="*/ 457907 h 595447"/>
                  <a:gd name="connsiteX191" fmla="*/ 361750 w 594423"/>
                  <a:gd name="connsiteY191" fmla="*/ 457865 h 595447"/>
                  <a:gd name="connsiteX192" fmla="*/ 376304 w 594423"/>
                  <a:gd name="connsiteY192" fmla="*/ 443352 h 595447"/>
                  <a:gd name="connsiteX193" fmla="*/ 276882 w 594423"/>
                  <a:gd name="connsiteY193" fmla="*/ 34034 h 595447"/>
                  <a:gd name="connsiteX194" fmla="*/ 291394 w 594423"/>
                  <a:gd name="connsiteY194" fmla="*/ 19437 h 595447"/>
                  <a:gd name="connsiteX195" fmla="*/ 305991 w 594423"/>
                  <a:gd name="connsiteY195" fmla="*/ 33949 h 595447"/>
                  <a:gd name="connsiteX196" fmla="*/ 291479 w 594423"/>
                  <a:gd name="connsiteY196" fmla="*/ 48546 h 595447"/>
                  <a:gd name="connsiteX197" fmla="*/ 291437 w 594423"/>
                  <a:gd name="connsiteY197" fmla="*/ 48546 h 595447"/>
                  <a:gd name="connsiteX198" fmla="*/ 276882 w 594423"/>
                  <a:gd name="connsiteY198" fmla="*/ 34034 h 595447"/>
                  <a:gd name="connsiteX199" fmla="*/ 305949 w 594423"/>
                  <a:gd name="connsiteY199" fmla="*/ 560894 h 595447"/>
                  <a:gd name="connsiteX200" fmla="*/ 291436 w 594423"/>
                  <a:gd name="connsiteY200" fmla="*/ 575492 h 595447"/>
                  <a:gd name="connsiteX201" fmla="*/ 276839 w 594423"/>
                  <a:gd name="connsiteY201" fmla="*/ 560979 h 595447"/>
                  <a:gd name="connsiteX202" fmla="*/ 291352 w 594423"/>
                  <a:gd name="connsiteY202" fmla="*/ 546382 h 595447"/>
                  <a:gd name="connsiteX203" fmla="*/ 291436 w 594423"/>
                  <a:gd name="connsiteY203" fmla="*/ 546382 h 595447"/>
                  <a:gd name="connsiteX204" fmla="*/ 305949 w 594423"/>
                  <a:gd name="connsiteY204" fmla="*/ 560894 h 595447"/>
                  <a:gd name="connsiteX205" fmla="*/ 355979 w 594423"/>
                  <a:gd name="connsiteY205" fmla="*/ 362261 h 595447"/>
                  <a:gd name="connsiteX206" fmla="*/ 226894 w 594423"/>
                  <a:gd name="connsiteY206" fmla="*/ 362261 h 595447"/>
                  <a:gd name="connsiteX207" fmla="*/ 226894 w 594423"/>
                  <a:gd name="connsiteY207" fmla="*/ 233177 h 595447"/>
                  <a:gd name="connsiteX208" fmla="*/ 355979 w 594423"/>
                  <a:gd name="connsiteY208" fmla="*/ 233177 h 595447"/>
                  <a:gd name="connsiteX209" fmla="*/ 461597 w 594423"/>
                  <a:gd name="connsiteY209" fmla="*/ 374609 h 595447"/>
                  <a:gd name="connsiteX210" fmla="*/ 476194 w 594423"/>
                  <a:gd name="connsiteY210" fmla="*/ 389122 h 595447"/>
                  <a:gd name="connsiteX211" fmla="*/ 461682 w 594423"/>
                  <a:gd name="connsiteY211" fmla="*/ 403719 h 595447"/>
                  <a:gd name="connsiteX212" fmla="*/ 447084 w 594423"/>
                  <a:gd name="connsiteY212" fmla="*/ 389206 h 595447"/>
                  <a:gd name="connsiteX213" fmla="*/ 447084 w 594423"/>
                  <a:gd name="connsiteY213" fmla="*/ 389164 h 595447"/>
                  <a:gd name="connsiteX214" fmla="*/ 461597 w 594423"/>
                  <a:gd name="connsiteY214" fmla="*/ 374609 h 595447"/>
                  <a:gd name="connsiteX215" fmla="*/ 560044 w 594423"/>
                  <a:gd name="connsiteY215" fmla="*/ 315796 h 595447"/>
                  <a:gd name="connsiteX216" fmla="*/ 545489 w 594423"/>
                  <a:gd name="connsiteY216" fmla="*/ 301241 h 595447"/>
                  <a:gd name="connsiteX217" fmla="*/ 560044 w 594423"/>
                  <a:gd name="connsiteY217" fmla="*/ 286686 h 595447"/>
                  <a:gd name="connsiteX218" fmla="*/ 574598 w 594423"/>
                  <a:gd name="connsiteY218" fmla="*/ 301241 h 595447"/>
                  <a:gd name="connsiteX219" fmla="*/ 560044 w 594423"/>
                  <a:gd name="connsiteY219" fmla="*/ 315796 h 595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</a:cxnLst>
                <a:rect l="l" t="t" r="r" b="b"/>
                <a:pathLst>
                  <a:path w="594423" h="595447">
                    <a:moveTo>
                      <a:pt x="594373" y="301241"/>
                    </a:moveTo>
                    <a:cubicBezTo>
                      <a:pt x="594148" y="282283"/>
                      <a:pt x="578597" y="267096"/>
                      <a:pt x="559639" y="267321"/>
                    </a:cubicBezTo>
                    <a:cubicBezTo>
                      <a:pt x="546037" y="267482"/>
                      <a:pt x="533813" y="275660"/>
                      <a:pt x="528473" y="288171"/>
                    </a:cubicBezTo>
                    <a:lnTo>
                      <a:pt x="528261" y="288723"/>
                    </a:lnTo>
                    <a:lnTo>
                      <a:pt x="381227" y="288723"/>
                    </a:lnTo>
                    <a:lnTo>
                      <a:pt x="381227" y="267888"/>
                    </a:lnTo>
                    <a:lnTo>
                      <a:pt x="441483" y="267888"/>
                    </a:lnTo>
                    <a:cubicBezTo>
                      <a:pt x="444802" y="267874"/>
                      <a:pt x="447984" y="266564"/>
                      <a:pt x="450352" y="264238"/>
                    </a:cubicBezTo>
                    <a:lnTo>
                      <a:pt x="467877" y="246713"/>
                    </a:lnTo>
                    <a:lnTo>
                      <a:pt x="468429" y="246968"/>
                    </a:lnTo>
                    <a:cubicBezTo>
                      <a:pt x="473032" y="249198"/>
                      <a:pt x="478080" y="250358"/>
                      <a:pt x="483196" y="250363"/>
                    </a:cubicBezTo>
                    <a:cubicBezTo>
                      <a:pt x="502202" y="250434"/>
                      <a:pt x="517667" y="235084"/>
                      <a:pt x="517738" y="216077"/>
                    </a:cubicBezTo>
                    <a:cubicBezTo>
                      <a:pt x="517809" y="197071"/>
                      <a:pt x="502459" y="181606"/>
                      <a:pt x="483453" y="181535"/>
                    </a:cubicBezTo>
                    <a:cubicBezTo>
                      <a:pt x="464447" y="181464"/>
                      <a:pt x="448981" y="196814"/>
                      <a:pt x="448910" y="215820"/>
                    </a:cubicBezTo>
                    <a:cubicBezTo>
                      <a:pt x="448896" y="219796"/>
                      <a:pt x="449570" y="223745"/>
                      <a:pt x="450903" y="227491"/>
                    </a:cubicBezTo>
                    <a:lnTo>
                      <a:pt x="450903" y="228000"/>
                    </a:lnTo>
                    <a:lnTo>
                      <a:pt x="436136" y="242809"/>
                    </a:lnTo>
                    <a:lnTo>
                      <a:pt x="380972" y="242809"/>
                    </a:lnTo>
                    <a:lnTo>
                      <a:pt x="380972" y="208098"/>
                    </a:lnTo>
                    <a:lnTo>
                      <a:pt x="350250" y="208098"/>
                    </a:lnTo>
                    <a:lnTo>
                      <a:pt x="350250" y="200418"/>
                    </a:lnTo>
                    <a:lnTo>
                      <a:pt x="365781" y="184887"/>
                    </a:lnTo>
                    <a:lnTo>
                      <a:pt x="366290" y="184887"/>
                    </a:lnTo>
                    <a:cubicBezTo>
                      <a:pt x="370477" y="186663"/>
                      <a:pt x="374981" y="187572"/>
                      <a:pt x="379529" y="187560"/>
                    </a:cubicBezTo>
                    <a:cubicBezTo>
                      <a:pt x="398465" y="187560"/>
                      <a:pt x="413816" y="172210"/>
                      <a:pt x="413816" y="153274"/>
                    </a:cubicBezTo>
                    <a:cubicBezTo>
                      <a:pt x="413816" y="134338"/>
                      <a:pt x="398465" y="118987"/>
                      <a:pt x="379529" y="118987"/>
                    </a:cubicBezTo>
                    <a:cubicBezTo>
                      <a:pt x="360593" y="118987"/>
                      <a:pt x="345243" y="134338"/>
                      <a:pt x="345243" y="153274"/>
                    </a:cubicBezTo>
                    <a:cubicBezTo>
                      <a:pt x="345252" y="157770"/>
                      <a:pt x="346131" y="162223"/>
                      <a:pt x="347831" y="166386"/>
                    </a:cubicBezTo>
                    <a:lnTo>
                      <a:pt x="348086" y="166895"/>
                    </a:lnTo>
                    <a:lnTo>
                      <a:pt x="328863" y="186117"/>
                    </a:lnTo>
                    <a:cubicBezTo>
                      <a:pt x="326498" y="188462"/>
                      <a:pt x="325169" y="191656"/>
                      <a:pt x="325172" y="194986"/>
                    </a:cubicBezTo>
                    <a:lnTo>
                      <a:pt x="325171" y="207716"/>
                    </a:lnTo>
                    <a:lnTo>
                      <a:pt x="304167" y="207716"/>
                    </a:lnTo>
                    <a:lnTo>
                      <a:pt x="304167" y="65944"/>
                    </a:lnTo>
                    <a:lnTo>
                      <a:pt x="304718" y="65944"/>
                    </a:lnTo>
                    <a:cubicBezTo>
                      <a:pt x="322225" y="58726"/>
                      <a:pt x="330565" y="38683"/>
                      <a:pt x="323347" y="21177"/>
                    </a:cubicBezTo>
                    <a:cubicBezTo>
                      <a:pt x="316128" y="3671"/>
                      <a:pt x="296085" y="-4670"/>
                      <a:pt x="278579" y="2549"/>
                    </a:cubicBezTo>
                    <a:cubicBezTo>
                      <a:pt x="261073" y="9767"/>
                      <a:pt x="252733" y="29810"/>
                      <a:pt x="259951" y="47316"/>
                    </a:cubicBezTo>
                    <a:cubicBezTo>
                      <a:pt x="263432" y="55759"/>
                      <a:pt x="270137" y="62464"/>
                      <a:pt x="278579" y="65944"/>
                    </a:cubicBezTo>
                    <a:lnTo>
                      <a:pt x="279088" y="65944"/>
                    </a:lnTo>
                    <a:lnTo>
                      <a:pt x="279088" y="207929"/>
                    </a:lnTo>
                    <a:lnTo>
                      <a:pt x="258126" y="207929"/>
                    </a:lnTo>
                    <a:lnTo>
                      <a:pt x="258126" y="153740"/>
                    </a:lnTo>
                    <a:cubicBezTo>
                      <a:pt x="258101" y="150415"/>
                      <a:pt x="256776" y="147232"/>
                      <a:pt x="254434" y="144872"/>
                    </a:cubicBezTo>
                    <a:lnTo>
                      <a:pt x="236909" y="127346"/>
                    </a:lnTo>
                    <a:lnTo>
                      <a:pt x="237206" y="126795"/>
                    </a:lnTo>
                    <a:cubicBezTo>
                      <a:pt x="239436" y="122191"/>
                      <a:pt x="240596" y="117143"/>
                      <a:pt x="240601" y="112028"/>
                    </a:cubicBezTo>
                    <a:cubicBezTo>
                      <a:pt x="240672" y="93022"/>
                      <a:pt x="225322" y="77556"/>
                      <a:pt x="206315" y="77485"/>
                    </a:cubicBezTo>
                    <a:cubicBezTo>
                      <a:pt x="187309" y="77414"/>
                      <a:pt x="171844" y="92765"/>
                      <a:pt x="171773" y="111771"/>
                    </a:cubicBezTo>
                    <a:cubicBezTo>
                      <a:pt x="171702" y="130777"/>
                      <a:pt x="187052" y="146242"/>
                      <a:pt x="206058" y="146313"/>
                    </a:cubicBezTo>
                    <a:cubicBezTo>
                      <a:pt x="210034" y="146328"/>
                      <a:pt x="213983" y="145653"/>
                      <a:pt x="217729" y="144320"/>
                    </a:cubicBezTo>
                    <a:lnTo>
                      <a:pt x="218238" y="144320"/>
                    </a:lnTo>
                    <a:lnTo>
                      <a:pt x="233047" y="159087"/>
                    </a:lnTo>
                    <a:lnTo>
                      <a:pt x="233047" y="208098"/>
                    </a:lnTo>
                    <a:lnTo>
                      <a:pt x="201731" y="208098"/>
                    </a:lnTo>
                    <a:lnTo>
                      <a:pt x="201731" y="242809"/>
                    </a:lnTo>
                    <a:lnTo>
                      <a:pt x="149113" y="242809"/>
                    </a:lnTo>
                    <a:lnTo>
                      <a:pt x="134303" y="228000"/>
                    </a:lnTo>
                    <a:lnTo>
                      <a:pt x="134303" y="227491"/>
                    </a:lnTo>
                    <a:cubicBezTo>
                      <a:pt x="135633" y="223832"/>
                      <a:pt x="136308" y="219968"/>
                      <a:pt x="136298" y="216076"/>
                    </a:cubicBezTo>
                    <a:cubicBezTo>
                      <a:pt x="136498" y="197094"/>
                      <a:pt x="121272" y="181544"/>
                      <a:pt x="102291" y="181344"/>
                    </a:cubicBezTo>
                    <a:cubicBezTo>
                      <a:pt x="83309" y="181144"/>
                      <a:pt x="67759" y="196369"/>
                      <a:pt x="67559" y="215351"/>
                    </a:cubicBezTo>
                    <a:cubicBezTo>
                      <a:pt x="67359" y="234333"/>
                      <a:pt x="82584" y="249883"/>
                      <a:pt x="101566" y="250083"/>
                    </a:cubicBezTo>
                    <a:cubicBezTo>
                      <a:pt x="106860" y="250139"/>
                      <a:pt x="112095" y="248971"/>
                      <a:pt x="116863" y="246671"/>
                    </a:cubicBezTo>
                    <a:lnTo>
                      <a:pt x="117415" y="246416"/>
                    </a:lnTo>
                    <a:lnTo>
                      <a:pt x="134898" y="263941"/>
                    </a:lnTo>
                    <a:cubicBezTo>
                      <a:pt x="137265" y="266267"/>
                      <a:pt x="140447" y="267577"/>
                      <a:pt x="143766" y="267591"/>
                    </a:cubicBezTo>
                    <a:lnTo>
                      <a:pt x="201731" y="267591"/>
                    </a:lnTo>
                    <a:lnTo>
                      <a:pt x="201731" y="288596"/>
                    </a:lnTo>
                    <a:lnTo>
                      <a:pt x="65942" y="288596"/>
                    </a:lnTo>
                    <a:lnTo>
                      <a:pt x="65942" y="288044"/>
                    </a:lnTo>
                    <a:cubicBezTo>
                      <a:pt x="58724" y="270538"/>
                      <a:pt x="38681" y="262197"/>
                      <a:pt x="21175" y="269416"/>
                    </a:cubicBezTo>
                    <a:cubicBezTo>
                      <a:pt x="3668" y="276634"/>
                      <a:pt x="-4672" y="296677"/>
                      <a:pt x="2546" y="314183"/>
                    </a:cubicBezTo>
                    <a:cubicBezTo>
                      <a:pt x="9765" y="331690"/>
                      <a:pt x="29808" y="340030"/>
                      <a:pt x="47314" y="332811"/>
                    </a:cubicBezTo>
                    <a:cubicBezTo>
                      <a:pt x="55756" y="329331"/>
                      <a:pt x="62461" y="322626"/>
                      <a:pt x="65942" y="314183"/>
                    </a:cubicBezTo>
                    <a:lnTo>
                      <a:pt x="65942" y="313674"/>
                    </a:lnTo>
                    <a:lnTo>
                      <a:pt x="201731" y="313674"/>
                    </a:lnTo>
                    <a:lnTo>
                      <a:pt x="201731" y="334636"/>
                    </a:lnTo>
                    <a:lnTo>
                      <a:pt x="173555" y="334636"/>
                    </a:lnTo>
                    <a:cubicBezTo>
                      <a:pt x="170230" y="334662"/>
                      <a:pt x="167047" y="335987"/>
                      <a:pt x="164686" y="338328"/>
                    </a:cubicBezTo>
                    <a:lnTo>
                      <a:pt x="145633" y="357381"/>
                    </a:lnTo>
                    <a:lnTo>
                      <a:pt x="145124" y="357169"/>
                    </a:lnTo>
                    <a:cubicBezTo>
                      <a:pt x="127524" y="350184"/>
                      <a:pt x="107593" y="358789"/>
                      <a:pt x="100608" y="376390"/>
                    </a:cubicBezTo>
                    <a:cubicBezTo>
                      <a:pt x="93622" y="393990"/>
                      <a:pt x="102228" y="413921"/>
                      <a:pt x="119828" y="420906"/>
                    </a:cubicBezTo>
                    <a:cubicBezTo>
                      <a:pt x="137429" y="427891"/>
                      <a:pt x="157360" y="419286"/>
                      <a:pt x="164345" y="401685"/>
                    </a:cubicBezTo>
                    <a:cubicBezTo>
                      <a:pt x="167709" y="393207"/>
                      <a:pt x="167557" y="383738"/>
                      <a:pt x="163922" y="375373"/>
                    </a:cubicBezTo>
                    <a:lnTo>
                      <a:pt x="163668" y="374821"/>
                    </a:lnTo>
                    <a:lnTo>
                      <a:pt x="178774" y="359757"/>
                    </a:lnTo>
                    <a:lnTo>
                      <a:pt x="201731" y="359757"/>
                    </a:lnTo>
                    <a:lnTo>
                      <a:pt x="201731" y="387382"/>
                    </a:lnTo>
                    <a:lnTo>
                      <a:pt x="232496" y="387382"/>
                    </a:lnTo>
                    <a:lnTo>
                      <a:pt x="232496" y="446110"/>
                    </a:lnTo>
                    <a:lnTo>
                      <a:pt x="217686" y="460920"/>
                    </a:lnTo>
                    <a:lnTo>
                      <a:pt x="217177" y="460920"/>
                    </a:lnTo>
                    <a:cubicBezTo>
                      <a:pt x="213506" y="459577"/>
                      <a:pt x="209629" y="458888"/>
                      <a:pt x="205720" y="458883"/>
                    </a:cubicBezTo>
                    <a:cubicBezTo>
                      <a:pt x="186760" y="458863"/>
                      <a:pt x="171375" y="474217"/>
                      <a:pt x="171355" y="493176"/>
                    </a:cubicBezTo>
                    <a:cubicBezTo>
                      <a:pt x="171335" y="512136"/>
                      <a:pt x="186688" y="527521"/>
                      <a:pt x="205648" y="527541"/>
                    </a:cubicBezTo>
                    <a:cubicBezTo>
                      <a:pt x="224607" y="527561"/>
                      <a:pt x="239993" y="512208"/>
                      <a:pt x="240013" y="493248"/>
                    </a:cubicBezTo>
                    <a:cubicBezTo>
                      <a:pt x="240018" y="488111"/>
                      <a:pt x="238871" y="483038"/>
                      <a:pt x="236654" y="478403"/>
                    </a:cubicBezTo>
                    <a:lnTo>
                      <a:pt x="236357" y="477851"/>
                    </a:lnTo>
                    <a:lnTo>
                      <a:pt x="253882" y="460368"/>
                    </a:lnTo>
                    <a:cubicBezTo>
                      <a:pt x="256224" y="458008"/>
                      <a:pt x="257549" y="454825"/>
                      <a:pt x="257574" y="451500"/>
                    </a:cubicBezTo>
                    <a:lnTo>
                      <a:pt x="257574" y="387849"/>
                    </a:lnTo>
                    <a:lnTo>
                      <a:pt x="279215" y="387849"/>
                    </a:lnTo>
                    <a:lnTo>
                      <a:pt x="279215" y="529239"/>
                    </a:lnTo>
                    <a:lnTo>
                      <a:pt x="278664" y="529493"/>
                    </a:lnTo>
                    <a:cubicBezTo>
                      <a:pt x="261183" y="536711"/>
                      <a:pt x="252863" y="556734"/>
                      <a:pt x="260082" y="574215"/>
                    </a:cubicBezTo>
                    <a:cubicBezTo>
                      <a:pt x="267300" y="591696"/>
                      <a:pt x="287322" y="600015"/>
                      <a:pt x="304803" y="592797"/>
                    </a:cubicBezTo>
                    <a:cubicBezTo>
                      <a:pt x="322284" y="585579"/>
                      <a:pt x="330604" y="565557"/>
                      <a:pt x="323386" y="548076"/>
                    </a:cubicBezTo>
                    <a:cubicBezTo>
                      <a:pt x="319909" y="539657"/>
                      <a:pt x="313222" y="532970"/>
                      <a:pt x="304803" y="529493"/>
                    </a:cubicBezTo>
                    <a:lnTo>
                      <a:pt x="304294" y="529493"/>
                    </a:lnTo>
                    <a:lnTo>
                      <a:pt x="304294" y="387509"/>
                    </a:lnTo>
                    <a:lnTo>
                      <a:pt x="324535" y="387509"/>
                    </a:lnTo>
                    <a:lnTo>
                      <a:pt x="324535" y="416152"/>
                    </a:lnTo>
                    <a:cubicBezTo>
                      <a:pt x="324523" y="419484"/>
                      <a:pt x="325854" y="422681"/>
                      <a:pt x="328227" y="425021"/>
                    </a:cubicBezTo>
                    <a:lnTo>
                      <a:pt x="345752" y="442546"/>
                    </a:lnTo>
                    <a:lnTo>
                      <a:pt x="345455" y="443098"/>
                    </a:lnTo>
                    <a:cubicBezTo>
                      <a:pt x="343225" y="447701"/>
                      <a:pt x="342065" y="452749"/>
                      <a:pt x="342060" y="457865"/>
                    </a:cubicBezTo>
                    <a:cubicBezTo>
                      <a:pt x="342037" y="476824"/>
                      <a:pt x="357387" y="492213"/>
                      <a:pt x="376347" y="492236"/>
                    </a:cubicBezTo>
                    <a:cubicBezTo>
                      <a:pt x="395306" y="492260"/>
                      <a:pt x="410695" y="476909"/>
                      <a:pt x="410718" y="457950"/>
                    </a:cubicBezTo>
                    <a:cubicBezTo>
                      <a:pt x="410742" y="438990"/>
                      <a:pt x="395391" y="423601"/>
                      <a:pt x="376432" y="423578"/>
                    </a:cubicBezTo>
                    <a:cubicBezTo>
                      <a:pt x="376418" y="423578"/>
                      <a:pt x="376403" y="423578"/>
                      <a:pt x="376389" y="423578"/>
                    </a:cubicBezTo>
                    <a:cubicBezTo>
                      <a:pt x="372481" y="423583"/>
                      <a:pt x="368603" y="424272"/>
                      <a:pt x="364932" y="425615"/>
                    </a:cubicBezTo>
                    <a:lnTo>
                      <a:pt x="364423" y="425615"/>
                    </a:lnTo>
                    <a:lnTo>
                      <a:pt x="364041" y="425233"/>
                    </a:lnTo>
                    <a:lnTo>
                      <a:pt x="349614" y="410805"/>
                    </a:lnTo>
                    <a:lnTo>
                      <a:pt x="349614" y="387339"/>
                    </a:lnTo>
                    <a:lnTo>
                      <a:pt x="381312" y="387339"/>
                    </a:lnTo>
                    <a:lnTo>
                      <a:pt x="381312" y="359715"/>
                    </a:lnTo>
                    <a:lnTo>
                      <a:pt x="415259" y="359715"/>
                    </a:lnTo>
                    <a:lnTo>
                      <a:pt x="430365" y="374779"/>
                    </a:lnTo>
                    <a:lnTo>
                      <a:pt x="430111" y="375331"/>
                    </a:lnTo>
                    <a:cubicBezTo>
                      <a:pt x="422564" y="392698"/>
                      <a:pt x="430525" y="412894"/>
                      <a:pt x="447892" y="420441"/>
                    </a:cubicBezTo>
                    <a:cubicBezTo>
                      <a:pt x="465260" y="427988"/>
                      <a:pt x="485456" y="420027"/>
                      <a:pt x="493003" y="402659"/>
                    </a:cubicBezTo>
                    <a:cubicBezTo>
                      <a:pt x="500550" y="385292"/>
                      <a:pt x="492588" y="365096"/>
                      <a:pt x="475221" y="357549"/>
                    </a:cubicBezTo>
                    <a:cubicBezTo>
                      <a:pt x="466856" y="353914"/>
                      <a:pt x="457387" y="353762"/>
                      <a:pt x="448909" y="357126"/>
                    </a:cubicBezTo>
                    <a:lnTo>
                      <a:pt x="448400" y="357339"/>
                    </a:lnTo>
                    <a:lnTo>
                      <a:pt x="429347" y="338286"/>
                    </a:lnTo>
                    <a:cubicBezTo>
                      <a:pt x="427002" y="335921"/>
                      <a:pt x="423809" y="334591"/>
                      <a:pt x="420478" y="334594"/>
                    </a:cubicBezTo>
                    <a:lnTo>
                      <a:pt x="381227" y="334594"/>
                    </a:lnTo>
                    <a:lnTo>
                      <a:pt x="381227" y="313632"/>
                    </a:lnTo>
                    <a:lnTo>
                      <a:pt x="528133" y="313632"/>
                    </a:lnTo>
                    <a:lnTo>
                      <a:pt x="528345" y="314141"/>
                    </a:lnTo>
                    <a:cubicBezTo>
                      <a:pt x="535624" y="331647"/>
                      <a:pt x="555717" y="339938"/>
                      <a:pt x="573223" y="332660"/>
                    </a:cubicBezTo>
                    <a:cubicBezTo>
                      <a:pt x="585992" y="327351"/>
                      <a:pt x="594328" y="314899"/>
                      <a:pt x="594373" y="301071"/>
                    </a:cubicBezTo>
                    <a:close/>
                    <a:moveTo>
                      <a:pt x="483196" y="201351"/>
                    </a:moveTo>
                    <a:cubicBezTo>
                      <a:pt x="491234" y="201328"/>
                      <a:pt x="497769" y="207825"/>
                      <a:pt x="497793" y="215864"/>
                    </a:cubicBezTo>
                    <a:cubicBezTo>
                      <a:pt x="497816" y="223902"/>
                      <a:pt x="491319" y="230437"/>
                      <a:pt x="483281" y="230461"/>
                    </a:cubicBezTo>
                    <a:cubicBezTo>
                      <a:pt x="475242" y="230484"/>
                      <a:pt x="468707" y="223987"/>
                      <a:pt x="468683" y="215948"/>
                    </a:cubicBezTo>
                    <a:cubicBezTo>
                      <a:pt x="468683" y="215934"/>
                      <a:pt x="468683" y="215920"/>
                      <a:pt x="468683" y="215906"/>
                    </a:cubicBezTo>
                    <a:cubicBezTo>
                      <a:pt x="468706" y="207894"/>
                      <a:pt x="475183" y="201398"/>
                      <a:pt x="483196" y="201351"/>
                    </a:cubicBezTo>
                    <a:close/>
                    <a:moveTo>
                      <a:pt x="379317" y="139567"/>
                    </a:moveTo>
                    <a:cubicBezTo>
                      <a:pt x="387356" y="139567"/>
                      <a:pt x="393872" y="146084"/>
                      <a:pt x="393872" y="154122"/>
                    </a:cubicBezTo>
                    <a:cubicBezTo>
                      <a:pt x="393872" y="162161"/>
                      <a:pt x="387356" y="168677"/>
                      <a:pt x="379317" y="168677"/>
                    </a:cubicBezTo>
                    <a:cubicBezTo>
                      <a:pt x="371279" y="168677"/>
                      <a:pt x="364762" y="162161"/>
                      <a:pt x="364762" y="154122"/>
                    </a:cubicBezTo>
                    <a:cubicBezTo>
                      <a:pt x="364786" y="146093"/>
                      <a:pt x="371289" y="139591"/>
                      <a:pt x="379317" y="139567"/>
                    </a:cubicBezTo>
                    <a:close/>
                    <a:moveTo>
                      <a:pt x="205974" y="126540"/>
                    </a:moveTo>
                    <a:cubicBezTo>
                      <a:pt x="197936" y="126540"/>
                      <a:pt x="191420" y="120024"/>
                      <a:pt x="191420" y="111985"/>
                    </a:cubicBezTo>
                    <a:cubicBezTo>
                      <a:pt x="191420" y="103947"/>
                      <a:pt x="197936" y="97430"/>
                      <a:pt x="205975" y="97430"/>
                    </a:cubicBezTo>
                    <a:cubicBezTo>
                      <a:pt x="214013" y="97430"/>
                      <a:pt x="220529" y="103947"/>
                      <a:pt x="220529" y="111985"/>
                    </a:cubicBezTo>
                    <a:cubicBezTo>
                      <a:pt x="220529" y="111999"/>
                      <a:pt x="220529" y="112014"/>
                      <a:pt x="220529" y="112028"/>
                    </a:cubicBezTo>
                    <a:cubicBezTo>
                      <a:pt x="220529" y="120043"/>
                      <a:pt x="214032" y="126540"/>
                      <a:pt x="206017" y="126540"/>
                    </a:cubicBezTo>
                    <a:cubicBezTo>
                      <a:pt x="206003" y="126540"/>
                      <a:pt x="205989" y="126540"/>
                      <a:pt x="205974" y="126540"/>
                    </a:cubicBezTo>
                    <a:close/>
                    <a:moveTo>
                      <a:pt x="102181" y="230419"/>
                    </a:moveTo>
                    <a:cubicBezTo>
                      <a:pt x="94143" y="230419"/>
                      <a:pt x="87626" y="223902"/>
                      <a:pt x="87626" y="215864"/>
                    </a:cubicBezTo>
                    <a:cubicBezTo>
                      <a:pt x="87626" y="207825"/>
                      <a:pt x="94143" y="201309"/>
                      <a:pt x="102181" y="201309"/>
                    </a:cubicBezTo>
                    <a:cubicBezTo>
                      <a:pt x="110219" y="201309"/>
                      <a:pt x="116736" y="207825"/>
                      <a:pt x="116736" y="215864"/>
                    </a:cubicBezTo>
                    <a:cubicBezTo>
                      <a:pt x="116736" y="215878"/>
                      <a:pt x="116736" y="215892"/>
                      <a:pt x="116736" y="215906"/>
                    </a:cubicBezTo>
                    <a:cubicBezTo>
                      <a:pt x="116736" y="223921"/>
                      <a:pt x="110238" y="230419"/>
                      <a:pt x="102223" y="230419"/>
                    </a:cubicBezTo>
                    <a:cubicBezTo>
                      <a:pt x="102209" y="230419"/>
                      <a:pt x="102195" y="230419"/>
                      <a:pt x="102181" y="230419"/>
                    </a:cubicBezTo>
                    <a:close/>
                    <a:moveTo>
                      <a:pt x="33905" y="315796"/>
                    </a:moveTo>
                    <a:cubicBezTo>
                      <a:pt x="25866" y="315796"/>
                      <a:pt x="19350" y="309279"/>
                      <a:pt x="19350" y="301241"/>
                    </a:cubicBezTo>
                    <a:cubicBezTo>
                      <a:pt x="19350" y="293202"/>
                      <a:pt x="25866" y="286686"/>
                      <a:pt x="33905" y="286686"/>
                    </a:cubicBezTo>
                    <a:cubicBezTo>
                      <a:pt x="41943" y="286686"/>
                      <a:pt x="48460" y="293202"/>
                      <a:pt x="48460" y="301241"/>
                    </a:cubicBezTo>
                    <a:cubicBezTo>
                      <a:pt x="48436" y="309270"/>
                      <a:pt x="41933" y="315772"/>
                      <a:pt x="33905" y="315796"/>
                    </a:cubicBezTo>
                    <a:close/>
                    <a:moveTo>
                      <a:pt x="132394" y="403676"/>
                    </a:moveTo>
                    <a:cubicBezTo>
                      <a:pt x="124356" y="403700"/>
                      <a:pt x="117820" y="397202"/>
                      <a:pt x="117797" y="389164"/>
                    </a:cubicBezTo>
                    <a:cubicBezTo>
                      <a:pt x="117773" y="381126"/>
                      <a:pt x="124271" y="374590"/>
                      <a:pt x="132309" y="374567"/>
                    </a:cubicBezTo>
                    <a:cubicBezTo>
                      <a:pt x="140348" y="374544"/>
                      <a:pt x="146883" y="381041"/>
                      <a:pt x="146906" y="389079"/>
                    </a:cubicBezTo>
                    <a:cubicBezTo>
                      <a:pt x="146906" y="389108"/>
                      <a:pt x="146906" y="389136"/>
                      <a:pt x="146906" y="389164"/>
                    </a:cubicBezTo>
                    <a:cubicBezTo>
                      <a:pt x="146883" y="397169"/>
                      <a:pt x="140399" y="403653"/>
                      <a:pt x="132394" y="403676"/>
                    </a:cubicBezTo>
                    <a:close/>
                    <a:moveTo>
                      <a:pt x="205635" y="507555"/>
                    </a:moveTo>
                    <a:cubicBezTo>
                      <a:pt x="197597" y="507555"/>
                      <a:pt x="191080" y="501038"/>
                      <a:pt x="191080" y="493000"/>
                    </a:cubicBezTo>
                    <a:cubicBezTo>
                      <a:pt x="191080" y="484962"/>
                      <a:pt x="197597" y="478445"/>
                      <a:pt x="205635" y="478445"/>
                    </a:cubicBezTo>
                    <a:cubicBezTo>
                      <a:pt x="213674" y="478445"/>
                      <a:pt x="220190" y="484962"/>
                      <a:pt x="220190" y="493000"/>
                    </a:cubicBezTo>
                    <a:cubicBezTo>
                      <a:pt x="220190" y="493014"/>
                      <a:pt x="220190" y="493028"/>
                      <a:pt x="220190" y="493042"/>
                    </a:cubicBezTo>
                    <a:cubicBezTo>
                      <a:pt x="220166" y="501064"/>
                      <a:pt x="213657" y="507555"/>
                      <a:pt x="205635" y="507555"/>
                    </a:cubicBezTo>
                    <a:close/>
                    <a:moveTo>
                      <a:pt x="376304" y="443352"/>
                    </a:moveTo>
                    <a:cubicBezTo>
                      <a:pt x="384343" y="443352"/>
                      <a:pt x="390859" y="449869"/>
                      <a:pt x="390859" y="457907"/>
                    </a:cubicBezTo>
                    <a:cubicBezTo>
                      <a:pt x="390859" y="465946"/>
                      <a:pt x="384343" y="472462"/>
                      <a:pt x="376304" y="472462"/>
                    </a:cubicBezTo>
                    <a:cubicBezTo>
                      <a:pt x="368266" y="472462"/>
                      <a:pt x="361750" y="465946"/>
                      <a:pt x="361750" y="457907"/>
                    </a:cubicBezTo>
                    <a:cubicBezTo>
                      <a:pt x="361750" y="457893"/>
                      <a:pt x="361750" y="457879"/>
                      <a:pt x="361750" y="457865"/>
                    </a:cubicBezTo>
                    <a:cubicBezTo>
                      <a:pt x="361773" y="449843"/>
                      <a:pt x="368283" y="443352"/>
                      <a:pt x="376304" y="443352"/>
                    </a:cubicBezTo>
                    <a:close/>
                    <a:moveTo>
                      <a:pt x="276882" y="34034"/>
                    </a:moveTo>
                    <a:cubicBezTo>
                      <a:pt x="276858" y="25996"/>
                      <a:pt x="283356" y="19460"/>
                      <a:pt x="291394" y="19437"/>
                    </a:cubicBezTo>
                    <a:cubicBezTo>
                      <a:pt x="299432" y="19413"/>
                      <a:pt x="305968" y="25911"/>
                      <a:pt x="305991" y="33949"/>
                    </a:cubicBezTo>
                    <a:cubicBezTo>
                      <a:pt x="306015" y="41988"/>
                      <a:pt x="299517" y="48523"/>
                      <a:pt x="291479" y="48546"/>
                    </a:cubicBezTo>
                    <a:cubicBezTo>
                      <a:pt x="291465" y="48546"/>
                      <a:pt x="291451" y="48546"/>
                      <a:pt x="291437" y="48546"/>
                    </a:cubicBezTo>
                    <a:cubicBezTo>
                      <a:pt x="283424" y="48523"/>
                      <a:pt x="276928" y="42046"/>
                      <a:pt x="276882" y="34034"/>
                    </a:cubicBezTo>
                    <a:close/>
                    <a:moveTo>
                      <a:pt x="305949" y="560894"/>
                    </a:moveTo>
                    <a:cubicBezTo>
                      <a:pt x="305972" y="568933"/>
                      <a:pt x="299475" y="575468"/>
                      <a:pt x="291436" y="575492"/>
                    </a:cubicBezTo>
                    <a:cubicBezTo>
                      <a:pt x="283398" y="575515"/>
                      <a:pt x="276863" y="569018"/>
                      <a:pt x="276839" y="560979"/>
                    </a:cubicBezTo>
                    <a:cubicBezTo>
                      <a:pt x="276816" y="552941"/>
                      <a:pt x="283313" y="546405"/>
                      <a:pt x="291352" y="546382"/>
                    </a:cubicBezTo>
                    <a:cubicBezTo>
                      <a:pt x="291380" y="546382"/>
                      <a:pt x="291408" y="546382"/>
                      <a:pt x="291436" y="546382"/>
                    </a:cubicBezTo>
                    <a:cubicBezTo>
                      <a:pt x="299442" y="546405"/>
                      <a:pt x="305926" y="552889"/>
                      <a:pt x="305949" y="560894"/>
                    </a:cubicBezTo>
                    <a:close/>
                    <a:moveTo>
                      <a:pt x="355979" y="362261"/>
                    </a:moveTo>
                    <a:lnTo>
                      <a:pt x="226894" y="362261"/>
                    </a:lnTo>
                    <a:lnTo>
                      <a:pt x="226894" y="233177"/>
                    </a:lnTo>
                    <a:lnTo>
                      <a:pt x="355979" y="233177"/>
                    </a:lnTo>
                    <a:close/>
                    <a:moveTo>
                      <a:pt x="461597" y="374609"/>
                    </a:moveTo>
                    <a:cubicBezTo>
                      <a:pt x="469635" y="374586"/>
                      <a:pt x="476171" y="381083"/>
                      <a:pt x="476194" y="389122"/>
                    </a:cubicBezTo>
                    <a:cubicBezTo>
                      <a:pt x="476217" y="397160"/>
                      <a:pt x="469720" y="403695"/>
                      <a:pt x="461682" y="403719"/>
                    </a:cubicBezTo>
                    <a:cubicBezTo>
                      <a:pt x="453643" y="403742"/>
                      <a:pt x="447108" y="397245"/>
                      <a:pt x="447084" y="389206"/>
                    </a:cubicBezTo>
                    <a:cubicBezTo>
                      <a:pt x="447084" y="389192"/>
                      <a:pt x="447084" y="389178"/>
                      <a:pt x="447084" y="389164"/>
                    </a:cubicBezTo>
                    <a:cubicBezTo>
                      <a:pt x="447108" y="381152"/>
                      <a:pt x="453585" y="374656"/>
                      <a:pt x="461597" y="374609"/>
                    </a:cubicBezTo>
                    <a:close/>
                    <a:moveTo>
                      <a:pt x="560044" y="315796"/>
                    </a:moveTo>
                    <a:cubicBezTo>
                      <a:pt x="552005" y="315796"/>
                      <a:pt x="545489" y="309279"/>
                      <a:pt x="545489" y="301241"/>
                    </a:cubicBezTo>
                    <a:cubicBezTo>
                      <a:pt x="545489" y="293202"/>
                      <a:pt x="552005" y="286686"/>
                      <a:pt x="560044" y="286686"/>
                    </a:cubicBezTo>
                    <a:cubicBezTo>
                      <a:pt x="568082" y="286686"/>
                      <a:pt x="574598" y="293202"/>
                      <a:pt x="574598" y="301241"/>
                    </a:cubicBezTo>
                    <a:cubicBezTo>
                      <a:pt x="574598" y="309279"/>
                      <a:pt x="568082" y="315796"/>
                      <a:pt x="560044" y="315796"/>
                    </a:cubicBez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340" name="Freihandform: Form 339">
              <a:extLst>
                <a:ext uri="{FF2B5EF4-FFF2-40B4-BE49-F238E27FC236}">
                  <a16:creationId xmlns:a16="http://schemas.microsoft.com/office/drawing/2014/main" id="{0156E410-D20E-4289-A8F0-7239A7ABF3A6}"/>
                </a:ext>
              </a:extLst>
            </p:cNvPr>
            <p:cNvSpPr/>
            <p:nvPr/>
          </p:nvSpPr>
          <p:spPr>
            <a:xfrm>
              <a:off x="982367" y="2843331"/>
              <a:ext cx="68530" cy="68530"/>
            </a:xfrm>
            <a:custGeom>
              <a:avLst/>
              <a:gdLst>
                <a:gd name="connsiteX0" fmla="*/ 0 w 68530"/>
                <a:gd name="connsiteY0" fmla="*/ 0 h 68530"/>
                <a:gd name="connsiteX1" fmla="*/ 68531 w 68530"/>
                <a:gd name="connsiteY1" fmla="*/ 0 h 68530"/>
                <a:gd name="connsiteX2" fmla="*/ 68531 w 68530"/>
                <a:gd name="connsiteY2" fmla="*/ 68531 h 68530"/>
                <a:gd name="connsiteX3" fmla="*/ 0 w 68530"/>
                <a:gd name="connsiteY3" fmla="*/ 68531 h 6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530" h="68530">
                  <a:moveTo>
                    <a:pt x="0" y="0"/>
                  </a:moveTo>
                  <a:lnTo>
                    <a:pt x="68531" y="0"/>
                  </a:lnTo>
                  <a:lnTo>
                    <a:pt x="68531" y="68531"/>
                  </a:lnTo>
                  <a:lnTo>
                    <a:pt x="0" y="68531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1" name="Freihandform: Form 340">
              <a:extLst>
                <a:ext uri="{FF2B5EF4-FFF2-40B4-BE49-F238E27FC236}">
                  <a16:creationId xmlns:a16="http://schemas.microsoft.com/office/drawing/2014/main" id="{A5777708-1687-4D06-9B88-7B8CC59A34BF}"/>
                </a:ext>
              </a:extLst>
            </p:cNvPr>
            <p:cNvSpPr/>
            <p:nvPr/>
          </p:nvSpPr>
          <p:spPr>
            <a:xfrm>
              <a:off x="725166" y="2579807"/>
              <a:ext cx="594423" cy="595447"/>
            </a:xfrm>
            <a:custGeom>
              <a:avLst/>
              <a:gdLst>
                <a:gd name="connsiteX0" fmla="*/ 594373 w 594423"/>
                <a:gd name="connsiteY0" fmla="*/ 301241 h 595447"/>
                <a:gd name="connsiteX1" fmla="*/ 559639 w 594423"/>
                <a:gd name="connsiteY1" fmla="*/ 267321 h 595447"/>
                <a:gd name="connsiteX2" fmla="*/ 528473 w 594423"/>
                <a:gd name="connsiteY2" fmla="*/ 288171 h 595447"/>
                <a:gd name="connsiteX3" fmla="*/ 528261 w 594423"/>
                <a:gd name="connsiteY3" fmla="*/ 288723 h 595447"/>
                <a:gd name="connsiteX4" fmla="*/ 381227 w 594423"/>
                <a:gd name="connsiteY4" fmla="*/ 288723 h 595447"/>
                <a:gd name="connsiteX5" fmla="*/ 381227 w 594423"/>
                <a:gd name="connsiteY5" fmla="*/ 267888 h 595447"/>
                <a:gd name="connsiteX6" fmla="*/ 441483 w 594423"/>
                <a:gd name="connsiteY6" fmla="*/ 267888 h 595447"/>
                <a:gd name="connsiteX7" fmla="*/ 450352 w 594423"/>
                <a:gd name="connsiteY7" fmla="*/ 264238 h 595447"/>
                <a:gd name="connsiteX8" fmla="*/ 467877 w 594423"/>
                <a:gd name="connsiteY8" fmla="*/ 246713 h 595447"/>
                <a:gd name="connsiteX9" fmla="*/ 468429 w 594423"/>
                <a:gd name="connsiteY9" fmla="*/ 246968 h 595447"/>
                <a:gd name="connsiteX10" fmla="*/ 483196 w 594423"/>
                <a:gd name="connsiteY10" fmla="*/ 250363 h 595447"/>
                <a:gd name="connsiteX11" fmla="*/ 517738 w 594423"/>
                <a:gd name="connsiteY11" fmla="*/ 216077 h 595447"/>
                <a:gd name="connsiteX12" fmla="*/ 483453 w 594423"/>
                <a:gd name="connsiteY12" fmla="*/ 181535 h 595447"/>
                <a:gd name="connsiteX13" fmla="*/ 448910 w 594423"/>
                <a:gd name="connsiteY13" fmla="*/ 215820 h 595447"/>
                <a:gd name="connsiteX14" fmla="*/ 450903 w 594423"/>
                <a:gd name="connsiteY14" fmla="*/ 227491 h 595447"/>
                <a:gd name="connsiteX15" fmla="*/ 450903 w 594423"/>
                <a:gd name="connsiteY15" fmla="*/ 228000 h 595447"/>
                <a:gd name="connsiteX16" fmla="*/ 436136 w 594423"/>
                <a:gd name="connsiteY16" fmla="*/ 242809 h 595447"/>
                <a:gd name="connsiteX17" fmla="*/ 380972 w 594423"/>
                <a:gd name="connsiteY17" fmla="*/ 242809 h 595447"/>
                <a:gd name="connsiteX18" fmla="*/ 380972 w 594423"/>
                <a:gd name="connsiteY18" fmla="*/ 208098 h 595447"/>
                <a:gd name="connsiteX19" fmla="*/ 350250 w 594423"/>
                <a:gd name="connsiteY19" fmla="*/ 208098 h 595447"/>
                <a:gd name="connsiteX20" fmla="*/ 350250 w 594423"/>
                <a:gd name="connsiteY20" fmla="*/ 200418 h 595447"/>
                <a:gd name="connsiteX21" fmla="*/ 365781 w 594423"/>
                <a:gd name="connsiteY21" fmla="*/ 184887 h 595447"/>
                <a:gd name="connsiteX22" fmla="*/ 366290 w 594423"/>
                <a:gd name="connsiteY22" fmla="*/ 184887 h 595447"/>
                <a:gd name="connsiteX23" fmla="*/ 379529 w 594423"/>
                <a:gd name="connsiteY23" fmla="*/ 187560 h 595447"/>
                <a:gd name="connsiteX24" fmla="*/ 413816 w 594423"/>
                <a:gd name="connsiteY24" fmla="*/ 153274 h 595447"/>
                <a:gd name="connsiteX25" fmla="*/ 379529 w 594423"/>
                <a:gd name="connsiteY25" fmla="*/ 118987 h 595447"/>
                <a:gd name="connsiteX26" fmla="*/ 345243 w 594423"/>
                <a:gd name="connsiteY26" fmla="*/ 153274 h 595447"/>
                <a:gd name="connsiteX27" fmla="*/ 347831 w 594423"/>
                <a:gd name="connsiteY27" fmla="*/ 166386 h 595447"/>
                <a:gd name="connsiteX28" fmla="*/ 348086 w 594423"/>
                <a:gd name="connsiteY28" fmla="*/ 166895 h 595447"/>
                <a:gd name="connsiteX29" fmla="*/ 328863 w 594423"/>
                <a:gd name="connsiteY29" fmla="*/ 186117 h 595447"/>
                <a:gd name="connsiteX30" fmla="*/ 325172 w 594423"/>
                <a:gd name="connsiteY30" fmla="*/ 194986 h 595447"/>
                <a:gd name="connsiteX31" fmla="*/ 325171 w 594423"/>
                <a:gd name="connsiteY31" fmla="*/ 207716 h 595447"/>
                <a:gd name="connsiteX32" fmla="*/ 304167 w 594423"/>
                <a:gd name="connsiteY32" fmla="*/ 207716 h 595447"/>
                <a:gd name="connsiteX33" fmla="*/ 304167 w 594423"/>
                <a:gd name="connsiteY33" fmla="*/ 65944 h 595447"/>
                <a:gd name="connsiteX34" fmla="*/ 304718 w 594423"/>
                <a:gd name="connsiteY34" fmla="*/ 65944 h 595447"/>
                <a:gd name="connsiteX35" fmla="*/ 323347 w 594423"/>
                <a:gd name="connsiteY35" fmla="*/ 21177 h 595447"/>
                <a:gd name="connsiteX36" fmla="*/ 278579 w 594423"/>
                <a:gd name="connsiteY36" fmla="*/ 2549 h 595447"/>
                <a:gd name="connsiteX37" fmla="*/ 259951 w 594423"/>
                <a:gd name="connsiteY37" fmla="*/ 47316 h 595447"/>
                <a:gd name="connsiteX38" fmla="*/ 278579 w 594423"/>
                <a:gd name="connsiteY38" fmla="*/ 65944 h 595447"/>
                <a:gd name="connsiteX39" fmla="*/ 279088 w 594423"/>
                <a:gd name="connsiteY39" fmla="*/ 65944 h 595447"/>
                <a:gd name="connsiteX40" fmla="*/ 279088 w 594423"/>
                <a:gd name="connsiteY40" fmla="*/ 207929 h 595447"/>
                <a:gd name="connsiteX41" fmla="*/ 258126 w 594423"/>
                <a:gd name="connsiteY41" fmla="*/ 207929 h 595447"/>
                <a:gd name="connsiteX42" fmla="*/ 258126 w 594423"/>
                <a:gd name="connsiteY42" fmla="*/ 153740 h 595447"/>
                <a:gd name="connsiteX43" fmla="*/ 254434 w 594423"/>
                <a:gd name="connsiteY43" fmla="*/ 144872 h 595447"/>
                <a:gd name="connsiteX44" fmla="*/ 236909 w 594423"/>
                <a:gd name="connsiteY44" fmla="*/ 127346 h 595447"/>
                <a:gd name="connsiteX45" fmla="*/ 237206 w 594423"/>
                <a:gd name="connsiteY45" fmla="*/ 126795 h 595447"/>
                <a:gd name="connsiteX46" fmla="*/ 240601 w 594423"/>
                <a:gd name="connsiteY46" fmla="*/ 112028 h 595447"/>
                <a:gd name="connsiteX47" fmla="*/ 206315 w 594423"/>
                <a:gd name="connsiteY47" fmla="*/ 77485 h 595447"/>
                <a:gd name="connsiteX48" fmla="*/ 171773 w 594423"/>
                <a:gd name="connsiteY48" fmla="*/ 111771 h 595447"/>
                <a:gd name="connsiteX49" fmla="*/ 206058 w 594423"/>
                <a:gd name="connsiteY49" fmla="*/ 146313 h 595447"/>
                <a:gd name="connsiteX50" fmla="*/ 217729 w 594423"/>
                <a:gd name="connsiteY50" fmla="*/ 144320 h 595447"/>
                <a:gd name="connsiteX51" fmla="*/ 218238 w 594423"/>
                <a:gd name="connsiteY51" fmla="*/ 144320 h 595447"/>
                <a:gd name="connsiteX52" fmla="*/ 233047 w 594423"/>
                <a:gd name="connsiteY52" fmla="*/ 159087 h 595447"/>
                <a:gd name="connsiteX53" fmla="*/ 233047 w 594423"/>
                <a:gd name="connsiteY53" fmla="*/ 208098 h 595447"/>
                <a:gd name="connsiteX54" fmla="*/ 201731 w 594423"/>
                <a:gd name="connsiteY54" fmla="*/ 208098 h 595447"/>
                <a:gd name="connsiteX55" fmla="*/ 201731 w 594423"/>
                <a:gd name="connsiteY55" fmla="*/ 242809 h 595447"/>
                <a:gd name="connsiteX56" fmla="*/ 149113 w 594423"/>
                <a:gd name="connsiteY56" fmla="*/ 242809 h 595447"/>
                <a:gd name="connsiteX57" fmla="*/ 134303 w 594423"/>
                <a:gd name="connsiteY57" fmla="*/ 228000 h 595447"/>
                <a:gd name="connsiteX58" fmla="*/ 134303 w 594423"/>
                <a:gd name="connsiteY58" fmla="*/ 227491 h 595447"/>
                <a:gd name="connsiteX59" fmla="*/ 136298 w 594423"/>
                <a:gd name="connsiteY59" fmla="*/ 216076 h 595447"/>
                <a:gd name="connsiteX60" fmla="*/ 102291 w 594423"/>
                <a:gd name="connsiteY60" fmla="*/ 181344 h 595447"/>
                <a:gd name="connsiteX61" fmla="*/ 67559 w 594423"/>
                <a:gd name="connsiteY61" fmla="*/ 215351 h 595447"/>
                <a:gd name="connsiteX62" fmla="*/ 101566 w 594423"/>
                <a:gd name="connsiteY62" fmla="*/ 250083 h 595447"/>
                <a:gd name="connsiteX63" fmla="*/ 116863 w 594423"/>
                <a:gd name="connsiteY63" fmla="*/ 246671 h 595447"/>
                <a:gd name="connsiteX64" fmla="*/ 117415 w 594423"/>
                <a:gd name="connsiteY64" fmla="*/ 246416 h 595447"/>
                <a:gd name="connsiteX65" fmla="*/ 134898 w 594423"/>
                <a:gd name="connsiteY65" fmla="*/ 263941 h 595447"/>
                <a:gd name="connsiteX66" fmla="*/ 143766 w 594423"/>
                <a:gd name="connsiteY66" fmla="*/ 267591 h 595447"/>
                <a:gd name="connsiteX67" fmla="*/ 201731 w 594423"/>
                <a:gd name="connsiteY67" fmla="*/ 267591 h 595447"/>
                <a:gd name="connsiteX68" fmla="*/ 201731 w 594423"/>
                <a:gd name="connsiteY68" fmla="*/ 288596 h 595447"/>
                <a:gd name="connsiteX69" fmla="*/ 65942 w 594423"/>
                <a:gd name="connsiteY69" fmla="*/ 288596 h 595447"/>
                <a:gd name="connsiteX70" fmla="*/ 65942 w 594423"/>
                <a:gd name="connsiteY70" fmla="*/ 288044 h 595447"/>
                <a:gd name="connsiteX71" fmla="*/ 21175 w 594423"/>
                <a:gd name="connsiteY71" fmla="*/ 269416 h 595447"/>
                <a:gd name="connsiteX72" fmla="*/ 2546 w 594423"/>
                <a:gd name="connsiteY72" fmla="*/ 314183 h 595447"/>
                <a:gd name="connsiteX73" fmla="*/ 47314 w 594423"/>
                <a:gd name="connsiteY73" fmla="*/ 332811 h 595447"/>
                <a:gd name="connsiteX74" fmla="*/ 65942 w 594423"/>
                <a:gd name="connsiteY74" fmla="*/ 314183 h 595447"/>
                <a:gd name="connsiteX75" fmla="*/ 65942 w 594423"/>
                <a:gd name="connsiteY75" fmla="*/ 313674 h 595447"/>
                <a:gd name="connsiteX76" fmla="*/ 201731 w 594423"/>
                <a:gd name="connsiteY76" fmla="*/ 313674 h 595447"/>
                <a:gd name="connsiteX77" fmla="*/ 201731 w 594423"/>
                <a:gd name="connsiteY77" fmla="*/ 334636 h 595447"/>
                <a:gd name="connsiteX78" fmla="*/ 173555 w 594423"/>
                <a:gd name="connsiteY78" fmla="*/ 334636 h 595447"/>
                <a:gd name="connsiteX79" fmla="*/ 164686 w 594423"/>
                <a:gd name="connsiteY79" fmla="*/ 338328 h 595447"/>
                <a:gd name="connsiteX80" fmla="*/ 145633 w 594423"/>
                <a:gd name="connsiteY80" fmla="*/ 357381 h 595447"/>
                <a:gd name="connsiteX81" fmla="*/ 145124 w 594423"/>
                <a:gd name="connsiteY81" fmla="*/ 357169 h 595447"/>
                <a:gd name="connsiteX82" fmla="*/ 100608 w 594423"/>
                <a:gd name="connsiteY82" fmla="*/ 376390 h 595447"/>
                <a:gd name="connsiteX83" fmla="*/ 119828 w 594423"/>
                <a:gd name="connsiteY83" fmla="*/ 420906 h 595447"/>
                <a:gd name="connsiteX84" fmla="*/ 164345 w 594423"/>
                <a:gd name="connsiteY84" fmla="*/ 401685 h 595447"/>
                <a:gd name="connsiteX85" fmla="*/ 163922 w 594423"/>
                <a:gd name="connsiteY85" fmla="*/ 375373 h 595447"/>
                <a:gd name="connsiteX86" fmla="*/ 163668 w 594423"/>
                <a:gd name="connsiteY86" fmla="*/ 374821 h 595447"/>
                <a:gd name="connsiteX87" fmla="*/ 178774 w 594423"/>
                <a:gd name="connsiteY87" fmla="*/ 359757 h 595447"/>
                <a:gd name="connsiteX88" fmla="*/ 201731 w 594423"/>
                <a:gd name="connsiteY88" fmla="*/ 359757 h 595447"/>
                <a:gd name="connsiteX89" fmla="*/ 201731 w 594423"/>
                <a:gd name="connsiteY89" fmla="*/ 387382 h 595447"/>
                <a:gd name="connsiteX90" fmla="*/ 232496 w 594423"/>
                <a:gd name="connsiteY90" fmla="*/ 387382 h 595447"/>
                <a:gd name="connsiteX91" fmla="*/ 232496 w 594423"/>
                <a:gd name="connsiteY91" fmla="*/ 446110 h 595447"/>
                <a:gd name="connsiteX92" fmla="*/ 217686 w 594423"/>
                <a:gd name="connsiteY92" fmla="*/ 460920 h 595447"/>
                <a:gd name="connsiteX93" fmla="*/ 217177 w 594423"/>
                <a:gd name="connsiteY93" fmla="*/ 460920 h 595447"/>
                <a:gd name="connsiteX94" fmla="*/ 205720 w 594423"/>
                <a:gd name="connsiteY94" fmla="*/ 458883 h 595447"/>
                <a:gd name="connsiteX95" fmla="*/ 171355 w 594423"/>
                <a:gd name="connsiteY95" fmla="*/ 493176 h 595447"/>
                <a:gd name="connsiteX96" fmla="*/ 205648 w 594423"/>
                <a:gd name="connsiteY96" fmla="*/ 527541 h 595447"/>
                <a:gd name="connsiteX97" fmla="*/ 240013 w 594423"/>
                <a:gd name="connsiteY97" fmla="*/ 493248 h 595447"/>
                <a:gd name="connsiteX98" fmla="*/ 236654 w 594423"/>
                <a:gd name="connsiteY98" fmla="*/ 478403 h 595447"/>
                <a:gd name="connsiteX99" fmla="*/ 236357 w 594423"/>
                <a:gd name="connsiteY99" fmla="*/ 477851 h 595447"/>
                <a:gd name="connsiteX100" fmla="*/ 253882 w 594423"/>
                <a:gd name="connsiteY100" fmla="*/ 460368 h 595447"/>
                <a:gd name="connsiteX101" fmla="*/ 257574 w 594423"/>
                <a:gd name="connsiteY101" fmla="*/ 451500 h 595447"/>
                <a:gd name="connsiteX102" fmla="*/ 257574 w 594423"/>
                <a:gd name="connsiteY102" fmla="*/ 387849 h 595447"/>
                <a:gd name="connsiteX103" fmla="*/ 279215 w 594423"/>
                <a:gd name="connsiteY103" fmla="*/ 387849 h 595447"/>
                <a:gd name="connsiteX104" fmla="*/ 279215 w 594423"/>
                <a:gd name="connsiteY104" fmla="*/ 529239 h 595447"/>
                <a:gd name="connsiteX105" fmla="*/ 278664 w 594423"/>
                <a:gd name="connsiteY105" fmla="*/ 529493 h 595447"/>
                <a:gd name="connsiteX106" fmla="*/ 260082 w 594423"/>
                <a:gd name="connsiteY106" fmla="*/ 574215 h 595447"/>
                <a:gd name="connsiteX107" fmla="*/ 304803 w 594423"/>
                <a:gd name="connsiteY107" fmla="*/ 592797 h 595447"/>
                <a:gd name="connsiteX108" fmla="*/ 323386 w 594423"/>
                <a:gd name="connsiteY108" fmla="*/ 548076 h 595447"/>
                <a:gd name="connsiteX109" fmla="*/ 304803 w 594423"/>
                <a:gd name="connsiteY109" fmla="*/ 529493 h 595447"/>
                <a:gd name="connsiteX110" fmla="*/ 304294 w 594423"/>
                <a:gd name="connsiteY110" fmla="*/ 529493 h 595447"/>
                <a:gd name="connsiteX111" fmla="*/ 304294 w 594423"/>
                <a:gd name="connsiteY111" fmla="*/ 387509 h 595447"/>
                <a:gd name="connsiteX112" fmla="*/ 324535 w 594423"/>
                <a:gd name="connsiteY112" fmla="*/ 387509 h 595447"/>
                <a:gd name="connsiteX113" fmla="*/ 324535 w 594423"/>
                <a:gd name="connsiteY113" fmla="*/ 416152 h 595447"/>
                <a:gd name="connsiteX114" fmla="*/ 328227 w 594423"/>
                <a:gd name="connsiteY114" fmla="*/ 425021 h 595447"/>
                <a:gd name="connsiteX115" fmla="*/ 345752 w 594423"/>
                <a:gd name="connsiteY115" fmla="*/ 442546 h 595447"/>
                <a:gd name="connsiteX116" fmla="*/ 345455 w 594423"/>
                <a:gd name="connsiteY116" fmla="*/ 443098 h 595447"/>
                <a:gd name="connsiteX117" fmla="*/ 342060 w 594423"/>
                <a:gd name="connsiteY117" fmla="*/ 457865 h 595447"/>
                <a:gd name="connsiteX118" fmla="*/ 376347 w 594423"/>
                <a:gd name="connsiteY118" fmla="*/ 492236 h 595447"/>
                <a:gd name="connsiteX119" fmla="*/ 410718 w 594423"/>
                <a:gd name="connsiteY119" fmla="*/ 457950 h 595447"/>
                <a:gd name="connsiteX120" fmla="*/ 376432 w 594423"/>
                <a:gd name="connsiteY120" fmla="*/ 423578 h 595447"/>
                <a:gd name="connsiteX121" fmla="*/ 376389 w 594423"/>
                <a:gd name="connsiteY121" fmla="*/ 423578 h 595447"/>
                <a:gd name="connsiteX122" fmla="*/ 364932 w 594423"/>
                <a:gd name="connsiteY122" fmla="*/ 425615 h 595447"/>
                <a:gd name="connsiteX123" fmla="*/ 364423 w 594423"/>
                <a:gd name="connsiteY123" fmla="*/ 425615 h 595447"/>
                <a:gd name="connsiteX124" fmla="*/ 364041 w 594423"/>
                <a:gd name="connsiteY124" fmla="*/ 425233 h 595447"/>
                <a:gd name="connsiteX125" fmla="*/ 349614 w 594423"/>
                <a:gd name="connsiteY125" fmla="*/ 410805 h 595447"/>
                <a:gd name="connsiteX126" fmla="*/ 349614 w 594423"/>
                <a:gd name="connsiteY126" fmla="*/ 387339 h 595447"/>
                <a:gd name="connsiteX127" fmla="*/ 381312 w 594423"/>
                <a:gd name="connsiteY127" fmla="*/ 387339 h 595447"/>
                <a:gd name="connsiteX128" fmla="*/ 381312 w 594423"/>
                <a:gd name="connsiteY128" fmla="*/ 359715 h 595447"/>
                <a:gd name="connsiteX129" fmla="*/ 415259 w 594423"/>
                <a:gd name="connsiteY129" fmla="*/ 359715 h 595447"/>
                <a:gd name="connsiteX130" fmla="*/ 430365 w 594423"/>
                <a:gd name="connsiteY130" fmla="*/ 374779 h 595447"/>
                <a:gd name="connsiteX131" fmla="*/ 430111 w 594423"/>
                <a:gd name="connsiteY131" fmla="*/ 375331 h 595447"/>
                <a:gd name="connsiteX132" fmla="*/ 447892 w 594423"/>
                <a:gd name="connsiteY132" fmla="*/ 420441 h 595447"/>
                <a:gd name="connsiteX133" fmla="*/ 493003 w 594423"/>
                <a:gd name="connsiteY133" fmla="*/ 402659 h 595447"/>
                <a:gd name="connsiteX134" fmla="*/ 475221 w 594423"/>
                <a:gd name="connsiteY134" fmla="*/ 357549 h 595447"/>
                <a:gd name="connsiteX135" fmla="*/ 448909 w 594423"/>
                <a:gd name="connsiteY135" fmla="*/ 357126 h 595447"/>
                <a:gd name="connsiteX136" fmla="*/ 448400 w 594423"/>
                <a:gd name="connsiteY136" fmla="*/ 357339 h 595447"/>
                <a:gd name="connsiteX137" fmla="*/ 429347 w 594423"/>
                <a:gd name="connsiteY137" fmla="*/ 338286 h 595447"/>
                <a:gd name="connsiteX138" fmla="*/ 420478 w 594423"/>
                <a:gd name="connsiteY138" fmla="*/ 334594 h 595447"/>
                <a:gd name="connsiteX139" fmla="*/ 381227 w 594423"/>
                <a:gd name="connsiteY139" fmla="*/ 334594 h 595447"/>
                <a:gd name="connsiteX140" fmla="*/ 381227 w 594423"/>
                <a:gd name="connsiteY140" fmla="*/ 313632 h 595447"/>
                <a:gd name="connsiteX141" fmla="*/ 528133 w 594423"/>
                <a:gd name="connsiteY141" fmla="*/ 313632 h 595447"/>
                <a:gd name="connsiteX142" fmla="*/ 528345 w 594423"/>
                <a:gd name="connsiteY142" fmla="*/ 314141 h 595447"/>
                <a:gd name="connsiteX143" fmla="*/ 573223 w 594423"/>
                <a:gd name="connsiteY143" fmla="*/ 332660 h 595447"/>
                <a:gd name="connsiteX144" fmla="*/ 594373 w 594423"/>
                <a:gd name="connsiteY144" fmla="*/ 301071 h 595447"/>
                <a:gd name="connsiteX145" fmla="*/ 483196 w 594423"/>
                <a:gd name="connsiteY145" fmla="*/ 201351 h 595447"/>
                <a:gd name="connsiteX146" fmla="*/ 497793 w 594423"/>
                <a:gd name="connsiteY146" fmla="*/ 215864 h 595447"/>
                <a:gd name="connsiteX147" fmla="*/ 483281 w 594423"/>
                <a:gd name="connsiteY147" fmla="*/ 230461 h 595447"/>
                <a:gd name="connsiteX148" fmla="*/ 468683 w 594423"/>
                <a:gd name="connsiteY148" fmla="*/ 215948 h 595447"/>
                <a:gd name="connsiteX149" fmla="*/ 468683 w 594423"/>
                <a:gd name="connsiteY149" fmla="*/ 215906 h 595447"/>
                <a:gd name="connsiteX150" fmla="*/ 483196 w 594423"/>
                <a:gd name="connsiteY150" fmla="*/ 201351 h 595447"/>
                <a:gd name="connsiteX151" fmla="*/ 379317 w 594423"/>
                <a:gd name="connsiteY151" fmla="*/ 139567 h 595447"/>
                <a:gd name="connsiteX152" fmla="*/ 393872 w 594423"/>
                <a:gd name="connsiteY152" fmla="*/ 154122 h 595447"/>
                <a:gd name="connsiteX153" fmla="*/ 379317 w 594423"/>
                <a:gd name="connsiteY153" fmla="*/ 168677 h 595447"/>
                <a:gd name="connsiteX154" fmla="*/ 364762 w 594423"/>
                <a:gd name="connsiteY154" fmla="*/ 154122 h 595447"/>
                <a:gd name="connsiteX155" fmla="*/ 379317 w 594423"/>
                <a:gd name="connsiteY155" fmla="*/ 139567 h 595447"/>
                <a:gd name="connsiteX156" fmla="*/ 205974 w 594423"/>
                <a:gd name="connsiteY156" fmla="*/ 126540 h 595447"/>
                <a:gd name="connsiteX157" fmla="*/ 191420 w 594423"/>
                <a:gd name="connsiteY157" fmla="*/ 111985 h 595447"/>
                <a:gd name="connsiteX158" fmla="*/ 205975 w 594423"/>
                <a:gd name="connsiteY158" fmla="*/ 97430 h 595447"/>
                <a:gd name="connsiteX159" fmla="*/ 220529 w 594423"/>
                <a:gd name="connsiteY159" fmla="*/ 111985 h 595447"/>
                <a:gd name="connsiteX160" fmla="*/ 220529 w 594423"/>
                <a:gd name="connsiteY160" fmla="*/ 112028 h 595447"/>
                <a:gd name="connsiteX161" fmla="*/ 206017 w 594423"/>
                <a:gd name="connsiteY161" fmla="*/ 126540 h 595447"/>
                <a:gd name="connsiteX162" fmla="*/ 205974 w 594423"/>
                <a:gd name="connsiteY162" fmla="*/ 126540 h 595447"/>
                <a:gd name="connsiteX163" fmla="*/ 102181 w 594423"/>
                <a:gd name="connsiteY163" fmla="*/ 230419 h 595447"/>
                <a:gd name="connsiteX164" fmla="*/ 87626 w 594423"/>
                <a:gd name="connsiteY164" fmla="*/ 215864 h 595447"/>
                <a:gd name="connsiteX165" fmla="*/ 102181 w 594423"/>
                <a:gd name="connsiteY165" fmla="*/ 201309 h 595447"/>
                <a:gd name="connsiteX166" fmla="*/ 116736 w 594423"/>
                <a:gd name="connsiteY166" fmla="*/ 215864 h 595447"/>
                <a:gd name="connsiteX167" fmla="*/ 116736 w 594423"/>
                <a:gd name="connsiteY167" fmla="*/ 215906 h 595447"/>
                <a:gd name="connsiteX168" fmla="*/ 102223 w 594423"/>
                <a:gd name="connsiteY168" fmla="*/ 230419 h 595447"/>
                <a:gd name="connsiteX169" fmla="*/ 102181 w 594423"/>
                <a:gd name="connsiteY169" fmla="*/ 230419 h 595447"/>
                <a:gd name="connsiteX170" fmla="*/ 33905 w 594423"/>
                <a:gd name="connsiteY170" fmla="*/ 315796 h 595447"/>
                <a:gd name="connsiteX171" fmla="*/ 19350 w 594423"/>
                <a:gd name="connsiteY171" fmla="*/ 301241 h 595447"/>
                <a:gd name="connsiteX172" fmla="*/ 33905 w 594423"/>
                <a:gd name="connsiteY172" fmla="*/ 286686 h 595447"/>
                <a:gd name="connsiteX173" fmla="*/ 48460 w 594423"/>
                <a:gd name="connsiteY173" fmla="*/ 301241 h 595447"/>
                <a:gd name="connsiteX174" fmla="*/ 33905 w 594423"/>
                <a:gd name="connsiteY174" fmla="*/ 315796 h 595447"/>
                <a:gd name="connsiteX175" fmla="*/ 132394 w 594423"/>
                <a:gd name="connsiteY175" fmla="*/ 403676 h 595447"/>
                <a:gd name="connsiteX176" fmla="*/ 117797 w 594423"/>
                <a:gd name="connsiteY176" fmla="*/ 389164 h 595447"/>
                <a:gd name="connsiteX177" fmla="*/ 132309 w 594423"/>
                <a:gd name="connsiteY177" fmla="*/ 374567 h 595447"/>
                <a:gd name="connsiteX178" fmla="*/ 146906 w 594423"/>
                <a:gd name="connsiteY178" fmla="*/ 389079 h 595447"/>
                <a:gd name="connsiteX179" fmla="*/ 146906 w 594423"/>
                <a:gd name="connsiteY179" fmla="*/ 389164 h 595447"/>
                <a:gd name="connsiteX180" fmla="*/ 132394 w 594423"/>
                <a:gd name="connsiteY180" fmla="*/ 403676 h 595447"/>
                <a:gd name="connsiteX181" fmla="*/ 205635 w 594423"/>
                <a:gd name="connsiteY181" fmla="*/ 507555 h 595447"/>
                <a:gd name="connsiteX182" fmla="*/ 191080 w 594423"/>
                <a:gd name="connsiteY182" fmla="*/ 493000 h 595447"/>
                <a:gd name="connsiteX183" fmla="*/ 205635 w 594423"/>
                <a:gd name="connsiteY183" fmla="*/ 478445 h 595447"/>
                <a:gd name="connsiteX184" fmla="*/ 220190 w 594423"/>
                <a:gd name="connsiteY184" fmla="*/ 493000 h 595447"/>
                <a:gd name="connsiteX185" fmla="*/ 220190 w 594423"/>
                <a:gd name="connsiteY185" fmla="*/ 493042 h 595447"/>
                <a:gd name="connsiteX186" fmla="*/ 205635 w 594423"/>
                <a:gd name="connsiteY186" fmla="*/ 507555 h 595447"/>
                <a:gd name="connsiteX187" fmla="*/ 376304 w 594423"/>
                <a:gd name="connsiteY187" fmla="*/ 443352 h 595447"/>
                <a:gd name="connsiteX188" fmla="*/ 390859 w 594423"/>
                <a:gd name="connsiteY188" fmla="*/ 457907 h 595447"/>
                <a:gd name="connsiteX189" fmla="*/ 376304 w 594423"/>
                <a:gd name="connsiteY189" fmla="*/ 472462 h 595447"/>
                <a:gd name="connsiteX190" fmla="*/ 361750 w 594423"/>
                <a:gd name="connsiteY190" fmla="*/ 457907 h 595447"/>
                <a:gd name="connsiteX191" fmla="*/ 361750 w 594423"/>
                <a:gd name="connsiteY191" fmla="*/ 457865 h 595447"/>
                <a:gd name="connsiteX192" fmla="*/ 376304 w 594423"/>
                <a:gd name="connsiteY192" fmla="*/ 443352 h 595447"/>
                <a:gd name="connsiteX193" fmla="*/ 276882 w 594423"/>
                <a:gd name="connsiteY193" fmla="*/ 34034 h 595447"/>
                <a:gd name="connsiteX194" fmla="*/ 291394 w 594423"/>
                <a:gd name="connsiteY194" fmla="*/ 19437 h 595447"/>
                <a:gd name="connsiteX195" fmla="*/ 305991 w 594423"/>
                <a:gd name="connsiteY195" fmla="*/ 33949 h 595447"/>
                <a:gd name="connsiteX196" fmla="*/ 291479 w 594423"/>
                <a:gd name="connsiteY196" fmla="*/ 48546 h 595447"/>
                <a:gd name="connsiteX197" fmla="*/ 291437 w 594423"/>
                <a:gd name="connsiteY197" fmla="*/ 48546 h 595447"/>
                <a:gd name="connsiteX198" fmla="*/ 276882 w 594423"/>
                <a:gd name="connsiteY198" fmla="*/ 34034 h 595447"/>
                <a:gd name="connsiteX199" fmla="*/ 305949 w 594423"/>
                <a:gd name="connsiteY199" fmla="*/ 560894 h 595447"/>
                <a:gd name="connsiteX200" fmla="*/ 291436 w 594423"/>
                <a:gd name="connsiteY200" fmla="*/ 575492 h 595447"/>
                <a:gd name="connsiteX201" fmla="*/ 276839 w 594423"/>
                <a:gd name="connsiteY201" fmla="*/ 560979 h 595447"/>
                <a:gd name="connsiteX202" fmla="*/ 291352 w 594423"/>
                <a:gd name="connsiteY202" fmla="*/ 546382 h 595447"/>
                <a:gd name="connsiteX203" fmla="*/ 291436 w 594423"/>
                <a:gd name="connsiteY203" fmla="*/ 546382 h 595447"/>
                <a:gd name="connsiteX204" fmla="*/ 305949 w 594423"/>
                <a:gd name="connsiteY204" fmla="*/ 560894 h 595447"/>
                <a:gd name="connsiteX205" fmla="*/ 355979 w 594423"/>
                <a:gd name="connsiteY205" fmla="*/ 362261 h 595447"/>
                <a:gd name="connsiteX206" fmla="*/ 226894 w 594423"/>
                <a:gd name="connsiteY206" fmla="*/ 362261 h 595447"/>
                <a:gd name="connsiteX207" fmla="*/ 226894 w 594423"/>
                <a:gd name="connsiteY207" fmla="*/ 233177 h 595447"/>
                <a:gd name="connsiteX208" fmla="*/ 355979 w 594423"/>
                <a:gd name="connsiteY208" fmla="*/ 233177 h 595447"/>
                <a:gd name="connsiteX209" fmla="*/ 461597 w 594423"/>
                <a:gd name="connsiteY209" fmla="*/ 374609 h 595447"/>
                <a:gd name="connsiteX210" fmla="*/ 476194 w 594423"/>
                <a:gd name="connsiteY210" fmla="*/ 389122 h 595447"/>
                <a:gd name="connsiteX211" fmla="*/ 461682 w 594423"/>
                <a:gd name="connsiteY211" fmla="*/ 403719 h 595447"/>
                <a:gd name="connsiteX212" fmla="*/ 447084 w 594423"/>
                <a:gd name="connsiteY212" fmla="*/ 389206 h 595447"/>
                <a:gd name="connsiteX213" fmla="*/ 447084 w 594423"/>
                <a:gd name="connsiteY213" fmla="*/ 389164 h 595447"/>
                <a:gd name="connsiteX214" fmla="*/ 461597 w 594423"/>
                <a:gd name="connsiteY214" fmla="*/ 374609 h 595447"/>
                <a:gd name="connsiteX215" fmla="*/ 560044 w 594423"/>
                <a:gd name="connsiteY215" fmla="*/ 315796 h 595447"/>
                <a:gd name="connsiteX216" fmla="*/ 545489 w 594423"/>
                <a:gd name="connsiteY216" fmla="*/ 301241 h 595447"/>
                <a:gd name="connsiteX217" fmla="*/ 560044 w 594423"/>
                <a:gd name="connsiteY217" fmla="*/ 286686 h 595447"/>
                <a:gd name="connsiteX218" fmla="*/ 574598 w 594423"/>
                <a:gd name="connsiteY218" fmla="*/ 301241 h 595447"/>
                <a:gd name="connsiteX219" fmla="*/ 560044 w 594423"/>
                <a:gd name="connsiteY219" fmla="*/ 315796 h 595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</a:cxnLst>
              <a:rect l="l" t="t" r="r" b="b"/>
              <a:pathLst>
                <a:path w="594423" h="595447">
                  <a:moveTo>
                    <a:pt x="594373" y="301241"/>
                  </a:moveTo>
                  <a:cubicBezTo>
                    <a:pt x="594148" y="282283"/>
                    <a:pt x="578597" y="267096"/>
                    <a:pt x="559639" y="267321"/>
                  </a:cubicBezTo>
                  <a:cubicBezTo>
                    <a:pt x="546037" y="267482"/>
                    <a:pt x="533813" y="275660"/>
                    <a:pt x="528473" y="288171"/>
                  </a:cubicBezTo>
                  <a:lnTo>
                    <a:pt x="528261" y="288723"/>
                  </a:lnTo>
                  <a:lnTo>
                    <a:pt x="381227" y="288723"/>
                  </a:lnTo>
                  <a:lnTo>
                    <a:pt x="381227" y="267888"/>
                  </a:lnTo>
                  <a:lnTo>
                    <a:pt x="441483" y="267888"/>
                  </a:lnTo>
                  <a:cubicBezTo>
                    <a:pt x="444802" y="267874"/>
                    <a:pt x="447984" y="266564"/>
                    <a:pt x="450352" y="264238"/>
                  </a:cubicBezTo>
                  <a:lnTo>
                    <a:pt x="467877" y="246713"/>
                  </a:lnTo>
                  <a:lnTo>
                    <a:pt x="468429" y="246968"/>
                  </a:lnTo>
                  <a:cubicBezTo>
                    <a:pt x="473032" y="249198"/>
                    <a:pt x="478080" y="250358"/>
                    <a:pt x="483196" y="250363"/>
                  </a:cubicBezTo>
                  <a:cubicBezTo>
                    <a:pt x="502202" y="250434"/>
                    <a:pt x="517667" y="235084"/>
                    <a:pt x="517738" y="216077"/>
                  </a:cubicBezTo>
                  <a:cubicBezTo>
                    <a:pt x="517809" y="197071"/>
                    <a:pt x="502459" y="181606"/>
                    <a:pt x="483453" y="181535"/>
                  </a:cubicBezTo>
                  <a:cubicBezTo>
                    <a:pt x="464447" y="181464"/>
                    <a:pt x="448981" y="196814"/>
                    <a:pt x="448910" y="215820"/>
                  </a:cubicBezTo>
                  <a:cubicBezTo>
                    <a:pt x="448896" y="219796"/>
                    <a:pt x="449570" y="223745"/>
                    <a:pt x="450903" y="227491"/>
                  </a:cubicBezTo>
                  <a:lnTo>
                    <a:pt x="450903" y="228000"/>
                  </a:lnTo>
                  <a:lnTo>
                    <a:pt x="436136" y="242809"/>
                  </a:lnTo>
                  <a:lnTo>
                    <a:pt x="380972" y="242809"/>
                  </a:lnTo>
                  <a:lnTo>
                    <a:pt x="380972" y="208098"/>
                  </a:lnTo>
                  <a:lnTo>
                    <a:pt x="350250" y="208098"/>
                  </a:lnTo>
                  <a:lnTo>
                    <a:pt x="350250" y="200418"/>
                  </a:lnTo>
                  <a:lnTo>
                    <a:pt x="365781" y="184887"/>
                  </a:lnTo>
                  <a:lnTo>
                    <a:pt x="366290" y="184887"/>
                  </a:lnTo>
                  <a:cubicBezTo>
                    <a:pt x="370477" y="186663"/>
                    <a:pt x="374981" y="187572"/>
                    <a:pt x="379529" y="187560"/>
                  </a:cubicBezTo>
                  <a:cubicBezTo>
                    <a:pt x="398465" y="187560"/>
                    <a:pt x="413816" y="172210"/>
                    <a:pt x="413816" y="153274"/>
                  </a:cubicBezTo>
                  <a:cubicBezTo>
                    <a:pt x="413816" y="134338"/>
                    <a:pt x="398465" y="118987"/>
                    <a:pt x="379529" y="118987"/>
                  </a:cubicBezTo>
                  <a:cubicBezTo>
                    <a:pt x="360593" y="118987"/>
                    <a:pt x="345243" y="134338"/>
                    <a:pt x="345243" y="153274"/>
                  </a:cubicBezTo>
                  <a:cubicBezTo>
                    <a:pt x="345252" y="157770"/>
                    <a:pt x="346131" y="162223"/>
                    <a:pt x="347831" y="166386"/>
                  </a:cubicBezTo>
                  <a:lnTo>
                    <a:pt x="348086" y="166895"/>
                  </a:lnTo>
                  <a:lnTo>
                    <a:pt x="328863" y="186117"/>
                  </a:lnTo>
                  <a:cubicBezTo>
                    <a:pt x="326498" y="188462"/>
                    <a:pt x="325169" y="191656"/>
                    <a:pt x="325172" y="194986"/>
                  </a:cubicBezTo>
                  <a:lnTo>
                    <a:pt x="325171" y="207716"/>
                  </a:lnTo>
                  <a:lnTo>
                    <a:pt x="304167" y="207716"/>
                  </a:lnTo>
                  <a:lnTo>
                    <a:pt x="304167" y="65944"/>
                  </a:lnTo>
                  <a:lnTo>
                    <a:pt x="304718" y="65944"/>
                  </a:lnTo>
                  <a:cubicBezTo>
                    <a:pt x="322225" y="58726"/>
                    <a:pt x="330565" y="38683"/>
                    <a:pt x="323347" y="21177"/>
                  </a:cubicBezTo>
                  <a:cubicBezTo>
                    <a:pt x="316128" y="3671"/>
                    <a:pt x="296085" y="-4670"/>
                    <a:pt x="278579" y="2549"/>
                  </a:cubicBezTo>
                  <a:cubicBezTo>
                    <a:pt x="261073" y="9767"/>
                    <a:pt x="252733" y="29810"/>
                    <a:pt x="259951" y="47316"/>
                  </a:cubicBezTo>
                  <a:cubicBezTo>
                    <a:pt x="263432" y="55759"/>
                    <a:pt x="270137" y="62464"/>
                    <a:pt x="278579" y="65944"/>
                  </a:cubicBezTo>
                  <a:lnTo>
                    <a:pt x="279088" y="65944"/>
                  </a:lnTo>
                  <a:lnTo>
                    <a:pt x="279088" y="207929"/>
                  </a:lnTo>
                  <a:lnTo>
                    <a:pt x="258126" y="207929"/>
                  </a:lnTo>
                  <a:lnTo>
                    <a:pt x="258126" y="153740"/>
                  </a:lnTo>
                  <a:cubicBezTo>
                    <a:pt x="258101" y="150415"/>
                    <a:pt x="256776" y="147232"/>
                    <a:pt x="254434" y="144872"/>
                  </a:cubicBezTo>
                  <a:lnTo>
                    <a:pt x="236909" y="127346"/>
                  </a:lnTo>
                  <a:lnTo>
                    <a:pt x="237206" y="126795"/>
                  </a:lnTo>
                  <a:cubicBezTo>
                    <a:pt x="239436" y="122191"/>
                    <a:pt x="240596" y="117143"/>
                    <a:pt x="240601" y="112028"/>
                  </a:cubicBezTo>
                  <a:cubicBezTo>
                    <a:pt x="240672" y="93022"/>
                    <a:pt x="225322" y="77556"/>
                    <a:pt x="206315" y="77485"/>
                  </a:cubicBezTo>
                  <a:cubicBezTo>
                    <a:pt x="187309" y="77414"/>
                    <a:pt x="171844" y="92765"/>
                    <a:pt x="171773" y="111771"/>
                  </a:cubicBezTo>
                  <a:cubicBezTo>
                    <a:pt x="171702" y="130777"/>
                    <a:pt x="187052" y="146242"/>
                    <a:pt x="206058" y="146313"/>
                  </a:cubicBezTo>
                  <a:cubicBezTo>
                    <a:pt x="210034" y="146328"/>
                    <a:pt x="213983" y="145653"/>
                    <a:pt x="217729" y="144320"/>
                  </a:cubicBezTo>
                  <a:lnTo>
                    <a:pt x="218238" y="144320"/>
                  </a:lnTo>
                  <a:lnTo>
                    <a:pt x="233047" y="159087"/>
                  </a:lnTo>
                  <a:lnTo>
                    <a:pt x="233047" y="208098"/>
                  </a:lnTo>
                  <a:lnTo>
                    <a:pt x="201731" y="208098"/>
                  </a:lnTo>
                  <a:lnTo>
                    <a:pt x="201731" y="242809"/>
                  </a:lnTo>
                  <a:lnTo>
                    <a:pt x="149113" y="242809"/>
                  </a:lnTo>
                  <a:lnTo>
                    <a:pt x="134303" y="228000"/>
                  </a:lnTo>
                  <a:lnTo>
                    <a:pt x="134303" y="227491"/>
                  </a:lnTo>
                  <a:cubicBezTo>
                    <a:pt x="135633" y="223832"/>
                    <a:pt x="136308" y="219968"/>
                    <a:pt x="136298" y="216076"/>
                  </a:cubicBezTo>
                  <a:cubicBezTo>
                    <a:pt x="136498" y="197094"/>
                    <a:pt x="121272" y="181544"/>
                    <a:pt x="102291" y="181344"/>
                  </a:cubicBezTo>
                  <a:cubicBezTo>
                    <a:pt x="83309" y="181144"/>
                    <a:pt x="67759" y="196369"/>
                    <a:pt x="67559" y="215351"/>
                  </a:cubicBezTo>
                  <a:cubicBezTo>
                    <a:pt x="67359" y="234333"/>
                    <a:pt x="82584" y="249883"/>
                    <a:pt x="101566" y="250083"/>
                  </a:cubicBezTo>
                  <a:cubicBezTo>
                    <a:pt x="106860" y="250139"/>
                    <a:pt x="112095" y="248971"/>
                    <a:pt x="116863" y="246671"/>
                  </a:cubicBezTo>
                  <a:lnTo>
                    <a:pt x="117415" y="246416"/>
                  </a:lnTo>
                  <a:lnTo>
                    <a:pt x="134898" y="263941"/>
                  </a:lnTo>
                  <a:cubicBezTo>
                    <a:pt x="137265" y="266267"/>
                    <a:pt x="140447" y="267577"/>
                    <a:pt x="143766" y="267591"/>
                  </a:cubicBezTo>
                  <a:lnTo>
                    <a:pt x="201731" y="267591"/>
                  </a:lnTo>
                  <a:lnTo>
                    <a:pt x="201731" y="288596"/>
                  </a:lnTo>
                  <a:lnTo>
                    <a:pt x="65942" y="288596"/>
                  </a:lnTo>
                  <a:lnTo>
                    <a:pt x="65942" y="288044"/>
                  </a:lnTo>
                  <a:cubicBezTo>
                    <a:pt x="58724" y="270538"/>
                    <a:pt x="38681" y="262197"/>
                    <a:pt x="21175" y="269416"/>
                  </a:cubicBezTo>
                  <a:cubicBezTo>
                    <a:pt x="3668" y="276634"/>
                    <a:pt x="-4672" y="296677"/>
                    <a:pt x="2546" y="314183"/>
                  </a:cubicBezTo>
                  <a:cubicBezTo>
                    <a:pt x="9765" y="331690"/>
                    <a:pt x="29808" y="340030"/>
                    <a:pt x="47314" y="332811"/>
                  </a:cubicBezTo>
                  <a:cubicBezTo>
                    <a:pt x="55756" y="329331"/>
                    <a:pt x="62461" y="322626"/>
                    <a:pt x="65942" y="314183"/>
                  </a:cubicBezTo>
                  <a:lnTo>
                    <a:pt x="65942" y="313674"/>
                  </a:lnTo>
                  <a:lnTo>
                    <a:pt x="201731" y="313674"/>
                  </a:lnTo>
                  <a:lnTo>
                    <a:pt x="201731" y="334636"/>
                  </a:lnTo>
                  <a:lnTo>
                    <a:pt x="173555" y="334636"/>
                  </a:lnTo>
                  <a:cubicBezTo>
                    <a:pt x="170230" y="334662"/>
                    <a:pt x="167047" y="335987"/>
                    <a:pt x="164686" y="338328"/>
                  </a:cubicBezTo>
                  <a:lnTo>
                    <a:pt x="145633" y="357381"/>
                  </a:lnTo>
                  <a:lnTo>
                    <a:pt x="145124" y="357169"/>
                  </a:lnTo>
                  <a:cubicBezTo>
                    <a:pt x="127524" y="350184"/>
                    <a:pt x="107593" y="358789"/>
                    <a:pt x="100608" y="376390"/>
                  </a:cubicBezTo>
                  <a:cubicBezTo>
                    <a:pt x="93622" y="393990"/>
                    <a:pt x="102228" y="413921"/>
                    <a:pt x="119828" y="420906"/>
                  </a:cubicBezTo>
                  <a:cubicBezTo>
                    <a:pt x="137429" y="427891"/>
                    <a:pt x="157360" y="419286"/>
                    <a:pt x="164345" y="401685"/>
                  </a:cubicBezTo>
                  <a:cubicBezTo>
                    <a:pt x="167709" y="393207"/>
                    <a:pt x="167557" y="383738"/>
                    <a:pt x="163922" y="375373"/>
                  </a:cubicBezTo>
                  <a:lnTo>
                    <a:pt x="163668" y="374821"/>
                  </a:lnTo>
                  <a:lnTo>
                    <a:pt x="178774" y="359757"/>
                  </a:lnTo>
                  <a:lnTo>
                    <a:pt x="201731" y="359757"/>
                  </a:lnTo>
                  <a:lnTo>
                    <a:pt x="201731" y="387382"/>
                  </a:lnTo>
                  <a:lnTo>
                    <a:pt x="232496" y="387382"/>
                  </a:lnTo>
                  <a:lnTo>
                    <a:pt x="232496" y="446110"/>
                  </a:lnTo>
                  <a:lnTo>
                    <a:pt x="217686" y="460920"/>
                  </a:lnTo>
                  <a:lnTo>
                    <a:pt x="217177" y="460920"/>
                  </a:lnTo>
                  <a:cubicBezTo>
                    <a:pt x="213506" y="459577"/>
                    <a:pt x="209629" y="458888"/>
                    <a:pt x="205720" y="458883"/>
                  </a:cubicBezTo>
                  <a:cubicBezTo>
                    <a:pt x="186760" y="458863"/>
                    <a:pt x="171375" y="474217"/>
                    <a:pt x="171355" y="493176"/>
                  </a:cubicBezTo>
                  <a:cubicBezTo>
                    <a:pt x="171335" y="512136"/>
                    <a:pt x="186688" y="527521"/>
                    <a:pt x="205648" y="527541"/>
                  </a:cubicBezTo>
                  <a:cubicBezTo>
                    <a:pt x="224607" y="527561"/>
                    <a:pt x="239993" y="512208"/>
                    <a:pt x="240013" y="493248"/>
                  </a:cubicBezTo>
                  <a:cubicBezTo>
                    <a:pt x="240018" y="488111"/>
                    <a:pt x="238871" y="483038"/>
                    <a:pt x="236654" y="478403"/>
                  </a:cubicBezTo>
                  <a:lnTo>
                    <a:pt x="236357" y="477851"/>
                  </a:lnTo>
                  <a:lnTo>
                    <a:pt x="253882" y="460368"/>
                  </a:lnTo>
                  <a:cubicBezTo>
                    <a:pt x="256224" y="458008"/>
                    <a:pt x="257549" y="454825"/>
                    <a:pt x="257574" y="451500"/>
                  </a:cubicBezTo>
                  <a:lnTo>
                    <a:pt x="257574" y="387849"/>
                  </a:lnTo>
                  <a:lnTo>
                    <a:pt x="279215" y="387849"/>
                  </a:lnTo>
                  <a:lnTo>
                    <a:pt x="279215" y="529239"/>
                  </a:lnTo>
                  <a:lnTo>
                    <a:pt x="278664" y="529493"/>
                  </a:lnTo>
                  <a:cubicBezTo>
                    <a:pt x="261183" y="536711"/>
                    <a:pt x="252863" y="556734"/>
                    <a:pt x="260082" y="574215"/>
                  </a:cubicBezTo>
                  <a:cubicBezTo>
                    <a:pt x="267300" y="591696"/>
                    <a:pt x="287322" y="600015"/>
                    <a:pt x="304803" y="592797"/>
                  </a:cubicBezTo>
                  <a:cubicBezTo>
                    <a:pt x="322284" y="585579"/>
                    <a:pt x="330604" y="565557"/>
                    <a:pt x="323386" y="548076"/>
                  </a:cubicBezTo>
                  <a:cubicBezTo>
                    <a:pt x="319909" y="539657"/>
                    <a:pt x="313222" y="532970"/>
                    <a:pt x="304803" y="529493"/>
                  </a:cubicBezTo>
                  <a:lnTo>
                    <a:pt x="304294" y="529493"/>
                  </a:lnTo>
                  <a:lnTo>
                    <a:pt x="304294" y="387509"/>
                  </a:lnTo>
                  <a:lnTo>
                    <a:pt x="324535" y="387509"/>
                  </a:lnTo>
                  <a:lnTo>
                    <a:pt x="324535" y="416152"/>
                  </a:lnTo>
                  <a:cubicBezTo>
                    <a:pt x="324523" y="419484"/>
                    <a:pt x="325854" y="422681"/>
                    <a:pt x="328227" y="425021"/>
                  </a:cubicBezTo>
                  <a:lnTo>
                    <a:pt x="345752" y="442546"/>
                  </a:lnTo>
                  <a:lnTo>
                    <a:pt x="345455" y="443098"/>
                  </a:lnTo>
                  <a:cubicBezTo>
                    <a:pt x="343225" y="447701"/>
                    <a:pt x="342065" y="452749"/>
                    <a:pt x="342060" y="457865"/>
                  </a:cubicBezTo>
                  <a:cubicBezTo>
                    <a:pt x="342037" y="476824"/>
                    <a:pt x="357387" y="492213"/>
                    <a:pt x="376347" y="492236"/>
                  </a:cubicBezTo>
                  <a:cubicBezTo>
                    <a:pt x="395306" y="492260"/>
                    <a:pt x="410695" y="476909"/>
                    <a:pt x="410718" y="457950"/>
                  </a:cubicBezTo>
                  <a:cubicBezTo>
                    <a:pt x="410742" y="438990"/>
                    <a:pt x="395391" y="423601"/>
                    <a:pt x="376432" y="423578"/>
                  </a:cubicBezTo>
                  <a:cubicBezTo>
                    <a:pt x="376418" y="423578"/>
                    <a:pt x="376403" y="423578"/>
                    <a:pt x="376389" y="423578"/>
                  </a:cubicBezTo>
                  <a:cubicBezTo>
                    <a:pt x="372481" y="423583"/>
                    <a:pt x="368603" y="424272"/>
                    <a:pt x="364932" y="425615"/>
                  </a:cubicBezTo>
                  <a:lnTo>
                    <a:pt x="364423" y="425615"/>
                  </a:lnTo>
                  <a:lnTo>
                    <a:pt x="364041" y="425233"/>
                  </a:lnTo>
                  <a:lnTo>
                    <a:pt x="349614" y="410805"/>
                  </a:lnTo>
                  <a:lnTo>
                    <a:pt x="349614" y="387339"/>
                  </a:lnTo>
                  <a:lnTo>
                    <a:pt x="381312" y="387339"/>
                  </a:lnTo>
                  <a:lnTo>
                    <a:pt x="381312" y="359715"/>
                  </a:lnTo>
                  <a:lnTo>
                    <a:pt x="415259" y="359715"/>
                  </a:lnTo>
                  <a:lnTo>
                    <a:pt x="430365" y="374779"/>
                  </a:lnTo>
                  <a:lnTo>
                    <a:pt x="430111" y="375331"/>
                  </a:lnTo>
                  <a:cubicBezTo>
                    <a:pt x="422564" y="392698"/>
                    <a:pt x="430525" y="412894"/>
                    <a:pt x="447892" y="420441"/>
                  </a:cubicBezTo>
                  <a:cubicBezTo>
                    <a:pt x="465260" y="427988"/>
                    <a:pt x="485456" y="420027"/>
                    <a:pt x="493003" y="402659"/>
                  </a:cubicBezTo>
                  <a:cubicBezTo>
                    <a:pt x="500550" y="385292"/>
                    <a:pt x="492588" y="365096"/>
                    <a:pt x="475221" y="357549"/>
                  </a:cubicBezTo>
                  <a:cubicBezTo>
                    <a:pt x="466856" y="353914"/>
                    <a:pt x="457387" y="353762"/>
                    <a:pt x="448909" y="357126"/>
                  </a:cubicBezTo>
                  <a:lnTo>
                    <a:pt x="448400" y="357339"/>
                  </a:lnTo>
                  <a:lnTo>
                    <a:pt x="429347" y="338286"/>
                  </a:lnTo>
                  <a:cubicBezTo>
                    <a:pt x="427002" y="335921"/>
                    <a:pt x="423809" y="334591"/>
                    <a:pt x="420478" y="334594"/>
                  </a:cubicBezTo>
                  <a:lnTo>
                    <a:pt x="381227" y="334594"/>
                  </a:lnTo>
                  <a:lnTo>
                    <a:pt x="381227" y="313632"/>
                  </a:lnTo>
                  <a:lnTo>
                    <a:pt x="528133" y="313632"/>
                  </a:lnTo>
                  <a:lnTo>
                    <a:pt x="528345" y="314141"/>
                  </a:lnTo>
                  <a:cubicBezTo>
                    <a:pt x="535624" y="331647"/>
                    <a:pt x="555717" y="339938"/>
                    <a:pt x="573223" y="332660"/>
                  </a:cubicBezTo>
                  <a:cubicBezTo>
                    <a:pt x="585992" y="327351"/>
                    <a:pt x="594328" y="314899"/>
                    <a:pt x="594373" y="301071"/>
                  </a:cubicBezTo>
                  <a:close/>
                  <a:moveTo>
                    <a:pt x="483196" y="201351"/>
                  </a:moveTo>
                  <a:cubicBezTo>
                    <a:pt x="491234" y="201328"/>
                    <a:pt x="497769" y="207825"/>
                    <a:pt x="497793" y="215864"/>
                  </a:cubicBezTo>
                  <a:cubicBezTo>
                    <a:pt x="497816" y="223902"/>
                    <a:pt x="491319" y="230437"/>
                    <a:pt x="483281" y="230461"/>
                  </a:cubicBezTo>
                  <a:cubicBezTo>
                    <a:pt x="475242" y="230484"/>
                    <a:pt x="468707" y="223987"/>
                    <a:pt x="468683" y="215948"/>
                  </a:cubicBezTo>
                  <a:cubicBezTo>
                    <a:pt x="468683" y="215934"/>
                    <a:pt x="468683" y="215920"/>
                    <a:pt x="468683" y="215906"/>
                  </a:cubicBezTo>
                  <a:cubicBezTo>
                    <a:pt x="468706" y="207894"/>
                    <a:pt x="475183" y="201398"/>
                    <a:pt x="483196" y="201351"/>
                  </a:cubicBezTo>
                  <a:close/>
                  <a:moveTo>
                    <a:pt x="379317" y="139567"/>
                  </a:moveTo>
                  <a:cubicBezTo>
                    <a:pt x="387356" y="139567"/>
                    <a:pt x="393872" y="146084"/>
                    <a:pt x="393872" y="154122"/>
                  </a:cubicBezTo>
                  <a:cubicBezTo>
                    <a:pt x="393872" y="162161"/>
                    <a:pt x="387356" y="168677"/>
                    <a:pt x="379317" y="168677"/>
                  </a:cubicBezTo>
                  <a:cubicBezTo>
                    <a:pt x="371279" y="168677"/>
                    <a:pt x="364762" y="162161"/>
                    <a:pt x="364762" y="154122"/>
                  </a:cubicBezTo>
                  <a:cubicBezTo>
                    <a:pt x="364786" y="146093"/>
                    <a:pt x="371289" y="139591"/>
                    <a:pt x="379317" y="139567"/>
                  </a:cubicBezTo>
                  <a:close/>
                  <a:moveTo>
                    <a:pt x="205974" y="126540"/>
                  </a:moveTo>
                  <a:cubicBezTo>
                    <a:pt x="197936" y="126540"/>
                    <a:pt x="191420" y="120024"/>
                    <a:pt x="191420" y="111985"/>
                  </a:cubicBezTo>
                  <a:cubicBezTo>
                    <a:pt x="191420" y="103947"/>
                    <a:pt x="197936" y="97430"/>
                    <a:pt x="205975" y="97430"/>
                  </a:cubicBezTo>
                  <a:cubicBezTo>
                    <a:pt x="214013" y="97430"/>
                    <a:pt x="220529" y="103947"/>
                    <a:pt x="220529" y="111985"/>
                  </a:cubicBezTo>
                  <a:cubicBezTo>
                    <a:pt x="220529" y="111999"/>
                    <a:pt x="220529" y="112014"/>
                    <a:pt x="220529" y="112028"/>
                  </a:cubicBezTo>
                  <a:cubicBezTo>
                    <a:pt x="220529" y="120043"/>
                    <a:pt x="214032" y="126540"/>
                    <a:pt x="206017" y="126540"/>
                  </a:cubicBezTo>
                  <a:cubicBezTo>
                    <a:pt x="206003" y="126540"/>
                    <a:pt x="205989" y="126540"/>
                    <a:pt x="205974" y="126540"/>
                  </a:cubicBezTo>
                  <a:close/>
                  <a:moveTo>
                    <a:pt x="102181" y="230419"/>
                  </a:moveTo>
                  <a:cubicBezTo>
                    <a:pt x="94143" y="230419"/>
                    <a:pt x="87626" y="223902"/>
                    <a:pt x="87626" y="215864"/>
                  </a:cubicBezTo>
                  <a:cubicBezTo>
                    <a:pt x="87626" y="207825"/>
                    <a:pt x="94143" y="201309"/>
                    <a:pt x="102181" y="201309"/>
                  </a:cubicBezTo>
                  <a:cubicBezTo>
                    <a:pt x="110219" y="201309"/>
                    <a:pt x="116736" y="207825"/>
                    <a:pt x="116736" y="215864"/>
                  </a:cubicBezTo>
                  <a:cubicBezTo>
                    <a:pt x="116736" y="215878"/>
                    <a:pt x="116736" y="215892"/>
                    <a:pt x="116736" y="215906"/>
                  </a:cubicBezTo>
                  <a:cubicBezTo>
                    <a:pt x="116736" y="223921"/>
                    <a:pt x="110238" y="230419"/>
                    <a:pt x="102223" y="230419"/>
                  </a:cubicBezTo>
                  <a:cubicBezTo>
                    <a:pt x="102209" y="230419"/>
                    <a:pt x="102195" y="230419"/>
                    <a:pt x="102181" y="230419"/>
                  </a:cubicBezTo>
                  <a:close/>
                  <a:moveTo>
                    <a:pt x="33905" y="315796"/>
                  </a:moveTo>
                  <a:cubicBezTo>
                    <a:pt x="25866" y="315796"/>
                    <a:pt x="19350" y="309279"/>
                    <a:pt x="19350" y="301241"/>
                  </a:cubicBezTo>
                  <a:cubicBezTo>
                    <a:pt x="19350" y="293202"/>
                    <a:pt x="25866" y="286686"/>
                    <a:pt x="33905" y="286686"/>
                  </a:cubicBezTo>
                  <a:cubicBezTo>
                    <a:pt x="41943" y="286686"/>
                    <a:pt x="48460" y="293202"/>
                    <a:pt x="48460" y="301241"/>
                  </a:cubicBezTo>
                  <a:cubicBezTo>
                    <a:pt x="48436" y="309270"/>
                    <a:pt x="41933" y="315772"/>
                    <a:pt x="33905" y="315796"/>
                  </a:cubicBezTo>
                  <a:close/>
                  <a:moveTo>
                    <a:pt x="132394" y="403676"/>
                  </a:moveTo>
                  <a:cubicBezTo>
                    <a:pt x="124356" y="403700"/>
                    <a:pt x="117820" y="397202"/>
                    <a:pt x="117797" y="389164"/>
                  </a:cubicBezTo>
                  <a:cubicBezTo>
                    <a:pt x="117773" y="381126"/>
                    <a:pt x="124271" y="374590"/>
                    <a:pt x="132309" y="374567"/>
                  </a:cubicBezTo>
                  <a:cubicBezTo>
                    <a:pt x="140348" y="374544"/>
                    <a:pt x="146883" y="381041"/>
                    <a:pt x="146906" y="389079"/>
                  </a:cubicBezTo>
                  <a:cubicBezTo>
                    <a:pt x="146906" y="389108"/>
                    <a:pt x="146906" y="389136"/>
                    <a:pt x="146906" y="389164"/>
                  </a:cubicBezTo>
                  <a:cubicBezTo>
                    <a:pt x="146883" y="397169"/>
                    <a:pt x="140399" y="403653"/>
                    <a:pt x="132394" y="403676"/>
                  </a:cubicBezTo>
                  <a:close/>
                  <a:moveTo>
                    <a:pt x="205635" y="507555"/>
                  </a:moveTo>
                  <a:cubicBezTo>
                    <a:pt x="197597" y="507555"/>
                    <a:pt x="191080" y="501038"/>
                    <a:pt x="191080" y="493000"/>
                  </a:cubicBezTo>
                  <a:cubicBezTo>
                    <a:pt x="191080" y="484962"/>
                    <a:pt x="197597" y="478445"/>
                    <a:pt x="205635" y="478445"/>
                  </a:cubicBezTo>
                  <a:cubicBezTo>
                    <a:pt x="213674" y="478445"/>
                    <a:pt x="220190" y="484962"/>
                    <a:pt x="220190" y="493000"/>
                  </a:cubicBezTo>
                  <a:cubicBezTo>
                    <a:pt x="220190" y="493014"/>
                    <a:pt x="220190" y="493028"/>
                    <a:pt x="220190" y="493042"/>
                  </a:cubicBezTo>
                  <a:cubicBezTo>
                    <a:pt x="220166" y="501064"/>
                    <a:pt x="213657" y="507555"/>
                    <a:pt x="205635" y="507555"/>
                  </a:cubicBezTo>
                  <a:close/>
                  <a:moveTo>
                    <a:pt x="376304" y="443352"/>
                  </a:moveTo>
                  <a:cubicBezTo>
                    <a:pt x="384343" y="443352"/>
                    <a:pt x="390859" y="449869"/>
                    <a:pt x="390859" y="457907"/>
                  </a:cubicBezTo>
                  <a:cubicBezTo>
                    <a:pt x="390859" y="465946"/>
                    <a:pt x="384343" y="472462"/>
                    <a:pt x="376304" y="472462"/>
                  </a:cubicBezTo>
                  <a:cubicBezTo>
                    <a:pt x="368266" y="472462"/>
                    <a:pt x="361750" y="465946"/>
                    <a:pt x="361750" y="457907"/>
                  </a:cubicBezTo>
                  <a:cubicBezTo>
                    <a:pt x="361750" y="457893"/>
                    <a:pt x="361750" y="457879"/>
                    <a:pt x="361750" y="457865"/>
                  </a:cubicBezTo>
                  <a:cubicBezTo>
                    <a:pt x="361773" y="449843"/>
                    <a:pt x="368283" y="443352"/>
                    <a:pt x="376304" y="443352"/>
                  </a:cubicBezTo>
                  <a:close/>
                  <a:moveTo>
                    <a:pt x="276882" y="34034"/>
                  </a:moveTo>
                  <a:cubicBezTo>
                    <a:pt x="276858" y="25996"/>
                    <a:pt x="283356" y="19460"/>
                    <a:pt x="291394" y="19437"/>
                  </a:cubicBezTo>
                  <a:cubicBezTo>
                    <a:pt x="299432" y="19413"/>
                    <a:pt x="305968" y="25911"/>
                    <a:pt x="305991" y="33949"/>
                  </a:cubicBezTo>
                  <a:cubicBezTo>
                    <a:pt x="306015" y="41988"/>
                    <a:pt x="299517" y="48523"/>
                    <a:pt x="291479" y="48546"/>
                  </a:cubicBezTo>
                  <a:cubicBezTo>
                    <a:pt x="291465" y="48546"/>
                    <a:pt x="291451" y="48546"/>
                    <a:pt x="291437" y="48546"/>
                  </a:cubicBezTo>
                  <a:cubicBezTo>
                    <a:pt x="283424" y="48523"/>
                    <a:pt x="276928" y="42046"/>
                    <a:pt x="276882" y="34034"/>
                  </a:cubicBezTo>
                  <a:close/>
                  <a:moveTo>
                    <a:pt x="305949" y="560894"/>
                  </a:moveTo>
                  <a:cubicBezTo>
                    <a:pt x="305972" y="568933"/>
                    <a:pt x="299475" y="575468"/>
                    <a:pt x="291436" y="575492"/>
                  </a:cubicBezTo>
                  <a:cubicBezTo>
                    <a:pt x="283398" y="575515"/>
                    <a:pt x="276863" y="569018"/>
                    <a:pt x="276839" y="560979"/>
                  </a:cubicBezTo>
                  <a:cubicBezTo>
                    <a:pt x="276816" y="552941"/>
                    <a:pt x="283313" y="546405"/>
                    <a:pt x="291352" y="546382"/>
                  </a:cubicBezTo>
                  <a:cubicBezTo>
                    <a:pt x="291380" y="546382"/>
                    <a:pt x="291408" y="546382"/>
                    <a:pt x="291436" y="546382"/>
                  </a:cubicBezTo>
                  <a:cubicBezTo>
                    <a:pt x="299442" y="546405"/>
                    <a:pt x="305926" y="552889"/>
                    <a:pt x="305949" y="560894"/>
                  </a:cubicBezTo>
                  <a:close/>
                  <a:moveTo>
                    <a:pt x="355979" y="362261"/>
                  </a:moveTo>
                  <a:lnTo>
                    <a:pt x="226894" y="362261"/>
                  </a:lnTo>
                  <a:lnTo>
                    <a:pt x="226894" y="233177"/>
                  </a:lnTo>
                  <a:lnTo>
                    <a:pt x="355979" y="233177"/>
                  </a:lnTo>
                  <a:close/>
                  <a:moveTo>
                    <a:pt x="461597" y="374609"/>
                  </a:moveTo>
                  <a:cubicBezTo>
                    <a:pt x="469635" y="374586"/>
                    <a:pt x="476171" y="381083"/>
                    <a:pt x="476194" y="389122"/>
                  </a:cubicBezTo>
                  <a:cubicBezTo>
                    <a:pt x="476217" y="397160"/>
                    <a:pt x="469720" y="403695"/>
                    <a:pt x="461682" y="403719"/>
                  </a:cubicBezTo>
                  <a:cubicBezTo>
                    <a:pt x="453643" y="403742"/>
                    <a:pt x="447108" y="397245"/>
                    <a:pt x="447084" y="389206"/>
                  </a:cubicBezTo>
                  <a:cubicBezTo>
                    <a:pt x="447084" y="389192"/>
                    <a:pt x="447084" y="389178"/>
                    <a:pt x="447084" y="389164"/>
                  </a:cubicBezTo>
                  <a:cubicBezTo>
                    <a:pt x="447108" y="381152"/>
                    <a:pt x="453585" y="374656"/>
                    <a:pt x="461597" y="374609"/>
                  </a:cubicBezTo>
                  <a:close/>
                  <a:moveTo>
                    <a:pt x="560044" y="315796"/>
                  </a:moveTo>
                  <a:cubicBezTo>
                    <a:pt x="552005" y="315796"/>
                    <a:pt x="545489" y="309279"/>
                    <a:pt x="545489" y="301241"/>
                  </a:cubicBezTo>
                  <a:cubicBezTo>
                    <a:pt x="545489" y="293202"/>
                    <a:pt x="552005" y="286686"/>
                    <a:pt x="560044" y="286686"/>
                  </a:cubicBezTo>
                  <a:cubicBezTo>
                    <a:pt x="568082" y="286686"/>
                    <a:pt x="574598" y="293202"/>
                    <a:pt x="574598" y="301241"/>
                  </a:cubicBezTo>
                  <a:cubicBezTo>
                    <a:pt x="574598" y="309279"/>
                    <a:pt x="568082" y="315796"/>
                    <a:pt x="560044" y="315796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47" name="Gruppieren 346">
            <a:extLst>
              <a:ext uri="{FF2B5EF4-FFF2-40B4-BE49-F238E27FC236}">
                <a16:creationId xmlns:a16="http://schemas.microsoft.com/office/drawing/2014/main" id="{D4C40B34-8010-4A1B-9FDD-E259B2C5364B}"/>
              </a:ext>
            </a:extLst>
          </p:cNvPr>
          <p:cNvGrpSpPr/>
          <p:nvPr/>
        </p:nvGrpSpPr>
        <p:grpSpPr>
          <a:xfrm>
            <a:off x="2006691" y="5093700"/>
            <a:ext cx="567882" cy="568042"/>
            <a:chOff x="1912707" y="2500034"/>
            <a:chExt cx="755851" cy="756064"/>
          </a:xfrm>
          <a:solidFill>
            <a:schemeClr val="bg1"/>
          </a:solidFill>
          <a:effectLst>
            <a:outerShdw blurRad="12700" dist="127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348" name="Grafik 78">
              <a:extLst>
                <a:ext uri="{FF2B5EF4-FFF2-40B4-BE49-F238E27FC236}">
                  <a16:creationId xmlns:a16="http://schemas.microsoft.com/office/drawing/2014/main" id="{B2EF4264-B292-42AE-BC57-7B4810C3AF2D}"/>
                </a:ext>
              </a:extLst>
            </p:cNvPr>
            <p:cNvGrpSpPr/>
            <p:nvPr/>
          </p:nvGrpSpPr>
          <p:grpSpPr>
            <a:xfrm>
              <a:off x="1912707" y="2500034"/>
              <a:ext cx="755851" cy="756064"/>
              <a:chOff x="1912707" y="2500034"/>
              <a:chExt cx="755851" cy="756064"/>
            </a:xfrm>
            <a:grpFill/>
          </p:grpSpPr>
          <p:sp>
            <p:nvSpPr>
              <p:cNvPr id="360" name="Freihandform: Form 359">
                <a:extLst>
                  <a:ext uri="{FF2B5EF4-FFF2-40B4-BE49-F238E27FC236}">
                    <a16:creationId xmlns:a16="http://schemas.microsoft.com/office/drawing/2014/main" id="{42EA949A-7D75-4BAA-AAA7-539B6E56F0DD}"/>
                  </a:ext>
                </a:extLst>
              </p:cNvPr>
              <p:cNvSpPr/>
              <p:nvPr/>
            </p:nvSpPr>
            <p:spPr>
              <a:xfrm>
                <a:off x="1912707" y="2500034"/>
                <a:ext cx="683499" cy="466270"/>
              </a:xfrm>
              <a:custGeom>
                <a:avLst/>
                <a:gdLst>
                  <a:gd name="connsiteX0" fmla="*/ 10573 w 683499"/>
                  <a:gd name="connsiteY0" fmla="*/ 466221 h 466270"/>
                  <a:gd name="connsiteX1" fmla="*/ 289109 w 683499"/>
                  <a:gd name="connsiteY1" fmla="*/ 10507 h 466270"/>
                  <a:gd name="connsiteX2" fmla="*/ 683449 w 683499"/>
                  <a:gd name="connsiteY2" fmla="*/ 155944 h 466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99" h="466270">
                    <a:moveTo>
                      <a:pt x="10573" y="466221"/>
                    </a:moveTo>
                    <a:cubicBezTo>
                      <a:pt x="-38354" y="263464"/>
                      <a:pt x="86351" y="59433"/>
                      <a:pt x="289109" y="10507"/>
                    </a:cubicBezTo>
                    <a:cubicBezTo>
                      <a:pt x="437882" y="-25393"/>
                      <a:pt x="593612" y="32042"/>
                      <a:pt x="683449" y="155944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1" name="Freihandform: Form 360">
                <a:extLst>
                  <a:ext uri="{FF2B5EF4-FFF2-40B4-BE49-F238E27FC236}">
                    <a16:creationId xmlns:a16="http://schemas.microsoft.com/office/drawing/2014/main" id="{1BB178FE-9760-44D8-82BF-3E991373803F}"/>
                  </a:ext>
                </a:extLst>
              </p:cNvPr>
              <p:cNvSpPr/>
              <p:nvPr/>
            </p:nvSpPr>
            <p:spPr>
              <a:xfrm>
                <a:off x="2544098" y="2617539"/>
                <a:ext cx="89068" cy="101502"/>
              </a:xfrm>
              <a:custGeom>
                <a:avLst/>
                <a:gdLst>
                  <a:gd name="connsiteX0" fmla="*/ 0 w 89068"/>
                  <a:gd name="connsiteY0" fmla="*/ 52788 h 101502"/>
                  <a:gd name="connsiteX1" fmla="*/ 89069 w 89068"/>
                  <a:gd name="connsiteY1" fmla="*/ 101502 h 101502"/>
                  <a:gd name="connsiteX2" fmla="*/ 86735 w 89068"/>
                  <a:gd name="connsiteY2" fmla="*/ 0 h 101502"/>
                  <a:gd name="connsiteX3" fmla="*/ 0 w 89068"/>
                  <a:gd name="connsiteY3" fmla="*/ 52788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0" y="52788"/>
                    </a:moveTo>
                    <a:lnTo>
                      <a:pt x="89069" y="101502"/>
                    </a:lnTo>
                    <a:lnTo>
                      <a:pt x="86735" y="0"/>
                    </a:lnTo>
                    <a:lnTo>
                      <a:pt x="0" y="52788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2" name="Freihandform: Form 361">
                <a:extLst>
                  <a:ext uri="{FF2B5EF4-FFF2-40B4-BE49-F238E27FC236}">
                    <a16:creationId xmlns:a16="http://schemas.microsoft.com/office/drawing/2014/main" id="{D837F406-CF41-46C7-8721-F03132FA0DAB}"/>
                  </a:ext>
                </a:extLst>
              </p:cNvPr>
              <p:cNvSpPr/>
              <p:nvPr/>
            </p:nvSpPr>
            <p:spPr>
              <a:xfrm>
                <a:off x="1985115" y="2790415"/>
                <a:ext cx="683443" cy="465683"/>
              </a:xfrm>
              <a:custGeom>
                <a:avLst/>
                <a:gdLst>
                  <a:gd name="connsiteX0" fmla="*/ 672909 w 683443"/>
                  <a:gd name="connsiteY0" fmla="*/ -49 h 465683"/>
                  <a:gd name="connsiteX1" fmla="*/ 393646 w 683443"/>
                  <a:gd name="connsiteY1" fmla="*/ 455220 h 465683"/>
                  <a:gd name="connsiteX2" fmla="*/ -51 w 683443"/>
                  <a:gd name="connsiteY2" fmla="*/ 309719 h 465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43" h="465683">
                    <a:moveTo>
                      <a:pt x="672909" y="-49"/>
                    </a:moveTo>
                    <a:cubicBezTo>
                      <a:pt x="721512" y="202786"/>
                      <a:pt x="596481" y="406617"/>
                      <a:pt x="393646" y="455220"/>
                    </a:cubicBezTo>
                    <a:cubicBezTo>
                      <a:pt x="245063" y="490823"/>
                      <a:pt x="89667" y="433392"/>
                      <a:pt x="-51" y="309719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363" name="Freihandform: Form 362">
                <a:extLst>
                  <a:ext uri="{FF2B5EF4-FFF2-40B4-BE49-F238E27FC236}">
                    <a16:creationId xmlns:a16="http://schemas.microsoft.com/office/drawing/2014/main" id="{A15AF0B7-3E55-42AB-AE05-FDEDB71BFAF5}"/>
                  </a:ext>
                </a:extLst>
              </p:cNvPr>
              <p:cNvSpPr/>
              <p:nvPr/>
            </p:nvSpPr>
            <p:spPr>
              <a:xfrm>
                <a:off x="1948155" y="3037254"/>
                <a:ext cx="89068" cy="101502"/>
              </a:xfrm>
              <a:custGeom>
                <a:avLst/>
                <a:gdLst>
                  <a:gd name="connsiteX0" fmla="*/ 89069 w 89068"/>
                  <a:gd name="connsiteY0" fmla="*/ 48714 h 101502"/>
                  <a:gd name="connsiteX1" fmla="*/ 0 w 89068"/>
                  <a:gd name="connsiteY1" fmla="*/ 0 h 101502"/>
                  <a:gd name="connsiteX2" fmla="*/ 2334 w 89068"/>
                  <a:gd name="connsiteY2" fmla="*/ 101502 h 101502"/>
                  <a:gd name="connsiteX3" fmla="*/ 89069 w 89068"/>
                  <a:gd name="connsiteY3" fmla="*/ 48714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89069" y="48714"/>
                    </a:moveTo>
                    <a:lnTo>
                      <a:pt x="0" y="0"/>
                    </a:lnTo>
                    <a:lnTo>
                      <a:pt x="2334" y="101502"/>
                    </a:lnTo>
                    <a:lnTo>
                      <a:pt x="89069" y="48714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349" name="Freihandform: Form 348">
              <a:extLst>
                <a:ext uri="{FF2B5EF4-FFF2-40B4-BE49-F238E27FC236}">
                  <a16:creationId xmlns:a16="http://schemas.microsoft.com/office/drawing/2014/main" id="{D1B1849B-C1A1-4B86-9E23-5E6B5C8027D7}"/>
                </a:ext>
              </a:extLst>
            </p:cNvPr>
            <p:cNvSpPr/>
            <p:nvPr/>
          </p:nvSpPr>
          <p:spPr>
            <a:xfrm>
              <a:off x="2544098" y="2617539"/>
              <a:ext cx="89068" cy="101502"/>
            </a:xfrm>
            <a:custGeom>
              <a:avLst/>
              <a:gdLst>
                <a:gd name="connsiteX0" fmla="*/ 0 w 89068"/>
                <a:gd name="connsiteY0" fmla="*/ 52788 h 101502"/>
                <a:gd name="connsiteX1" fmla="*/ 89069 w 89068"/>
                <a:gd name="connsiteY1" fmla="*/ 101502 h 101502"/>
                <a:gd name="connsiteX2" fmla="*/ 86735 w 89068"/>
                <a:gd name="connsiteY2" fmla="*/ 0 h 101502"/>
                <a:gd name="connsiteX3" fmla="*/ 0 w 89068"/>
                <a:gd name="connsiteY3" fmla="*/ 52788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0" y="52788"/>
                  </a:moveTo>
                  <a:lnTo>
                    <a:pt x="89069" y="101502"/>
                  </a:lnTo>
                  <a:lnTo>
                    <a:pt x="86735" y="0"/>
                  </a:lnTo>
                  <a:lnTo>
                    <a:pt x="0" y="52788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0" name="Freihandform: Form 349">
              <a:extLst>
                <a:ext uri="{FF2B5EF4-FFF2-40B4-BE49-F238E27FC236}">
                  <a16:creationId xmlns:a16="http://schemas.microsoft.com/office/drawing/2014/main" id="{31366125-55B7-411E-A80D-B9599554C663}"/>
                </a:ext>
              </a:extLst>
            </p:cNvPr>
            <p:cNvSpPr/>
            <p:nvPr/>
          </p:nvSpPr>
          <p:spPr>
            <a:xfrm>
              <a:off x="1948155" y="3037254"/>
              <a:ext cx="89068" cy="101502"/>
            </a:xfrm>
            <a:custGeom>
              <a:avLst/>
              <a:gdLst>
                <a:gd name="connsiteX0" fmla="*/ 89069 w 89068"/>
                <a:gd name="connsiteY0" fmla="*/ 48714 h 101502"/>
                <a:gd name="connsiteX1" fmla="*/ 0 w 89068"/>
                <a:gd name="connsiteY1" fmla="*/ 0 h 101502"/>
                <a:gd name="connsiteX2" fmla="*/ 2334 w 89068"/>
                <a:gd name="connsiteY2" fmla="*/ 101502 h 101502"/>
                <a:gd name="connsiteX3" fmla="*/ 89069 w 89068"/>
                <a:gd name="connsiteY3" fmla="*/ 48714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89069" y="48714"/>
                  </a:moveTo>
                  <a:lnTo>
                    <a:pt x="0" y="0"/>
                  </a:lnTo>
                  <a:lnTo>
                    <a:pt x="2334" y="101502"/>
                  </a:lnTo>
                  <a:lnTo>
                    <a:pt x="89069" y="48714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351" name="Grafik 78">
              <a:extLst>
                <a:ext uri="{FF2B5EF4-FFF2-40B4-BE49-F238E27FC236}">
                  <a16:creationId xmlns:a16="http://schemas.microsoft.com/office/drawing/2014/main" id="{83679FAE-AB56-48B2-B2EB-6BA7D5B09FEE}"/>
                </a:ext>
              </a:extLst>
            </p:cNvPr>
            <p:cNvGrpSpPr/>
            <p:nvPr/>
          </p:nvGrpSpPr>
          <p:grpSpPr>
            <a:xfrm>
              <a:off x="2032202" y="2618704"/>
              <a:ext cx="516748" cy="514747"/>
              <a:chOff x="2032202" y="2618704"/>
              <a:chExt cx="516748" cy="514747"/>
            </a:xfrm>
            <a:grpFill/>
          </p:grpSpPr>
          <p:sp>
            <p:nvSpPr>
              <p:cNvPr id="356" name="Freihandform: Form 355">
                <a:extLst>
                  <a:ext uri="{FF2B5EF4-FFF2-40B4-BE49-F238E27FC236}">
                    <a16:creationId xmlns:a16="http://schemas.microsoft.com/office/drawing/2014/main" id="{AC3905C0-8470-465D-BDA6-6A6216C49A4D}"/>
                  </a:ext>
                </a:extLst>
              </p:cNvPr>
              <p:cNvSpPr/>
              <p:nvPr/>
            </p:nvSpPr>
            <p:spPr>
              <a:xfrm>
                <a:off x="2236621" y="2729692"/>
                <a:ext cx="107145" cy="252991"/>
              </a:xfrm>
              <a:custGeom>
                <a:avLst/>
                <a:gdLst>
                  <a:gd name="connsiteX0" fmla="*/ 33811 w 107145"/>
                  <a:gd name="connsiteY0" fmla="*/ 233762 h 252991"/>
                  <a:gd name="connsiteX1" fmla="*/ 53458 w 107145"/>
                  <a:gd name="connsiteY1" fmla="*/ 252942 h 252991"/>
                  <a:gd name="connsiteX2" fmla="*/ 73147 w 107145"/>
                  <a:gd name="connsiteY2" fmla="*/ 228840 h 252991"/>
                  <a:gd name="connsiteX3" fmla="*/ 73147 w 107145"/>
                  <a:gd name="connsiteY3" fmla="*/ 96828 h 252991"/>
                  <a:gd name="connsiteX4" fmla="*/ 107095 w 107145"/>
                  <a:gd name="connsiteY4" fmla="*/ 96828 h 252991"/>
                  <a:gd name="connsiteX5" fmla="*/ 53585 w 107145"/>
                  <a:gd name="connsiteY5" fmla="*/ -49 h 252991"/>
                  <a:gd name="connsiteX6" fmla="*/ -51 w 107145"/>
                  <a:gd name="connsiteY6" fmla="*/ 97040 h 252991"/>
                  <a:gd name="connsiteX7" fmla="*/ 33896 w 107145"/>
                  <a:gd name="connsiteY7" fmla="*/ 97040 h 2529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7145" h="252991">
                    <a:moveTo>
                      <a:pt x="33811" y="233762"/>
                    </a:moveTo>
                    <a:cubicBezTo>
                      <a:pt x="45141" y="245262"/>
                      <a:pt x="46838" y="246195"/>
                      <a:pt x="53458" y="252942"/>
                    </a:cubicBezTo>
                    <a:cubicBezTo>
                      <a:pt x="60205" y="244456"/>
                      <a:pt x="66485" y="237030"/>
                      <a:pt x="73147" y="228840"/>
                    </a:cubicBezTo>
                    <a:lnTo>
                      <a:pt x="73147" y="96828"/>
                    </a:lnTo>
                    <a:lnTo>
                      <a:pt x="107095" y="96828"/>
                    </a:lnTo>
                    <a:cubicBezTo>
                      <a:pt x="89060" y="64196"/>
                      <a:pt x="71705" y="32710"/>
                      <a:pt x="53585" y="-49"/>
                    </a:cubicBezTo>
                    <a:cubicBezTo>
                      <a:pt x="35381" y="32837"/>
                      <a:pt x="17983" y="64323"/>
                      <a:pt x="-51" y="97040"/>
                    </a:cubicBezTo>
                    <a:lnTo>
                      <a:pt x="33896" y="97040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7" name="Freihandform: Form 356">
                <a:extLst>
                  <a:ext uri="{FF2B5EF4-FFF2-40B4-BE49-F238E27FC236}">
                    <a16:creationId xmlns:a16="http://schemas.microsoft.com/office/drawing/2014/main" id="{49B7B1A0-82D7-4097-8B5A-2348BF51EEBE}"/>
                  </a:ext>
                </a:extLst>
              </p:cNvPr>
              <p:cNvSpPr/>
              <p:nvPr/>
            </p:nvSpPr>
            <p:spPr>
              <a:xfrm>
                <a:off x="2101426" y="2910673"/>
                <a:ext cx="173597" cy="140795"/>
              </a:xfrm>
              <a:custGeom>
                <a:avLst/>
                <a:gdLst>
                  <a:gd name="connsiteX0" fmla="*/ 96401 w 173597"/>
                  <a:gd name="connsiteY0" fmla="*/ 29061 h 140795"/>
                  <a:gd name="connsiteX1" fmla="*/ 109131 w 173597"/>
                  <a:gd name="connsiteY1" fmla="*/ -49 h 140795"/>
                  <a:gd name="connsiteX2" fmla="*/ -51 w 173597"/>
                  <a:gd name="connsiteY2" fmla="*/ 12299 h 140795"/>
                  <a:gd name="connsiteX3" fmla="*/ 68904 w 173597"/>
                  <a:gd name="connsiteY3" fmla="*/ 97167 h 140795"/>
                  <a:gd name="connsiteX4" fmla="*/ 81846 w 173597"/>
                  <a:gd name="connsiteY4" fmla="*/ 64960 h 140795"/>
                  <a:gd name="connsiteX5" fmla="*/ 154578 w 173597"/>
                  <a:gd name="connsiteY5" fmla="*/ 140747 h 140795"/>
                  <a:gd name="connsiteX6" fmla="*/ 160816 w 173597"/>
                  <a:gd name="connsiteY6" fmla="*/ 121949 h 140795"/>
                  <a:gd name="connsiteX7" fmla="*/ 160816 w 173597"/>
                  <a:gd name="connsiteY7" fmla="*/ 121737 h 140795"/>
                  <a:gd name="connsiteX8" fmla="*/ 160816 w 173597"/>
                  <a:gd name="connsiteY8" fmla="*/ 121482 h 140795"/>
                  <a:gd name="connsiteX9" fmla="*/ 161537 w 173597"/>
                  <a:gd name="connsiteY9" fmla="*/ 119827 h 140795"/>
                  <a:gd name="connsiteX10" fmla="*/ 162641 w 173597"/>
                  <a:gd name="connsiteY10" fmla="*/ 117111 h 140795"/>
                  <a:gd name="connsiteX11" fmla="*/ 163150 w 173597"/>
                  <a:gd name="connsiteY11" fmla="*/ 115966 h 140795"/>
                  <a:gd name="connsiteX12" fmla="*/ 163659 w 173597"/>
                  <a:gd name="connsiteY12" fmla="*/ 114693 h 140795"/>
                  <a:gd name="connsiteX13" fmla="*/ 163659 w 173597"/>
                  <a:gd name="connsiteY13" fmla="*/ 114693 h 140795"/>
                  <a:gd name="connsiteX14" fmla="*/ 163659 w 173597"/>
                  <a:gd name="connsiteY14" fmla="*/ 114480 h 140795"/>
                  <a:gd name="connsiteX15" fmla="*/ 172867 w 173597"/>
                  <a:gd name="connsiteY15" fmla="*/ 96700 h 140795"/>
                  <a:gd name="connsiteX16" fmla="*/ 173546 w 173597"/>
                  <a:gd name="connsiteY16" fmla="*/ 95088 h 140795"/>
                  <a:gd name="connsiteX17" fmla="*/ 96401 w 173597"/>
                  <a:gd name="connsiteY17" fmla="*/ 29061 h 140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73597" h="140795">
                    <a:moveTo>
                      <a:pt x="96401" y="29061"/>
                    </a:moveTo>
                    <a:cubicBezTo>
                      <a:pt x="100390" y="18792"/>
                      <a:pt x="109131" y="-49"/>
                      <a:pt x="109131" y="-49"/>
                    </a:cubicBezTo>
                    <a:lnTo>
                      <a:pt x="-51" y="12299"/>
                    </a:lnTo>
                    <a:lnTo>
                      <a:pt x="68904" y="97167"/>
                    </a:lnTo>
                    <a:lnTo>
                      <a:pt x="81846" y="64960"/>
                    </a:lnTo>
                    <a:cubicBezTo>
                      <a:pt x="117915" y="85031"/>
                      <a:pt x="136119" y="105187"/>
                      <a:pt x="154578" y="140747"/>
                    </a:cubicBezTo>
                    <a:cubicBezTo>
                      <a:pt x="156306" y="134370"/>
                      <a:pt x="158388" y="128094"/>
                      <a:pt x="160816" y="121949"/>
                    </a:cubicBezTo>
                    <a:lnTo>
                      <a:pt x="160816" y="121737"/>
                    </a:lnTo>
                    <a:lnTo>
                      <a:pt x="160816" y="121482"/>
                    </a:lnTo>
                    <a:lnTo>
                      <a:pt x="161537" y="119827"/>
                    </a:lnTo>
                    <a:lnTo>
                      <a:pt x="162641" y="117111"/>
                    </a:lnTo>
                    <a:lnTo>
                      <a:pt x="163150" y="115966"/>
                    </a:lnTo>
                    <a:lnTo>
                      <a:pt x="163659" y="114693"/>
                    </a:lnTo>
                    <a:lnTo>
                      <a:pt x="163659" y="114693"/>
                    </a:lnTo>
                    <a:lnTo>
                      <a:pt x="163659" y="114480"/>
                    </a:lnTo>
                    <a:cubicBezTo>
                      <a:pt x="166406" y="108392"/>
                      <a:pt x="169480" y="102457"/>
                      <a:pt x="172867" y="96700"/>
                    </a:cubicBezTo>
                    <a:cubicBezTo>
                      <a:pt x="173122" y="96149"/>
                      <a:pt x="173334" y="95597"/>
                      <a:pt x="173546" y="95088"/>
                    </a:cubicBezTo>
                    <a:cubicBezTo>
                      <a:pt x="154239" y="63390"/>
                      <a:pt x="131112" y="45143"/>
                      <a:pt x="96401" y="29061"/>
                    </a:cubicBez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8" name="Freihandform: Form 357">
                <a:extLst>
                  <a:ext uri="{FF2B5EF4-FFF2-40B4-BE49-F238E27FC236}">
                    <a16:creationId xmlns:a16="http://schemas.microsoft.com/office/drawing/2014/main" id="{4FA3DCED-E929-48D9-B9DB-BAA575465570}"/>
                  </a:ext>
                </a:extLst>
              </p:cNvPr>
              <p:cNvSpPr/>
              <p:nvPr/>
            </p:nvSpPr>
            <p:spPr>
              <a:xfrm>
                <a:off x="2032202" y="2618704"/>
                <a:ext cx="516748" cy="513729"/>
              </a:xfrm>
              <a:custGeom>
                <a:avLst/>
                <a:gdLst>
                  <a:gd name="connsiteX0" fmla="*/ 297468 w 516748"/>
                  <a:gd name="connsiteY0" fmla="*/ 513680 h 513729"/>
                  <a:gd name="connsiteX1" fmla="*/ 513678 w 516748"/>
                  <a:gd name="connsiteY1" fmla="*/ 219180 h 513729"/>
                  <a:gd name="connsiteX2" fmla="*/ 219178 w 516748"/>
                  <a:gd name="connsiteY2" fmla="*/ 2970 h 513729"/>
                  <a:gd name="connsiteX3" fmla="*/ 2968 w 516748"/>
                  <a:gd name="connsiteY3" fmla="*/ 297470 h 513729"/>
                  <a:gd name="connsiteX4" fmla="*/ 216504 w 516748"/>
                  <a:gd name="connsiteY4" fmla="*/ 513256 h 513729"/>
                  <a:gd name="connsiteX5" fmla="*/ 216504 w 516748"/>
                  <a:gd name="connsiteY5" fmla="*/ 488729 h 513729"/>
                  <a:gd name="connsiteX6" fmla="*/ 216886 w 516748"/>
                  <a:gd name="connsiteY6" fmla="*/ 476211 h 513729"/>
                  <a:gd name="connsiteX7" fmla="*/ 186545 w 516748"/>
                  <a:gd name="connsiteY7" fmla="*/ 433777 h 513729"/>
                  <a:gd name="connsiteX8" fmla="*/ 170802 w 516748"/>
                  <a:gd name="connsiteY8" fmla="*/ 395926 h 513729"/>
                  <a:gd name="connsiteX9" fmla="*/ 161212 w 516748"/>
                  <a:gd name="connsiteY9" fmla="*/ 388161 h 513729"/>
                  <a:gd name="connsiteX10" fmla="*/ 157521 w 516748"/>
                  <a:gd name="connsiteY10" fmla="*/ 397114 h 513729"/>
                  <a:gd name="connsiteX11" fmla="*/ 152810 w 516748"/>
                  <a:gd name="connsiteY11" fmla="*/ 408741 h 513729"/>
                  <a:gd name="connsiteX12" fmla="*/ 167620 w 516748"/>
                  <a:gd name="connsiteY12" fmla="*/ 443537 h 513729"/>
                  <a:gd name="connsiteX13" fmla="*/ 198342 w 516748"/>
                  <a:gd name="connsiteY13" fmla="*/ 487711 h 513729"/>
                  <a:gd name="connsiteX14" fmla="*/ 62171 w 516748"/>
                  <a:gd name="connsiteY14" fmla="*/ 391343 h 513729"/>
                  <a:gd name="connsiteX15" fmla="*/ 105157 w 516748"/>
                  <a:gd name="connsiteY15" fmla="*/ 382432 h 513729"/>
                  <a:gd name="connsiteX16" fmla="*/ 89753 w 516748"/>
                  <a:gd name="connsiteY16" fmla="*/ 363422 h 513729"/>
                  <a:gd name="connsiteX17" fmla="*/ 50587 w 516748"/>
                  <a:gd name="connsiteY17" fmla="*/ 372375 h 513729"/>
                  <a:gd name="connsiteX18" fmla="*/ 22071 w 516748"/>
                  <a:gd name="connsiteY18" fmla="*/ 269812 h 513729"/>
                  <a:gd name="connsiteX19" fmla="*/ 216886 w 516748"/>
                  <a:gd name="connsiteY19" fmla="*/ 269812 h 513729"/>
                  <a:gd name="connsiteX20" fmla="*/ 216886 w 516748"/>
                  <a:gd name="connsiteY20" fmla="*/ 248595 h 513729"/>
                  <a:gd name="connsiteX21" fmla="*/ 150137 w 516748"/>
                  <a:gd name="connsiteY21" fmla="*/ 248595 h 513729"/>
                  <a:gd name="connsiteX22" fmla="*/ 159557 w 516748"/>
                  <a:gd name="connsiteY22" fmla="*/ 164237 h 513729"/>
                  <a:gd name="connsiteX23" fmla="*/ 202628 w 516748"/>
                  <a:gd name="connsiteY23" fmla="*/ 166952 h 513729"/>
                  <a:gd name="connsiteX24" fmla="*/ 204495 w 516748"/>
                  <a:gd name="connsiteY24" fmla="*/ 163558 h 513729"/>
                  <a:gd name="connsiteX25" fmla="*/ 214127 w 516748"/>
                  <a:gd name="connsiteY25" fmla="*/ 146117 h 513729"/>
                  <a:gd name="connsiteX26" fmla="*/ 164565 w 516748"/>
                  <a:gd name="connsiteY26" fmla="*/ 143274 h 513729"/>
                  <a:gd name="connsiteX27" fmla="*/ 184042 w 516748"/>
                  <a:gd name="connsiteY27" fmla="*/ 90104 h 513729"/>
                  <a:gd name="connsiteX28" fmla="*/ 247693 w 516748"/>
                  <a:gd name="connsiteY28" fmla="*/ 24544 h 513729"/>
                  <a:gd name="connsiteX29" fmla="*/ 247693 w 516748"/>
                  <a:gd name="connsiteY29" fmla="*/ 85352 h 513729"/>
                  <a:gd name="connsiteX30" fmla="*/ 257750 w 516748"/>
                  <a:gd name="connsiteY30" fmla="*/ 67190 h 513729"/>
                  <a:gd name="connsiteX31" fmla="*/ 268952 w 516748"/>
                  <a:gd name="connsiteY31" fmla="*/ 87474 h 513729"/>
                  <a:gd name="connsiteX32" fmla="*/ 268952 w 516748"/>
                  <a:gd name="connsiteY32" fmla="*/ 24502 h 513729"/>
                  <a:gd name="connsiteX33" fmla="*/ 293521 w 516748"/>
                  <a:gd name="connsiteY33" fmla="*/ 37232 h 513729"/>
                  <a:gd name="connsiteX34" fmla="*/ 330057 w 516748"/>
                  <a:gd name="connsiteY34" fmla="*/ 85012 h 513729"/>
                  <a:gd name="connsiteX35" fmla="*/ 352165 w 516748"/>
                  <a:gd name="connsiteY35" fmla="*/ 143444 h 513729"/>
                  <a:gd name="connsiteX36" fmla="*/ 301457 w 516748"/>
                  <a:gd name="connsiteY36" fmla="*/ 146329 h 513729"/>
                  <a:gd name="connsiteX37" fmla="*/ 312999 w 516748"/>
                  <a:gd name="connsiteY37" fmla="*/ 167207 h 513729"/>
                  <a:gd name="connsiteX38" fmla="*/ 357215 w 516748"/>
                  <a:gd name="connsiteY38" fmla="*/ 164406 h 513729"/>
                  <a:gd name="connsiteX39" fmla="*/ 366593 w 516748"/>
                  <a:gd name="connsiteY39" fmla="*/ 248935 h 513729"/>
                  <a:gd name="connsiteX40" fmla="*/ 298698 w 516748"/>
                  <a:gd name="connsiteY40" fmla="*/ 248935 h 513729"/>
                  <a:gd name="connsiteX41" fmla="*/ 298698 w 516748"/>
                  <a:gd name="connsiteY41" fmla="*/ 270152 h 513729"/>
                  <a:gd name="connsiteX42" fmla="*/ 494786 w 516748"/>
                  <a:gd name="connsiteY42" fmla="*/ 270152 h 513729"/>
                  <a:gd name="connsiteX43" fmla="*/ 466143 w 516748"/>
                  <a:gd name="connsiteY43" fmla="*/ 372715 h 513729"/>
                  <a:gd name="connsiteX44" fmla="*/ 426297 w 516748"/>
                  <a:gd name="connsiteY44" fmla="*/ 363634 h 513729"/>
                  <a:gd name="connsiteX45" fmla="*/ 410639 w 516748"/>
                  <a:gd name="connsiteY45" fmla="*/ 382390 h 513729"/>
                  <a:gd name="connsiteX46" fmla="*/ 454431 w 516748"/>
                  <a:gd name="connsiteY46" fmla="*/ 391386 h 513729"/>
                  <a:gd name="connsiteX47" fmla="*/ 428249 w 516748"/>
                  <a:gd name="connsiteY47" fmla="*/ 423551 h 513729"/>
                  <a:gd name="connsiteX48" fmla="*/ 349068 w 516748"/>
                  <a:gd name="connsiteY48" fmla="*/ 477442 h 513729"/>
                  <a:gd name="connsiteX49" fmla="*/ 318345 w 516748"/>
                  <a:gd name="connsiteY49" fmla="*/ 487753 h 513729"/>
                  <a:gd name="connsiteX50" fmla="*/ 351911 w 516748"/>
                  <a:gd name="connsiteY50" fmla="*/ 437808 h 513729"/>
                  <a:gd name="connsiteX51" fmla="*/ 363325 w 516748"/>
                  <a:gd name="connsiteY51" fmla="*/ 410481 h 513729"/>
                  <a:gd name="connsiteX52" fmla="*/ 357936 w 516748"/>
                  <a:gd name="connsiteY52" fmla="*/ 397199 h 513729"/>
                  <a:gd name="connsiteX53" fmla="*/ 353693 w 516748"/>
                  <a:gd name="connsiteY53" fmla="*/ 387057 h 513729"/>
                  <a:gd name="connsiteX54" fmla="*/ 346521 w 516748"/>
                  <a:gd name="connsiteY54" fmla="*/ 392107 h 513729"/>
                  <a:gd name="connsiteX55" fmla="*/ 332646 w 516748"/>
                  <a:gd name="connsiteY55" fmla="*/ 428558 h 513729"/>
                  <a:gd name="connsiteX56" fmla="*/ 297977 w 516748"/>
                  <a:gd name="connsiteY56" fmla="*/ 477399 h 513729"/>
                  <a:gd name="connsiteX57" fmla="*/ 297553 w 516748"/>
                  <a:gd name="connsiteY57" fmla="*/ 487074 h 513729"/>
                  <a:gd name="connsiteX58" fmla="*/ 128835 w 516748"/>
                  <a:gd name="connsiteY58" fmla="*/ 248765 h 513729"/>
                  <a:gd name="connsiteX59" fmla="*/ 22156 w 516748"/>
                  <a:gd name="connsiteY59" fmla="*/ 248765 h 513729"/>
                  <a:gd name="connsiteX60" fmla="*/ 50799 w 516748"/>
                  <a:gd name="connsiteY60" fmla="*/ 146202 h 513729"/>
                  <a:gd name="connsiteX61" fmla="*/ 138340 w 516748"/>
                  <a:gd name="connsiteY61" fmla="*/ 162200 h 513729"/>
                  <a:gd name="connsiteX62" fmla="*/ 128835 w 516748"/>
                  <a:gd name="connsiteY62" fmla="*/ 248765 h 513729"/>
                  <a:gd name="connsiteX63" fmla="*/ 164904 w 516748"/>
                  <a:gd name="connsiteY63" fmla="*/ 80854 h 513729"/>
                  <a:gd name="connsiteX64" fmla="*/ 143135 w 516748"/>
                  <a:gd name="connsiteY64" fmla="*/ 141237 h 513729"/>
                  <a:gd name="connsiteX65" fmla="*/ 62511 w 516748"/>
                  <a:gd name="connsiteY65" fmla="*/ 127277 h 513729"/>
                  <a:gd name="connsiteX66" fmla="*/ 88735 w 516748"/>
                  <a:gd name="connsiteY66" fmla="*/ 95112 h 513729"/>
                  <a:gd name="connsiteX67" fmla="*/ 198639 w 516748"/>
                  <a:gd name="connsiteY67" fmla="*/ 30909 h 513729"/>
                  <a:gd name="connsiteX68" fmla="*/ 164904 w 516748"/>
                  <a:gd name="connsiteY68" fmla="*/ 80854 h 513729"/>
                  <a:gd name="connsiteX69" fmla="*/ 349068 w 516748"/>
                  <a:gd name="connsiteY69" fmla="*/ 75083 h 513729"/>
                  <a:gd name="connsiteX70" fmla="*/ 318345 w 516748"/>
                  <a:gd name="connsiteY70" fmla="*/ 30909 h 513729"/>
                  <a:gd name="connsiteX71" fmla="*/ 422988 w 516748"/>
                  <a:gd name="connsiteY71" fmla="*/ 89807 h 513729"/>
                  <a:gd name="connsiteX72" fmla="*/ 454516 w 516748"/>
                  <a:gd name="connsiteY72" fmla="*/ 127277 h 513729"/>
                  <a:gd name="connsiteX73" fmla="*/ 373891 w 516748"/>
                  <a:gd name="connsiteY73" fmla="*/ 141237 h 513729"/>
                  <a:gd name="connsiteX74" fmla="*/ 349067 w 516748"/>
                  <a:gd name="connsiteY74" fmla="*/ 75083 h 513729"/>
                  <a:gd name="connsiteX75" fmla="*/ 387937 w 516748"/>
                  <a:gd name="connsiteY75" fmla="*/ 248765 h 513729"/>
                  <a:gd name="connsiteX76" fmla="*/ 378559 w 516748"/>
                  <a:gd name="connsiteY76" fmla="*/ 162157 h 513729"/>
                  <a:gd name="connsiteX77" fmla="*/ 466100 w 516748"/>
                  <a:gd name="connsiteY77" fmla="*/ 146202 h 513729"/>
                  <a:gd name="connsiteX78" fmla="*/ 494786 w 516748"/>
                  <a:gd name="connsiteY78" fmla="*/ 248765 h 5137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</a:cxnLst>
                <a:rect l="l" t="t" r="r" b="b"/>
                <a:pathLst>
                  <a:path w="516748" h="513729">
                    <a:moveTo>
                      <a:pt x="297468" y="513680"/>
                    </a:moveTo>
                    <a:cubicBezTo>
                      <a:pt x="438497" y="492061"/>
                      <a:pt x="535297" y="360209"/>
                      <a:pt x="513678" y="219180"/>
                    </a:cubicBezTo>
                    <a:cubicBezTo>
                      <a:pt x="492059" y="78152"/>
                      <a:pt x="360207" y="-18649"/>
                      <a:pt x="219178" y="2970"/>
                    </a:cubicBezTo>
                    <a:cubicBezTo>
                      <a:pt x="78149" y="24589"/>
                      <a:pt x="-18651" y="156441"/>
                      <a:pt x="2968" y="297470"/>
                    </a:cubicBezTo>
                    <a:cubicBezTo>
                      <a:pt x="19919" y="408045"/>
                      <a:pt x="106112" y="495147"/>
                      <a:pt x="216504" y="513256"/>
                    </a:cubicBezTo>
                    <a:cubicBezTo>
                      <a:pt x="216504" y="509564"/>
                      <a:pt x="216504" y="495391"/>
                      <a:pt x="216504" y="488729"/>
                    </a:cubicBezTo>
                    <a:cubicBezTo>
                      <a:pt x="216504" y="484486"/>
                      <a:pt x="216504" y="480242"/>
                      <a:pt x="216886" y="476211"/>
                    </a:cubicBezTo>
                    <a:cubicBezTo>
                      <a:pt x="204460" y="463871"/>
                      <a:pt x="194203" y="449526"/>
                      <a:pt x="186545" y="433777"/>
                    </a:cubicBezTo>
                    <a:cubicBezTo>
                      <a:pt x="180364" y="421569"/>
                      <a:pt x="175102" y="408917"/>
                      <a:pt x="170802" y="395926"/>
                    </a:cubicBezTo>
                    <a:cubicBezTo>
                      <a:pt x="167790" y="393253"/>
                      <a:pt x="164649" y="390664"/>
                      <a:pt x="161212" y="388161"/>
                    </a:cubicBezTo>
                    <a:lnTo>
                      <a:pt x="157521" y="397114"/>
                    </a:lnTo>
                    <a:lnTo>
                      <a:pt x="152810" y="408741"/>
                    </a:lnTo>
                    <a:cubicBezTo>
                      <a:pt x="156984" y="420650"/>
                      <a:pt x="161931" y="432273"/>
                      <a:pt x="167620" y="443537"/>
                    </a:cubicBezTo>
                    <a:cubicBezTo>
                      <a:pt x="175657" y="459678"/>
                      <a:pt x="186007" y="474559"/>
                      <a:pt x="198342" y="487711"/>
                    </a:cubicBezTo>
                    <a:cubicBezTo>
                      <a:pt x="142819" y="473054"/>
                      <a:pt x="94460" y="438831"/>
                      <a:pt x="62171" y="391343"/>
                    </a:cubicBezTo>
                    <a:cubicBezTo>
                      <a:pt x="71337" y="388925"/>
                      <a:pt x="85595" y="385615"/>
                      <a:pt x="105157" y="382432"/>
                    </a:cubicBezTo>
                    <a:lnTo>
                      <a:pt x="89753" y="363422"/>
                    </a:lnTo>
                    <a:cubicBezTo>
                      <a:pt x="71634" y="366732"/>
                      <a:pt x="58692" y="370041"/>
                      <a:pt x="50587" y="372375"/>
                    </a:cubicBezTo>
                    <a:cubicBezTo>
                      <a:pt x="33279" y="340852"/>
                      <a:pt x="23518" y="305745"/>
                      <a:pt x="22071" y="269812"/>
                    </a:cubicBezTo>
                    <a:lnTo>
                      <a:pt x="216886" y="269812"/>
                    </a:lnTo>
                    <a:lnTo>
                      <a:pt x="216886" y="248595"/>
                    </a:lnTo>
                    <a:lnTo>
                      <a:pt x="150137" y="248595"/>
                    </a:lnTo>
                    <a:cubicBezTo>
                      <a:pt x="150651" y="220244"/>
                      <a:pt x="153805" y="192003"/>
                      <a:pt x="159557" y="164237"/>
                    </a:cubicBezTo>
                    <a:cubicBezTo>
                      <a:pt x="173136" y="165425"/>
                      <a:pt x="187606" y="166316"/>
                      <a:pt x="202628" y="166952"/>
                    </a:cubicBezTo>
                    <a:lnTo>
                      <a:pt x="204495" y="163558"/>
                    </a:lnTo>
                    <a:lnTo>
                      <a:pt x="214127" y="146117"/>
                    </a:lnTo>
                    <a:cubicBezTo>
                      <a:pt x="196814" y="145523"/>
                      <a:pt x="180180" y="144547"/>
                      <a:pt x="164565" y="143274"/>
                    </a:cubicBezTo>
                    <a:cubicBezTo>
                      <a:pt x="169399" y="124987"/>
                      <a:pt x="175920" y="107188"/>
                      <a:pt x="184042" y="90104"/>
                    </a:cubicBezTo>
                    <a:cubicBezTo>
                      <a:pt x="201906" y="53272"/>
                      <a:pt x="224439" y="30103"/>
                      <a:pt x="247693" y="24544"/>
                    </a:cubicBezTo>
                    <a:lnTo>
                      <a:pt x="247693" y="85352"/>
                    </a:lnTo>
                    <a:lnTo>
                      <a:pt x="257750" y="67190"/>
                    </a:lnTo>
                    <a:lnTo>
                      <a:pt x="268952" y="87474"/>
                    </a:lnTo>
                    <a:lnTo>
                      <a:pt x="268952" y="24502"/>
                    </a:lnTo>
                    <a:cubicBezTo>
                      <a:pt x="277983" y="26873"/>
                      <a:pt x="286375" y="31222"/>
                      <a:pt x="293521" y="37232"/>
                    </a:cubicBezTo>
                    <a:cubicBezTo>
                      <a:pt x="308913" y="50423"/>
                      <a:pt x="321361" y="66702"/>
                      <a:pt x="330057" y="85012"/>
                    </a:cubicBezTo>
                    <a:cubicBezTo>
                      <a:pt x="339467" y="103655"/>
                      <a:pt x="346877" y="123242"/>
                      <a:pt x="352165" y="143444"/>
                    </a:cubicBezTo>
                    <a:cubicBezTo>
                      <a:pt x="336252" y="144759"/>
                      <a:pt x="319194" y="145735"/>
                      <a:pt x="301457" y="146329"/>
                    </a:cubicBezTo>
                    <a:lnTo>
                      <a:pt x="312999" y="167207"/>
                    </a:lnTo>
                    <a:cubicBezTo>
                      <a:pt x="328402" y="166528"/>
                      <a:pt x="343296" y="165595"/>
                      <a:pt x="357215" y="164406"/>
                    </a:cubicBezTo>
                    <a:cubicBezTo>
                      <a:pt x="362948" y="192232"/>
                      <a:pt x="366087" y="220529"/>
                      <a:pt x="366593" y="248935"/>
                    </a:cubicBezTo>
                    <a:lnTo>
                      <a:pt x="298698" y="248935"/>
                    </a:lnTo>
                    <a:lnTo>
                      <a:pt x="298698" y="270152"/>
                    </a:lnTo>
                    <a:lnTo>
                      <a:pt x="494786" y="270152"/>
                    </a:lnTo>
                    <a:cubicBezTo>
                      <a:pt x="493298" y="306095"/>
                      <a:pt x="483494" y="341202"/>
                      <a:pt x="466143" y="372715"/>
                    </a:cubicBezTo>
                    <a:cubicBezTo>
                      <a:pt x="453021" y="369023"/>
                      <a:pt x="439723" y="365992"/>
                      <a:pt x="426297" y="363634"/>
                    </a:cubicBezTo>
                    <a:lnTo>
                      <a:pt x="410639" y="382390"/>
                    </a:lnTo>
                    <a:cubicBezTo>
                      <a:pt x="430583" y="385615"/>
                      <a:pt x="445096" y="388925"/>
                      <a:pt x="454431" y="391386"/>
                    </a:cubicBezTo>
                    <a:cubicBezTo>
                      <a:pt x="446656" y="402848"/>
                      <a:pt x="437895" y="413611"/>
                      <a:pt x="428249" y="423551"/>
                    </a:cubicBezTo>
                    <a:cubicBezTo>
                      <a:pt x="405829" y="446752"/>
                      <a:pt x="378877" y="465096"/>
                      <a:pt x="349068" y="477442"/>
                    </a:cubicBezTo>
                    <a:cubicBezTo>
                      <a:pt x="339069" y="481562"/>
                      <a:pt x="328805" y="485007"/>
                      <a:pt x="318345" y="487753"/>
                    </a:cubicBezTo>
                    <a:cubicBezTo>
                      <a:pt x="332094" y="472976"/>
                      <a:pt x="343422" y="456120"/>
                      <a:pt x="351911" y="437808"/>
                    </a:cubicBezTo>
                    <a:cubicBezTo>
                      <a:pt x="356175" y="428898"/>
                      <a:pt x="359984" y="419777"/>
                      <a:pt x="363325" y="410481"/>
                    </a:cubicBezTo>
                    <a:lnTo>
                      <a:pt x="357936" y="397199"/>
                    </a:lnTo>
                    <a:lnTo>
                      <a:pt x="353693" y="387057"/>
                    </a:lnTo>
                    <a:cubicBezTo>
                      <a:pt x="351232" y="388670"/>
                      <a:pt x="348855" y="390367"/>
                      <a:pt x="346521" y="392107"/>
                    </a:cubicBezTo>
                    <a:cubicBezTo>
                      <a:pt x="342556" y="404498"/>
                      <a:pt x="337924" y="416666"/>
                      <a:pt x="332646" y="428558"/>
                    </a:cubicBezTo>
                    <a:cubicBezTo>
                      <a:pt x="324273" y="446879"/>
                      <a:pt x="312510" y="463451"/>
                      <a:pt x="297977" y="477399"/>
                    </a:cubicBezTo>
                    <a:cubicBezTo>
                      <a:pt x="297722" y="480582"/>
                      <a:pt x="297553" y="483764"/>
                      <a:pt x="297553" y="487074"/>
                    </a:cubicBezTo>
                    <a:close/>
                    <a:moveTo>
                      <a:pt x="128835" y="248765"/>
                    </a:moveTo>
                    <a:lnTo>
                      <a:pt x="22156" y="248765"/>
                    </a:lnTo>
                    <a:cubicBezTo>
                      <a:pt x="23650" y="212823"/>
                      <a:pt x="33454" y="177717"/>
                      <a:pt x="50799" y="146202"/>
                    </a:cubicBezTo>
                    <a:cubicBezTo>
                      <a:pt x="79472" y="154011"/>
                      <a:pt x="108759" y="159363"/>
                      <a:pt x="138340" y="162200"/>
                    </a:cubicBezTo>
                    <a:cubicBezTo>
                      <a:pt x="132568" y="190709"/>
                      <a:pt x="129387" y="219682"/>
                      <a:pt x="128835" y="248765"/>
                    </a:cubicBezTo>
                    <a:close/>
                    <a:moveTo>
                      <a:pt x="164904" y="80854"/>
                    </a:moveTo>
                    <a:cubicBezTo>
                      <a:pt x="155692" y="100222"/>
                      <a:pt x="148401" y="120447"/>
                      <a:pt x="143135" y="141237"/>
                    </a:cubicBezTo>
                    <a:cubicBezTo>
                      <a:pt x="115951" y="138595"/>
                      <a:pt x="89001" y="133929"/>
                      <a:pt x="62511" y="127277"/>
                    </a:cubicBezTo>
                    <a:cubicBezTo>
                      <a:pt x="70298" y="115811"/>
                      <a:pt x="79072" y="105048"/>
                      <a:pt x="88735" y="95112"/>
                    </a:cubicBezTo>
                    <a:cubicBezTo>
                      <a:pt x="118804" y="64057"/>
                      <a:pt x="156820" y="41849"/>
                      <a:pt x="198639" y="30909"/>
                    </a:cubicBezTo>
                    <a:cubicBezTo>
                      <a:pt x="184818" y="45664"/>
                      <a:pt x="173430" y="62523"/>
                      <a:pt x="164904" y="80854"/>
                    </a:cubicBezTo>
                    <a:close/>
                    <a:moveTo>
                      <a:pt x="349068" y="75083"/>
                    </a:moveTo>
                    <a:cubicBezTo>
                      <a:pt x="341041" y="58936"/>
                      <a:pt x="330690" y="44053"/>
                      <a:pt x="318345" y="30909"/>
                    </a:cubicBezTo>
                    <a:cubicBezTo>
                      <a:pt x="357721" y="41190"/>
                      <a:pt x="393769" y="61480"/>
                      <a:pt x="422988" y="89807"/>
                    </a:cubicBezTo>
                    <a:cubicBezTo>
                      <a:pt x="434752" y="101185"/>
                      <a:pt x="445316" y="113741"/>
                      <a:pt x="454516" y="127277"/>
                    </a:cubicBezTo>
                    <a:cubicBezTo>
                      <a:pt x="428022" y="133909"/>
                      <a:pt x="401073" y="138576"/>
                      <a:pt x="373891" y="141237"/>
                    </a:cubicBezTo>
                    <a:cubicBezTo>
                      <a:pt x="368062" y="118344"/>
                      <a:pt x="359737" y="96160"/>
                      <a:pt x="349067" y="75083"/>
                    </a:cubicBezTo>
                    <a:close/>
                    <a:moveTo>
                      <a:pt x="387937" y="248765"/>
                    </a:moveTo>
                    <a:cubicBezTo>
                      <a:pt x="387401" y="219674"/>
                      <a:pt x="384263" y="190689"/>
                      <a:pt x="378559" y="162157"/>
                    </a:cubicBezTo>
                    <a:cubicBezTo>
                      <a:pt x="408139" y="159327"/>
                      <a:pt x="437424" y="153989"/>
                      <a:pt x="466100" y="146202"/>
                    </a:cubicBezTo>
                    <a:cubicBezTo>
                      <a:pt x="483468" y="177710"/>
                      <a:pt x="493287" y="212819"/>
                      <a:pt x="494786" y="248765"/>
                    </a:cubicBez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9" name="Freihandform: Form 358">
                <a:extLst>
                  <a:ext uri="{FF2B5EF4-FFF2-40B4-BE49-F238E27FC236}">
                    <a16:creationId xmlns:a16="http://schemas.microsoft.com/office/drawing/2014/main" id="{67F92813-D21C-4147-B262-13757EABED81}"/>
                  </a:ext>
                </a:extLst>
              </p:cNvPr>
              <p:cNvSpPr/>
              <p:nvPr/>
            </p:nvSpPr>
            <p:spPr>
              <a:xfrm>
                <a:off x="2270099" y="2910673"/>
                <a:ext cx="209923" cy="222778"/>
              </a:xfrm>
              <a:custGeom>
                <a:avLst/>
                <a:gdLst>
                  <a:gd name="connsiteX0" fmla="*/ 100690 w 209923"/>
                  <a:gd name="connsiteY0" fmla="*/ -49 h 222778"/>
                  <a:gd name="connsiteX1" fmla="*/ 112062 w 209923"/>
                  <a:gd name="connsiteY1" fmla="*/ 28594 h 222778"/>
                  <a:gd name="connsiteX2" fmla="*/ 37633 w 209923"/>
                  <a:gd name="connsiteY2" fmla="*/ 86177 h 222778"/>
                  <a:gd name="connsiteX3" fmla="*/ 37124 w 209923"/>
                  <a:gd name="connsiteY3" fmla="*/ 86771 h 222778"/>
                  <a:gd name="connsiteX4" fmla="*/ 14888 w 209923"/>
                  <a:gd name="connsiteY4" fmla="*/ 123094 h 222778"/>
                  <a:gd name="connsiteX5" fmla="*/ 13870 w 209923"/>
                  <a:gd name="connsiteY5" fmla="*/ 125513 h 222778"/>
                  <a:gd name="connsiteX6" fmla="*/ 12045 w 209923"/>
                  <a:gd name="connsiteY6" fmla="*/ 129757 h 222778"/>
                  <a:gd name="connsiteX7" fmla="*/ 6019 w 209923"/>
                  <a:gd name="connsiteY7" fmla="*/ 148385 h 222778"/>
                  <a:gd name="connsiteX8" fmla="*/ -49 w 209923"/>
                  <a:gd name="connsiteY8" fmla="*/ 196760 h 222778"/>
                  <a:gd name="connsiteX9" fmla="*/ -49 w 209923"/>
                  <a:gd name="connsiteY9" fmla="*/ 222729 h 222778"/>
                  <a:gd name="connsiteX10" fmla="*/ 38481 w 209923"/>
                  <a:gd name="connsiteY10" fmla="*/ 222729 h 222778"/>
                  <a:gd name="connsiteX11" fmla="*/ 38736 w 209923"/>
                  <a:gd name="connsiteY11" fmla="*/ 195232 h 222778"/>
                  <a:gd name="connsiteX12" fmla="*/ 126617 w 209923"/>
                  <a:gd name="connsiteY12" fmla="*/ 64663 h 222778"/>
                  <a:gd name="connsiteX13" fmla="*/ 139899 w 209923"/>
                  <a:gd name="connsiteY13" fmla="*/ 97379 h 222778"/>
                  <a:gd name="connsiteX14" fmla="*/ 209872 w 209923"/>
                  <a:gd name="connsiteY14" fmla="*/ 11833 h 222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09923" h="222778">
                    <a:moveTo>
                      <a:pt x="100690" y="-49"/>
                    </a:moveTo>
                    <a:cubicBezTo>
                      <a:pt x="100690" y="-49"/>
                      <a:pt x="108073" y="18452"/>
                      <a:pt x="112062" y="28594"/>
                    </a:cubicBezTo>
                    <a:cubicBezTo>
                      <a:pt x="83410" y="42229"/>
                      <a:pt x="58026" y="61867"/>
                      <a:pt x="37633" y="86177"/>
                    </a:cubicBezTo>
                    <a:lnTo>
                      <a:pt x="37124" y="86771"/>
                    </a:lnTo>
                    <a:cubicBezTo>
                      <a:pt x="28249" y="97920"/>
                      <a:pt x="20781" y="110120"/>
                      <a:pt x="14888" y="123094"/>
                    </a:cubicBezTo>
                    <a:lnTo>
                      <a:pt x="13870" y="125513"/>
                    </a:lnTo>
                    <a:lnTo>
                      <a:pt x="12045" y="129757"/>
                    </a:lnTo>
                    <a:cubicBezTo>
                      <a:pt x="9650" y="135834"/>
                      <a:pt x="7637" y="142056"/>
                      <a:pt x="6019" y="148385"/>
                    </a:cubicBezTo>
                    <a:cubicBezTo>
                      <a:pt x="1904" y="164178"/>
                      <a:pt x="-136" y="180440"/>
                      <a:pt x="-49" y="196760"/>
                    </a:cubicBezTo>
                    <a:cubicBezTo>
                      <a:pt x="-49" y="203719"/>
                      <a:pt x="-49" y="221753"/>
                      <a:pt x="-49" y="222729"/>
                    </a:cubicBezTo>
                    <a:lnTo>
                      <a:pt x="38481" y="222729"/>
                    </a:lnTo>
                    <a:cubicBezTo>
                      <a:pt x="38481" y="221244"/>
                      <a:pt x="38736" y="206223"/>
                      <a:pt x="38736" y="195232"/>
                    </a:cubicBezTo>
                    <a:cubicBezTo>
                      <a:pt x="38736" y="135358"/>
                      <a:pt x="72047" y="92160"/>
                      <a:pt x="126617" y="64663"/>
                    </a:cubicBezTo>
                    <a:lnTo>
                      <a:pt x="139899" y="97379"/>
                    </a:lnTo>
                    <a:lnTo>
                      <a:pt x="209872" y="11833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352" name="Freihandform: Form 351">
              <a:extLst>
                <a:ext uri="{FF2B5EF4-FFF2-40B4-BE49-F238E27FC236}">
                  <a16:creationId xmlns:a16="http://schemas.microsoft.com/office/drawing/2014/main" id="{A79D6F5D-31FA-48FB-9C6E-7F36981B430C}"/>
                </a:ext>
              </a:extLst>
            </p:cNvPr>
            <p:cNvSpPr/>
            <p:nvPr/>
          </p:nvSpPr>
          <p:spPr>
            <a:xfrm>
              <a:off x="2236621" y="2729692"/>
              <a:ext cx="107145" cy="252991"/>
            </a:xfrm>
            <a:custGeom>
              <a:avLst/>
              <a:gdLst>
                <a:gd name="connsiteX0" fmla="*/ 33811 w 107145"/>
                <a:gd name="connsiteY0" fmla="*/ 233762 h 252991"/>
                <a:gd name="connsiteX1" fmla="*/ 53458 w 107145"/>
                <a:gd name="connsiteY1" fmla="*/ 252942 h 252991"/>
                <a:gd name="connsiteX2" fmla="*/ 73147 w 107145"/>
                <a:gd name="connsiteY2" fmla="*/ 228840 h 252991"/>
                <a:gd name="connsiteX3" fmla="*/ 73147 w 107145"/>
                <a:gd name="connsiteY3" fmla="*/ 96828 h 252991"/>
                <a:gd name="connsiteX4" fmla="*/ 107095 w 107145"/>
                <a:gd name="connsiteY4" fmla="*/ 96828 h 252991"/>
                <a:gd name="connsiteX5" fmla="*/ 53585 w 107145"/>
                <a:gd name="connsiteY5" fmla="*/ -49 h 252991"/>
                <a:gd name="connsiteX6" fmla="*/ -51 w 107145"/>
                <a:gd name="connsiteY6" fmla="*/ 97040 h 252991"/>
                <a:gd name="connsiteX7" fmla="*/ 33896 w 107145"/>
                <a:gd name="connsiteY7" fmla="*/ 97040 h 252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7145" h="252991">
                  <a:moveTo>
                    <a:pt x="33811" y="233762"/>
                  </a:moveTo>
                  <a:cubicBezTo>
                    <a:pt x="45141" y="245262"/>
                    <a:pt x="46838" y="246195"/>
                    <a:pt x="53458" y="252942"/>
                  </a:cubicBezTo>
                  <a:cubicBezTo>
                    <a:pt x="60205" y="244456"/>
                    <a:pt x="66485" y="237030"/>
                    <a:pt x="73147" y="228840"/>
                  </a:cubicBezTo>
                  <a:lnTo>
                    <a:pt x="73147" y="96828"/>
                  </a:lnTo>
                  <a:lnTo>
                    <a:pt x="107095" y="96828"/>
                  </a:lnTo>
                  <a:cubicBezTo>
                    <a:pt x="89060" y="64196"/>
                    <a:pt x="71705" y="32710"/>
                    <a:pt x="53585" y="-49"/>
                  </a:cubicBezTo>
                  <a:cubicBezTo>
                    <a:pt x="35381" y="32837"/>
                    <a:pt x="17983" y="64323"/>
                    <a:pt x="-51" y="97040"/>
                  </a:cubicBezTo>
                  <a:lnTo>
                    <a:pt x="33896" y="97040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3" name="Freihandform: Form 352">
              <a:extLst>
                <a:ext uri="{FF2B5EF4-FFF2-40B4-BE49-F238E27FC236}">
                  <a16:creationId xmlns:a16="http://schemas.microsoft.com/office/drawing/2014/main" id="{5F425480-F402-404B-955B-F9433214FB99}"/>
                </a:ext>
              </a:extLst>
            </p:cNvPr>
            <p:cNvSpPr/>
            <p:nvPr/>
          </p:nvSpPr>
          <p:spPr>
            <a:xfrm>
              <a:off x="2101426" y="2910673"/>
              <a:ext cx="173597" cy="140795"/>
            </a:xfrm>
            <a:custGeom>
              <a:avLst/>
              <a:gdLst>
                <a:gd name="connsiteX0" fmla="*/ 96401 w 173597"/>
                <a:gd name="connsiteY0" fmla="*/ 29061 h 140795"/>
                <a:gd name="connsiteX1" fmla="*/ 109131 w 173597"/>
                <a:gd name="connsiteY1" fmla="*/ -49 h 140795"/>
                <a:gd name="connsiteX2" fmla="*/ -51 w 173597"/>
                <a:gd name="connsiteY2" fmla="*/ 12299 h 140795"/>
                <a:gd name="connsiteX3" fmla="*/ 68904 w 173597"/>
                <a:gd name="connsiteY3" fmla="*/ 97167 h 140795"/>
                <a:gd name="connsiteX4" fmla="*/ 81846 w 173597"/>
                <a:gd name="connsiteY4" fmla="*/ 64960 h 140795"/>
                <a:gd name="connsiteX5" fmla="*/ 154578 w 173597"/>
                <a:gd name="connsiteY5" fmla="*/ 140747 h 140795"/>
                <a:gd name="connsiteX6" fmla="*/ 160816 w 173597"/>
                <a:gd name="connsiteY6" fmla="*/ 121949 h 140795"/>
                <a:gd name="connsiteX7" fmla="*/ 160816 w 173597"/>
                <a:gd name="connsiteY7" fmla="*/ 121737 h 140795"/>
                <a:gd name="connsiteX8" fmla="*/ 160816 w 173597"/>
                <a:gd name="connsiteY8" fmla="*/ 121482 h 140795"/>
                <a:gd name="connsiteX9" fmla="*/ 161537 w 173597"/>
                <a:gd name="connsiteY9" fmla="*/ 119827 h 140795"/>
                <a:gd name="connsiteX10" fmla="*/ 162641 w 173597"/>
                <a:gd name="connsiteY10" fmla="*/ 117111 h 140795"/>
                <a:gd name="connsiteX11" fmla="*/ 163150 w 173597"/>
                <a:gd name="connsiteY11" fmla="*/ 115966 h 140795"/>
                <a:gd name="connsiteX12" fmla="*/ 163659 w 173597"/>
                <a:gd name="connsiteY12" fmla="*/ 114693 h 140795"/>
                <a:gd name="connsiteX13" fmla="*/ 163659 w 173597"/>
                <a:gd name="connsiteY13" fmla="*/ 114693 h 140795"/>
                <a:gd name="connsiteX14" fmla="*/ 163659 w 173597"/>
                <a:gd name="connsiteY14" fmla="*/ 114480 h 140795"/>
                <a:gd name="connsiteX15" fmla="*/ 172867 w 173597"/>
                <a:gd name="connsiteY15" fmla="*/ 96700 h 140795"/>
                <a:gd name="connsiteX16" fmla="*/ 173546 w 173597"/>
                <a:gd name="connsiteY16" fmla="*/ 95088 h 140795"/>
                <a:gd name="connsiteX17" fmla="*/ 96401 w 173597"/>
                <a:gd name="connsiteY17" fmla="*/ 29061 h 140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73597" h="140795">
                  <a:moveTo>
                    <a:pt x="96401" y="29061"/>
                  </a:moveTo>
                  <a:cubicBezTo>
                    <a:pt x="100390" y="18792"/>
                    <a:pt x="109131" y="-49"/>
                    <a:pt x="109131" y="-49"/>
                  </a:cubicBezTo>
                  <a:lnTo>
                    <a:pt x="-51" y="12299"/>
                  </a:lnTo>
                  <a:lnTo>
                    <a:pt x="68904" y="97167"/>
                  </a:lnTo>
                  <a:lnTo>
                    <a:pt x="81846" y="64960"/>
                  </a:lnTo>
                  <a:cubicBezTo>
                    <a:pt x="117915" y="85031"/>
                    <a:pt x="136119" y="105187"/>
                    <a:pt x="154578" y="140747"/>
                  </a:cubicBezTo>
                  <a:cubicBezTo>
                    <a:pt x="156306" y="134370"/>
                    <a:pt x="158388" y="128094"/>
                    <a:pt x="160816" y="121949"/>
                  </a:cubicBezTo>
                  <a:lnTo>
                    <a:pt x="160816" y="121737"/>
                  </a:lnTo>
                  <a:lnTo>
                    <a:pt x="160816" y="121482"/>
                  </a:lnTo>
                  <a:lnTo>
                    <a:pt x="161537" y="119827"/>
                  </a:lnTo>
                  <a:lnTo>
                    <a:pt x="162641" y="117111"/>
                  </a:lnTo>
                  <a:lnTo>
                    <a:pt x="163150" y="115966"/>
                  </a:lnTo>
                  <a:lnTo>
                    <a:pt x="163659" y="114693"/>
                  </a:lnTo>
                  <a:lnTo>
                    <a:pt x="163659" y="114693"/>
                  </a:lnTo>
                  <a:lnTo>
                    <a:pt x="163659" y="114480"/>
                  </a:lnTo>
                  <a:cubicBezTo>
                    <a:pt x="166406" y="108392"/>
                    <a:pt x="169480" y="102457"/>
                    <a:pt x="172867" y="96700"/>
                  </a:cubicBezTo>
                  <a:cubicBezTo>
                    <a:pt x="173122" y="96149"/>
                    <a:pt x="173334" y="95597"/>
                    <a:pt x="173546" y="95088"/>
                  </a:cubicBezTo>
                  <a:cubicBezTo>
                    <a:pt x="154239" y="63390"/>
                    <a:pt x="131112" y="45143"/>
                    <a:pt x="96401" y="29061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4" name="Freihandform: Form 353">
              <a:extLst>
                <a:ext uri="{FF2B5EF4-FFF2-40B4-BE49-F238E27FC236}">
                  <a16:creationId xmlns:a16="http://schemas.microsoft.com/office/drawing/2014/main" id="{4B8EAF7D-75D8-4BD5-A853-E2759D9A02A0}"/>
                </a:ext>
              </a:extLst>
            </p:cNvPr>
            <p:cNvSpPr/>
            <p:nvPr/>
          </p:nvSpPr>
          <p:spPr>
            <a:xfrm>
              <a:off x="2032202" y="2618704"/>
              <a:ext cx="516748" cy="513729"/>
            </a:xfrm>
            <a:custGeom>
              <a:avLst/>
              <a:gdLst>
                <a:gd name="connsiteX0" fmla="*/ 297468 w 516748"/>
                <a:gd name="connsiteY0" fmla="*/ 513680 h 513729"/>
                <a:gd name="connsiteX1" fmla="*/ 513678 w 516748"/>
                <a:gd name="connsiteY1" fmla="*/ 219180 h 513729"/>
                <a:gd name="connsiteX2" fmla="*/ 219178 w 516748"/>
                <a:gd name="connsiteY2" fmla="*/ 2970 h 513729"/>
                <a:gd name="connsiteX3" fmla="*/ 2968 w 516748"/>
                <a:gd name="connsiteY3" fmla="*/ 297470 h 513729"/>
                <a:gd name="connsiteX4" fmla="*/ 216504 w 516748"/>
                <a:gd name="connsiteY4" fmla="*/ 513256 h 513729"/>
                <a:gd name="connsiteX5" fmla="*/ 216504 w 516748"/>
                <a:gd name="connsiteY5" fmla="*/ 488729 h 513729"/>
                <a:gd name="connsiteX6" fmla="*/ 216886 w 516748"/>
                <a:gd name="connsiteY6" fmla="*/ 476211 h 513729"/>
                <a:gd name="connsiteX7" fmla="*/ 186545 w 516748"/>
                <a:gd name="connsiteY7" fmla="*/ 433777 h 513729"/>
                <a:gd name="connsiteX8" fmla="*/ 170802 w 516748"/>
                <a:gd name="connsiteY8" fmla="*/ 395926 h 513729"/>
                <a:gd name="connsiteX9" fmla="*/ 161212 w 516748"/>
                <a:gd name="connsiteY9" fmla="*/ 388161 h 513729"/>
                <a:gd name="connsiteX10" fmla="*/ 157521 w 516748"/>
                <a:gd name="connsiteY10" fmla="*/ 397114 h 513729"/>
                <a:gd name="connsiteX11" fmla="*/ 152810 w 516748"/>
                <a:gd name="connsiteY11" fmla="*/ 408741 h 513729"/>
                <a:gd name="connsiteX12" fmla="*/ 167620 w 516748"/>
                <a:gd name="connsiteY12" fmla="*/ 443537 h 513729"/>
                <a:gd name="connsiteX13" fmla="*/ 198342 w 516748"/>
                <a:gd name="connsiteY13" fmla="*/ 487711 h 513729"/>
                <a:gd name="connsiteX14" fmla="*/ 62171 w 516748"/>
                <a:gd name="connsiteY14" fmla="*/ 391343 h 513729"/>
                <a:gd name="connsiteX15" fmla="*/ 105157 w 516748"/>
                <a:gd name="connsiteY15" fmla="*/ 382432 h 513729"/>
                <a:gd name="connsiteX16" fmla="*/ 89753 w 516748"/>
                <a:gd name="connsiteY16" fmla="*/ 363422 h 513729"/>
                <a:gd name="connsiteX17" fmla="*/ 50587 w 516748"/>
                <a:gd name="connsiteY17" fmla="*/ 372375 h 513729"/>
                <a:gd name="connsiteX18" fmla="*/ 22071 w 516748"/>
                <a:gd name="connsiteY18" fmla="*/ 269812 h 513729"/>
                <a:gd name="connsiteX19" fmla="*/ 216886 w 516748"/>
                <a:gd name="connsiteY19" fmla="*/ 269812 h 513729"/>
                <a:gd name="connsiteX20" fmla="*/ 216886 w 516748"/>
                <a:gd name="connsiteY20" fmla="*/ 248595 h 513729"/>
                <a:gd name="connsiteX21" fmla="*/ 150137 w 516748"/>
                <a:gd name="connsiteY21" fmla="*/ 248595 h 513729"/>
                <a:gd name="connsiteX22" fmla="*/ 159557 w 516748"/>
                <a:gd name="connsiteY22" fmla="*/ 164237 h 513729"/>
                <a:gd name="connsiteX23" fmla="*/ 202628 w 516748"/>
                <a:gd name="connsiteY23" fmla="*/ 166952 h 513729"/>
                <a:gd name="connsiteX24" fmla="*/ 204495 w 516748"/>
                <a:gd name="connsiteY24" fmla="*/ 163558 h 513729"/>
                <a:gd name="connsiteX25" fmla="*/ 214127 w 516748"/>
                <a:gd name="connsiteY25" fmla="*/ 146117 h 513729"/>
                <a:gd name="connsiteX26" fmla="*/ 164565 w 516748"/>
                <a:gd name="connsiteY26" fmla="*/ 143274 h 513729"/>
                <a:gd name="connsiteX27" fmla="*/ 184042 w 516748"/>
                <a:gd name="connsiteY27" fmla="*/ 90104 h 513729"/>
                <a:gd name="connsiteX28" fmla="*/ 247693 w 516748"/>
                <a:gd name="connsiteY28" fmla="*/ 24544 h 513729"/>
                <a:gd name="connsiteX29" fmla="*/ 247693 w 516748"/>
                <a:gd name="connsiteY29" fmla="*/ 85352 h 513729"/>
                <a:gd name="connsiteX30" fmla="*/ 257750 w 516748"/>
                <a:gd name="connsiteY30" fmla="*/ 67190 h 513729"/>
                <a:gd name="connsiteX31" fmla="*/ 268952 w 516748"/>
                <a:gd name="connsiteY31" fmla="*/ 87474 h 513729"/>
                <a:gd name="connsiteX32" fmla="*/ 268952 w 516748"/>
                <a:gd name="connsiteY32" fmla="*/ 24502 h 513729"/>
                <a:gd name="connsiteX33" fmla="*/ 293521 w 516748"/>
                <a:gd name="connsiteY33" fmla="*/ 37232 h 513729"/>
                <a:gd name="connsiteX34" fmla="*/ 330057 w 516748"/>
                <a:gd name="connsiteY34" fmla="*/ 85012 h 513729"/>
                <a:gd name="connsiteX35" fmla="*/ 352165 w 516748"/>
                <a:gd name="connsiteY35" fmla="*/ 143444 h 513729"/>
                <a:gd name="connsiteX36" fmla="*/ 301457 w 516748"/>
                <a:gd name="connsiteY36" fmla="*/ 146329 h 513729"/>
                <a:gd name="connsiteX37" fmla="*/ 312999 w 516748"/>
                <a:gd name="connsiteY37" fmla="*/ 167207 h 513729"/>
                <a:gd name="connsiteX38" fmla="*/ 357215 w 516748"/>
                <a:gd name="connsiteY38" fmla="*/ 164406 h 513729"/>
                <a:gd name="connsiteX39" fmla="*/ 366593 w 516748"/>
                <a:gd name="connsiteY39" fmla="*/ 248935 h 513729"/>
                <a:gd name="connsiteX40" fmla="*/ 298698 w 516748"/>
                <a:gd name="connsiteY40" fmla="*/ 248935 h 513729"/>
                <a:gd name="connsiteX41" fmla="*/ 298698 w 516748"/>
                <a:gd name="connsiteY41" fmla="*/ 270152 h 513729"/>
                <a:gd name="connsiteX42" fmla="*/ 494786 w 516748"/>
                <a:gd name="connsiteY42" fmla="*/ 270152 h 513729"/>
                <a:gd name="connsiteX43" fmla="*/ 466143 w 516748"/>
                <a:gd name="connsiteY43" fmla="*/ 372715 h 513729"/>
                <a:gd name="connsiteX44" fmla="*/ 426297 w 516748"/>
                <a:gd name="connsiteY44" fmla="*/ 363634 h 513729"/>
                <a:gd name="connsiteX45" fmla="*/ 410639 w 516748"/>
                <a:gd name="connsiteY45" fmla="*/ 382390 h 513729"/>
                <a:gd name="connsiteX46" fmla="*/ 454431 w 516748"/>
                <a:gd name="connsiteY46" fmla="*/ 391386 h 513729"/>
                <a:gd name="connsiteX47" fmla="*/ 428249 w 516748"/>
                <a:gd name="connsiteY47" fmla="*/ 423551 h 513729"/>
                <a:gd name="connsiteX48" fmla="*/ 349068 w 516748"/>
                <a:gd name="connsiteY48" fmla="*/ 477442 h 513729"/>
                <a:gd name="connsiteX49" fmla="*/ 318345 w 516748"/>
                <a:gd name="connsiteY49" fmla="*/ 487753 h 513729"/>
                <a:gd name="connsiteX50" fmla="*/ 351911 w 516748"/>
                <a:gd name="connsiteY50" fmla="*/ 437808 h 513729"/>
                <a:gd name="connsiteX51" fmla="*/ 363325 w 516748"/>
                <a:gd name="connsiteY51" fmla="*/ 410481 h 513729"/>
                <a:gd name="connsiteX52" fmla="*/ 357936 w 516748"/>
                <a:gd name="connsiteY52" fmla="*/ 397199 h 513729"/>
                <a:gd name="connsiteX53" fmla="*/ 353693 w 516748"/>
                <a:gd name="connsiteY53" fmla="*/ 387057 h 513729"/>
                <a:gd name="connsiteX54" fmla="*/ 346521 w 516748"/>
                <a:gd name="connsiteY54" fmla="*/ 392107 h 513729"/>
                <a:gd name="connsiteX55" fmla="*/ 332646 w 516748"/>
                <a:gd name="connsiteY55" fmla="*/ 428558 h 513729"/>
                <a:gd name="connsiteX56" fmla="*/ 297977 w 516748"/>
                <a:gd name="connsiteY56" fmla="*/ 477399 h 513729"/>
                <a:gd name="connsiteX57" fmla="*/ 297553 w 516748"/>
                <a:gd name="connsiteY57" fmla="*/ 487074 h 513729"/>
                <a:gd name="connsiteX58" fmla="*/ 128835 w 516748"/>
                <a:gd name="connsiteY58" fmla="*/ 248765 h 513729"/>
                <a:gd name="connsiteX59" fmla="*/ 22156 w 516748"/>
                <a:gd name="connsiteY59" fmla="*/ 248765 h 513729"/>
                <a:gd name="connsiteX60" fmla="*/ 50799 w 516748"/>
                <a:gd name="connsiteY60" fmla="*/ 146202 h 513729"/>
                <a:gd name="connsiteX61" fmla="*/ 138340 w 516748"/>
                <a:gd name="connsiteY61" fmla="*/ 162200 h 513729"/>
                <a:gd name="connsiteX62" fmla="*/ 128835 w 516748"/>
                <a:gd name="connsiteY62" fmla="*/ 248765 h 513729"/>
                <a:gd name="connsiteX63" fmla="*/ 164904 w 516748"/>
                <a:gd name="connsiteY63" fmla="*/ 80854 h 513729"/>
                <a:gd name="connsiteX64" fmla="*/ 143135 w 516748"/>
                <a:gd name="connsiteY64" fmla="*/ 141237 h 513729"/>
                <a:gd name="connsiteX65" fmla="*/ 62511 w 516748"/>
                <a:gd name="connsiteY65" fmla="*/ 127277 h 513729"/>
                <a:gd name="connsiteX66" fmla="*/ 88735 w 516748"/>
                <a:gd name="connsiteY66" fmla="*/ 95112 h 513729"/>
                <a:gd name="connsiteX67" fmla="*/ 198639 w 516748"/>
                <a:gd name="connsiteY67" fmla="*/ 30909 h 513729"/>
                <a:gd name="connsiteX68" fmla="*/ 164904 w 516748"/>
                <a:gd name="connsiteY68" fmla="*/ 80854 h 513729"/>
                <a:gd name="connsiteX69" fmla="*/ 349068 w 516748"/>
                <a:gd name="connsiteY69" fmla="*/ 75083 h 513729"/>
                <a:gd name="connsiteX70" fmla="*/ 318345 w 516748"/>
                <a:gd name="connsiteY70" fmla="*/ 30909 h 513729"/>
                <a:gd name="connsiteX71" fmla="*/ 422988 w 516748"/>
                <a:gd name="connsiteY71" fmla="*/ 89807 h 513729"/>
                <a:gd name="connsiteX72" fmla="*/ 454516 w 516748"/>
                <a:gd name="connsiteY72" fmla="*/ 127277 h 513729"/>
                <a:gd name="connsiteX73" fmla="*/ 373891 w 516748"/>
                <a:gd name="connsiteY73" fmla="*/ 141237 h 513729"/>
                <a:gd name="connsiteX74" fmla="*/ 349067 w 516748"/>
                <a:gd name="connsiteY74" fmla="*/ 75083 h 513729"/>
                <a:gd name="connsiteX75" fmla="*/ 387937 w 516748"/>
                <a:gd name="connsiteY75" fmla="*/ 248765 h 513729"/>
                <a:gd name="connsiteX76" fmla="*/ 378559 w 516748"/>
                <a:gd name="connsiteY76" fmla="*/ 162157 h 513729"/>
                <a:gd name="connsiteX77" fmla="*/ 466100 w 516748"/>
                <a:gd name="connsiteY77" fmla="*/ 146202 h 513729"/>
                <a:gd name="connsiteX78" fmla="*/ 494786 w 516748"/>
                <a:gd name="connsiteY78" fmla="*/ 248765 h 513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516748" h="513729">
                  <a:moveTo>
                    <a:pt x="297468" y="513680"/>
                  </a:moveTo>
                  <a:cubicBezTo>
                    <a:pt x="438497" y="492061"/>
                    <a:pt x="535297" y="360209"/>
                    <a:pt x="513678" y="219180"/>
                  </a:cubicBezTo>
                  <a:cubicBezTo>
                    <a:pt x="492059" y="78152"/>
                    <a:pt x="360207" y="-18649"/>
                    <a:pt x="219178" y="2970"/>
                  </a:cubicBezTo>
                  <a:cubicBezTo>
                    <a:pt x="78149" y="24589"/>
                    <a:pt x="-18651" y="156441"/>
                    <a:pt x="2968" y="297470"/>
                  </a:cubicBezTo>
                  <a:cubicBezTo>
                    <a:pt x="19919" y="408045"/>
                    <a:pt x="106112" y="495147"/>
                    <a:pt x="216504" y="513256"/>
                  </a:cubicBezTo>
                  <a:cubicBezTo>
                    <a:pt x="216504" y="509564"/>
                    <a:pt x="216504" y="495391"/>
                    <a:pt x="216504" y="488729"/>
                  </a:cubicBezTo>
                  <a:cubicBezTo>
                    <a:pt x="216504" y="484486"/>
                    <a:pt x="216504" y="480242"/>
                    <a:pt x="216886" y="476211"/>
                  </a:cubicBezTo>
                  <a:cubicBezTo>
                    <a:pt x="204460" y="463871"/>
                    <a:pt x="194203" y="449526"/>
                    <a:pt x="186545" y="433777"/>
                  </a:cubicBezTo>
                  <a:cubicBezTo>
                    <a:pt x="180364" y="421569"/>
                    <a:pt x="175102" y="408917"/>
                    <a:pt x="170802" y="395926"/>
                  </a:cubicBezTo>
                  <a:cubicBezTo>
                    <a:pt x="167790" y="393253"/>
                    <a:pt x="164649" y="390664"/>
                    <a:pt x="161212" y="388161"/>
                  </a:cubicBezTo>
                  <a:lnTo>
                    <a:pt x="157521" y="397114"/>
                  </a:lnTo>
                  <a:lnTo>
                    <a:pt x="152810" y="408741"/>
                  </a:lnTo>
                  <a:cubicBezTo>
                    <a:pt x="156984" y="420650"/>
                    <a:pt x="161931" y="432273"/>
                    <a:pt x="167620" y="443537"/>
                  </a:cubicBezTo>
                  <a:cubicBezTo>
                    <a:pt x="175657" y="459678"/>
                    <a:pt x="186007" y="474559"/>
                    <a:pt x="198342" y="487711"/>
                  </a:cubicBezTo>
                  <a:cubicBezTo>
                    <a:pt x="142819" y="473054"/>
                    <a:pt x="94460" y="438831"/>
                    <a:pt x="62171" y="391343"/>
                  </a:cubicBezTo>
                  <a:cubicBezTo>
                    <a:pt x="71337" y="388925"/>
                    <a:pt x="85595" y="385615"/>
                    <a:pt x="105157" y="382432"/>
                  </a:cubicBezTo>
                  <a:lnTo>
                    <a:pt x="89753" y="363422"/>
                  </a:lnTo>
                  <a:cubicBezTo>
                    <a:pt x="71634" y="366732"/>
                    <a:pt x="58692" y="370041"/>
                    <a:pt x="50587" y="372375"/>
                  </a:cubicBezTo>
                  <a:cubicBezTo>
                    <a:pt x="33279" y="340852"/>
                    <a:pt x="23518" y="305745"/>
                    <a:pt x="22071" y="269812"/>
                  </a:cubicBezTo>
                  <a:lnTo>
                    <a:pt x="216886" y="269812"/>
                  </a:lnTo>
                  <a:lnTo>
                    <a:pt x="216886" y="248595"/>
                  </a:lnTo>
                  <a:lnTo>
                    <a:pt x="150137" y="248595"/>
                  </a:lnTo>
                  <a:cubicBezTo>
                    <a:pt x="150651" y="220244"/>
                    <a:pt x="153805" y="192003"/>
                    <a:pt x="159557" y="164237"/>
                  </a:cubicBezTo>
                  <a:cubicBezTo>
                    <a:pt x="173136" y="165425"/>
                    <a:pt x="187606" y="166316"/>
                    <a:pt x="202628" y="166952"/>
                  </a:cubicBezTo>
                  <a:lnTo>
                    <a:pt x="204495" y="163558"/>
                  </a:lnTo>
                  <a:lnTo>
                    <a:pt x="214127" y="146117"/>
                  </a:lnTo>
                  <a:cubicBezTo>
                    <a:pt x="196814" y="145523"/>
                    <a:pt x="180180" y="144547"/>
                    <a:pt x="164565" y="143274"/>
                  </a:cubicBezTo>
                  <a:cubicBezTo>
                    <a:pt x="169399" y="124987"/>
                    <a:pt x="175920" y="107188"/>
                    <a:pt x="184042" y="90104"/>
                  </a:cubicBezTo>
                  <a:cubicBezTo>
                    <a:pt x="201906" y="53272"/>
                    <a:pt x="224439" y="30103"/>
                    <a:pt x="247693" y="24544"/>
                  </a:cubicBezTo>
                  <a:lnTo>
                    <a:pt x="247693" y="85352"/>
                  </a:lnTo>
                  <a:lnTo>
                    <a:pt x="257750" y="67190"/>
                  </a:lnTo>
                  <a:lnTo>
                    <a:pt x="268952" y="87474"/>
                  </a:lnTo>
                  <a:lnTo>
                    <a:pt x="268952" y="24502"/>
                  </a:lnTo>
                  <a:cubicBezTo>
                    <a:pt x="277983" y="26873"/>
                    <a:pt x="286375" y="31222"/>
                    <a:pt x="293521" y="37232"/>
                  </a:cubicBezTo>
                  <a:cubicBezTo>
                    <a:pt x="308913" y="50423"/>
                    <a:pt x="321361" y="66702"/>
                    <a:pt x="330057" y="85012"/>
                  </a:cubicBezTo>
                  <a:cubicBezTo>
                    <a:pt x="339467" y="103655"/>
                    <a:pt x="346877" y="123242"/>
                    <a:pt x="352165" y="143444"/>
                  </a:cubicBezTo>
                  <a:cubicBezTo>
                    <a:pt x="336252" y="144759"/>
                    <a:pt x="319194" y="145735"/>
                    <a:pt x="301457" y="146329"/>
                  </a:cubicBezTo>
                  <a:lnTo>
                    <a:pt x="312999" y="167207"/>
                  </a:lnTo>
                  <a:cubicBezTo>
                    <a:pt x="328402" y="166528"/>
                    <a:pt x="343296" y="165595"/>
                    <a:pt x="357215" y="164406"/>
                  </a:cubicBezTo>
                  <a:cubicBezTo>
                    <a:pt x="362948" y="192232"/>
                    <a:pt x="366087" y="220529"/>
                    <a:pt x="366593" y="248935"/>
                  </a:cubicBezTo>
                  <a:lnTo>
                    <a:pt x="298698" y="248935"/>
                  </a:lnTo>
                  <a:lnTo>
                    <a:pt x="298698" y="270152"/>
                  </a:lnTo>
                  <a:lnTo>
                    <a:pt x="494786" y="270152"/>
                  </a:lnTo>
                  <a:cubicBezTo>
                    <a:pt x="493298" y="306095"/>
                    <a:pt x="483494" y="341202"/>
                    <a:pt x="466143" y="372715"/>
                  </a:cubicBezTo>
                  <a:cubicBezTo>
                    <a:pt x="453021" y="369023"/>
                    <a:pt x="439723" y="365992"/>
                    <a:pt x="426297" y="363634"/>
                  </a:cubicBezTo>
                  <a:lnTo>
                    <a:pt x="410639" y="382390"/>
                  </a:lnTo>
                  <a:cubicBezTo>
                    <a:pt x="430583" y="385615"/>
                    <a:pt x="445096" y="388925"/>
                    <a:pt x="454431" y="391386"/>
                  </a:cubicBezTo>
                  <a:cubicBezTo>
                    <a:pt x="446656" y="402848"/>
                    <a:pt x="437895" y="413611"/>
                    <a:pt x="428249" y="423551"/>
                  </a:cubicBezTo>
                  <a:cubicBezTo>
                    <a:pt x="405829" y="446752"/>
                    <a:pt x="378877" y="465096"/>
                    <a:pt x="349068" y="477442"/>
                  </a:cubicBezTo>
                  <a:cubicBezTo>
                    <a:pt x="339069" y="481562"/>
                    <a:pt x="328805" y="485007"/>
                    <a:pt x="318345" y="487753"/>
                  </a:cubicBezTo>
                  <a:cubicBezTo>
                    <a:pt x="332094" y="472976"/>
                    <a:pt x="343422" y="456120"/>
                    <a:pt x="351911" y="437808"/>
                  </a:cubicBezTo>
                  <a:cubicBezTo>
                    <a:pt x="356175" y="428898"/>
                    <a:pt x="359984" y="419777"/>
                    <a:pt x="363325" y="410481"/>
                  </a:cubicBezTo>
                  <a:lnTo>
                    <a:pt x="357936" y="397199"/>
                  </a:lnTo>
                  <a:lnTo>
                    <a:pt x="353693" y="387057"/>
                  </a:lnTo>
                  <a:cubicBezTo>
                    <a:pt x="351232" y="388670"/>
                    <a:pt x="348855" y="390367"/>
                    <a:pt x="346521" y="392107"/>
                  </a:cubicBezTo>
                  <a:cubicBezTo>
                    <a:pt x="342556" y="404498"/>
                    <a:pt x="337924" y="416666"/>
                    <a:pt x="332646" y="428558"/>
                  </a:cubicBezTo>
                  <a:cubicBezTo>
                    <a:pt x="324273" y="446879"/>
                    <a:pt x="312510" y="463451"/>
                    <a:pt x="297977" y="477399"/>
                  </a:cubicBezTo>
                  <a:cubicBezTo>
                    <a:pt x="297722" y="480582"/>
                    <a:pt x="297553" y="483764"/>
                    <a:pt x="297553" y="487074"/>
                  </a:cubicBezTo>
                  <a:close/>
                  <a:moveTo>
                    <a:pt x="128835" y="248765"/>
                  </a:moveTo>
                  <a:lnTo>
                    <a:pt x="22156" y="248765"/>
                  </a:lnTo>
                  <a:cubicBezTo>
                    <a:pt x="23650" y="212823"/>
                    <a:pt x="33454" y="177717"/>
                    <a:pt x="50799" y="146202"/>
                  </a:cubicBezTo>
                  <a:cubicBezTo>
                    <a:pt x="79472" y="154011"/>
                    <a:pt x="108759" y="159363"/>
                    <a:pt x="138340" y="162200"/>
                  </a:cubicBezTo>
                  <a:cubicBezTo>
                    <a:pt x="132568" y="190709"/>
                    <a:pt x="129387" y="219682"/>
                    <a:pt x="128835" y="248765"/>
                  </a:cubicBezTo>
                  <a:close/>
                  <a:moveTo>
                    <a:pt x="164904" y="80854"/>
                  </a:moveTo>
                  <a:cubicBezTo>
                    <a:pt x="155692" y="100222"/>
                    <a:pt x="148401" y="120447"/>
                    <a:pt x="143135" y="141237"/>
                  </a:cubicBezTo>
                  <a:cubicBezTo>
                    <a:pt x="115951" y="138595"/>
                    <a:pt x="89001" y="133929"/>
                    <a:pt x="62511" y="127277"/>
                  </a:cubicBezTo>
                  <a:cubicBezTo>
                    <a:pt x="70298" y="115811"/>
                    <a:pt x="79072" y="105048"/>
                    <a:pt x="88735" y="95112"/>
                  </a:cubicBezTo>
                  <a:cubicBezTo>
                    <a:pt x="118804" y="64057"/>
                    <a:pt x="156820" y="41849"/>
                    <a:pt x="198639" y="30909"/>
                  </a:cubicBezTo>
                  <a:cubicBezTo>
                    <a:pt x="184818" y="45664"/>
                    <a:pt x="173430" y="62523"/>
                    <a:pt x="164904" y="80854"/>
                  </a:cubicBezTo>
                  <a:close/>
                  <a:moveTo>
                    <a:pt x="349068" y="75083"/>
                  </a:moveTo>
                  <a:cubicBezTo>
                    <a:pt x="341041" y="58936"/>
                    <a:pt x="330690" y="44053"/>
                    <a:pt x="318345" y="30909"/>
                  </a:cubicBezTo>
                  <a:cubicBezTo>
                    <a:pt x="357721" y="41190"/>
                    <a:pt x="393769" y="61480"/>
                    <a:pt x="422988" y="89807"/>
                  </a:cubicBezTo>
                  <a:cubicBezTo>
                    <a:pt x="434752" y="101185"/>
                    <a:pt x="445316" y="113741"/>
                    <a:pt x="454516" y="127277"/>
                  </a:cubicBezTo>
                  <a:cubicBezTo>
                    <a:pt x="428022" y="133909"/>
                    <a:pt x="401073" y="138576"/>
                    <a:pt x="373891" y="141237"/>
                  </a:cubicBezTo>
                  <a:cubicBezTo>
                    <a:pt x="368062" y="118344"/>
                    <a:pt x="359737" y="96160"/>
                    <a:pt x="349067" y="75083"/>
                  </a:cubicBezTo>
                  <a:close/>
                  <a:moveTo>
                    <a:pt x="387937" y="248765"/>
                  </a:moveTo>
                  <a:cubicBezTo>
                    <a:pt x="387401" y="219674"/>
                    <a:pt x="384263" y="190689"/>
                    <a:pt x="378559" y="162157"/>
                  </a:cubicBezTo>
                  <a:cubicBezTo>
                    <a:pt x="408139" y="159327"/>
                    <a:pt x="437424" y="153989"/>
                    <a:pt x="466100" y="146202"/>
                  </a:cubicBezTo>
                  <a:cubicBezTo>
                    <a:pt x="483468" y="177710"/>
                    <a:pt x="493287" y="212819"/>
                    <a:pt x="494786" y="248765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5" name="Freihandform: Form 354">
              <a:extLst>
                <a:ext uri="{FF2B5EF4-FFF2-40B4-BE49-F238E27FC236}">
                  <a16:creationId xmlns:a16="http://schemas.microsoft.com/office/drawing/2014/main" id="{28C99D94-7849-4B4B-BFEA-01257AFB649F}"/>
                </a:ext>
              </a:extLst>
            </p:cNvPr>
            <p:cNvSpPr/>
            <p:nvPr/>
          </p:nvSpPr>
          <p:spPr>
            <a:xfrm>
              <a:off x="2270099" y="2910673"/>
              <a:ext cx="209923" cy="222778"/>
            </a:xfrm>
            <a:custGeom>
              <a:avLst/>
              <a:gdLst>
                <a:gd name="connsiteX0" fmla="*/ 100690 w 209923"/>
                <a:gd name="connsiteY0" fmla="*/ -49 h 222778"/>
                <a:gd name="connsiteX1" fmla="*/ 112062 w 209923"/>
                <a:gd name="connsiteY1" fmla="*/ 28594 h 222778"/>
                <a:gd name="connsiteX2" fmla="*/ 37633 w 209923"/>
                <a:gd name="connsiteY2" fmla="*/ 86177 h 222778"/>
                <a:gd name="connsiteX3" fmla="*/ 37124 w 209923"/>
                <a:gd name="connsiteY3" fmla="*/ 86771 h 222778"/>
                <a:gd name="connsiteX4" fmla="*/ 14888 w 209923"/>
                <a:gd name="connsiteY4" fmla="*/ 123094 h 222778"/>
                <a:gd name="connsiteX5" fmla="*/ 13870 w 209923"/>
                <a:gd name="connsiteY5" fmla="*/ 125513 h 222778"/>
                <a:gd name="connsiteX6" fmla="*/ 12045 w 209923"/>
                <a:gd name="connsiteY6" fmla="*/ 129757 h 222778"/>
                <a:gd name="connsiteX7" fmla="*/ 6019 w 209923"/>
                <a:gd name="connsiteY7" fmla="*/ 148385 h 222778"/>
                <a:gd name="connsiteX8" fmla="*/ -49 w 209923"/>
                <a:gd name="connsiteY8" fmla="*/ 196760 h 222778"/>
                <a:gd name="connsiteX9" fmla="*/ -49 w 209923"/>
                <a:gd name="connsiteY9" fmla="*/ 222729 h 222778"/>
                <a:gd name="connsiteX10" fmla="*/ 38481 w 209923"/>
                <a:gd name="connsiteY10" fmla="*/ 222729 h 222778"/>
                <a:gd name="connsiteX11" fmla="*/ 38736 w 209923"/>
                <a:gd name="connsiteY11" fmla="*/ 195232 h 222778"/>
                <a:gd name="connsiteX12" fmla="*/ 126617 w 209923"/>
                <a:gd name="connsiteY12" fmla="*/ 64663 h 222778"/>
                <a:gd name="connsiteX13" fmla="*/ 139899 w 209923"/>
                <a:gd name="connsiteY13" fmla="*/ 97379 h 222778"/>
                <a:gd name="connsiteX14" fmla="*/ 209872 w 209923"/>
                <a:gd name="connsiteY14" fmla="*/ 11833 h 222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9923" h="222778">
                  <a:moveTo>
                    <a:pt x="100690" y="-49"/>
                  </a:moveTo>
                  <a:cubicBezTo>
                    <a:pt x="100690" y="-49"/>
                    <a:pt x="108073" y="18452"/>
                    <a:pt x="112062" y="28594"/>
                  </a:cubicBezTo>
                  <a:cubicBezTo>
                    <a:pt x="83410" y="42229"/>
                    <a:pt x="58026" y="61867"/>
                    <a:pt x="37633" y="86177"/>
                  </a:cubicBezTo>
                  <a:lnTo>
                    <a:pt x="37124" y="86771"/>
                  </a:lnTo>
                  <a:cubicBezTo>
                    <a:pt x="28249" y="97920"/>
                    <a:pt x="20781" y="110120"/>
                    <a:pt x="14888" y="123094"/>
                  </a:cubicBezTo>
                  <a:lnTo>
                    <a:pt x="13870" y="125513"/>
                  </a:lnTo>
                  <a:lnTo>
                    <a:pt x="12045" y="129757"/>
                  </a:lnTo>
                  <a:cubicBezTo>
                    <a:pt x="9650" y="135834"/>
                    <a:pt x="7637" y="142056"/>
                    <a:pt x="6019" y="148385"/>
                  </a:cubicBezTo>
                  <a:cubicBezTo>
                    <a:pt x="1904" y="164178"/>
                    <a:pt x="-136" y="180440"/>
                    <a:pt x="-49" y="196760"/>
                  </a:cubicBezTo>
                  <a:cubicBezTo>
                    <a:pt x="-49" y="203719"/>
                    <a:pt x="-49" y="221753"/>
                    <a:pt x="-49" y="222729"/>
                  </a:cubicBezTo>
                  <a:lnTo>
                    <a:pt x="38481" y="222729"/>
                  </a:lnTo>
                  <a:cubicBezTo>
                    <a:pt x="38481" y="221244"/>
                    <a:pt x="38736" y="206223"/>
                    <a:pt x="38736" y="195232"/>
                  </a:cubicBezTo>
                  <a:cubicBezTo>
                    <a:pt x="38736" y="135358"/>
                    <a:pt x="72047" y="92160"/>
                    <a:pt x="126617" y="64663"/>
                  </a:cubicBezTo>
                  <a:lnTo>
                    <a:pt x="139899" y="97379"/>
                  </a:lnTo>
                  <a:lnTo>
                    <a:pt x="209872" y="11833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64" name="Gruppieren 363">
            <a:extLst>
              <a:ext uri="{FF2B5EF4-FFF2-40B4-BE49-F238E27FC236}">
                <a16:creationId xmlns:a16="http://schemas.microsoft.com/office/drawing/2014/main" id="{648E7B01-7D1D-4248-AEA9-0AC719E7E7FE}"/>
              </a:ext>
            </a:extLst>
          </p:cNvPr>
          <p:cNvGrpSpPr/>
          <p:nvPr/>
        </p:nvGrpSpPr>
        <p:grpSpPr>
          <a:xfrm>
            <a:off x="5814028" y="5093733"/>
            <a:ext cx="567866" cy="567976"/>
            <a:chOff x="5720046" y="2500122"/>
            <a:chExt cx="755830" cy="755976"/>
          </a:xfrm>
          <a:solidFill>
            <a:schemeClr val="bg1"/>
          </a:solidFill>
          <a:effectLst>
            <a:outerShdw blurRad="12700" dist="127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365" name="Grafik 79">
              <a:extLst>
                <a:ext uri="{FF2B5EF4-FFF2-40B4-BE49-F238E27FC236}">
                  <a16:creationId xmlns:a16="http://schemas.microsoft.com/office/drawing/2014/main" id="{E2DDD513-949C-4268-B57C-DE8BD714F872}"/>
                </a:ext>
              </a:extLst>
            </p:cNvPr>
            <p:cNvGrpSpPr/>
            <p:nvPr/>
          </p:nvGrpSpPr>
          <p:grpSpPr>
            <a:xfrm>
              <a:off x="5720046" y="2500122"/>
              <a:ext cx="755830" cy="755976"/>
              <a:chOff x="5720046" y="2500122"/>
              <a:chExt cx="755830" cy="755976"/>
            </a:xfrm>
            <a:grpFill/>
          </p:grpSpPr>
          <p:sp>
            <p:nvSpPr>
              <p:cNvPr id="373" name="Freihandform: Form 372">
                <a:extLst>
                  <a:ext uri="{FF2B5EF4-FFF2-40B4-BE49-F238E27FC236}">
                    <a16:creationId xmlns:a16="http://schemas.microsoft.com/office/drawing/2014/main" id="{AC2A9A40-3B43-45A3-93D2-A84E73F26102}"/>
                  </a:ext>
                </a:extLst>
              </p:cNvPr>
              <p:cNvSpPr/>
              <p:nvPr/>
            </p:nvSpPr>
            <p:spPr>
              <a:xfrm>
                <a:off x="5720046" y="2500122"/>
                <a:ext cx="683436" cy="466182"/>
              </a:xfrm>
              <a:custGeom>
                <a:avLst/>
                <a:gdLst>
                  <a:gd name="connsiteX0" fmla="*/ 10556 w 683436"/>
                  <a:gd name="connsiteY0" fmla="*/ 466133 h 466182"/>
                  <a:gd name="connsiteX1" fmla="*/ 289200 w 683436"/>
                  <a:gd name="connsiteY1" fmla="*/ 10485 h 466182"/>
                  <a:gd name="connsiteX2" fmla="*/ 683389 w 683436"/>
                  <a:gd name="connsiteY2" fmla="*/ 155856 h 466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36" h="466182">
                    <a:moveTo>
                      <a:pt x="10556" y="466133"/>
                    </a:moveTo>
                    <a:cubicBezTo>
                      <a:pt x="-38322" y="263364"/>
                      <a:pt x="86431" y="59364"/>
                      <a:pt x="289200" y="10485"/>
                    </a:cubicBezTo>
                    <a:cubicBezTo>
                      <a:pt x="437911" y="-25362"/>
                      <a:pt x="593560" y="32039"/>
                      <a:pt x="683389" y="155856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374" name="Freihandform: Form 373">
                <a:extLst>
                  <a:ext uri="{FF2B5EF4-FFF2-40B4-BE49-F238E27FC236}">
                    <a16:creationId xmlns:a16="http://schemas.microsoft.com/office/drawing/2014/main" id="{AA62A6BC-3F30-4CA0-9A3E-B13ABB952D10}"/>
                  </a:ext>
                </a:extLst>
              </p:cNvPr>
              <p:cNvSpPr/>
              <p:nvPr/>
            </p:nvSpPr>
            <p:spPr>
              <a:xfrm>
                <a:off x="6351416" y="2617539"/>
                <a:ext cx="89068" cy="101502"/>
              </a:xfrm>
              <a:custGeom>
                <a:avLst/>
                <a:gdLst>
                  <a:gd name="connsiteX0" fmla="*/ 0 w 89068"/>
                  <a:gd name="connsiteY0" fmla="*/ 52788 h 101502"/>
                  <a:gd name="connsiteX1" fmla="*/ 89069 w 89068"/>
                  <a:gd name="connsiteY1" fmla="*/ 101502 h 101502"/>
                  <a:gd name="connsiteX2" fmla="*/ 86735 w 89068"/>
                  <a:gd name="connsiteY2" fmla="*/ 0 h 101502"/>
                  <a:gd name="connsiteX3" fmla="*/ 0 w 89068"/>
                  <a:gd name="connsiteY3" fmla="*/ 52788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0" y="52788"/>
                    </a:moveTo>
                    <a:lnTo>
                      <a:pt x="89069" y="101502"/>
                    </a:lnTo>
                    <a:lnTo>
                      <a:pt x="86735" y="0"/>
                    </a:lnTo>
                    <a:lnTo>
                      <a:pt x="0" y="52788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5" name="Freihandform: Form 374">
                <a:extLst>
                  <a:ext uri="{FF2B5EF4-FFF2-40B4-BE49-F238E27FC236}">
                    <a16:creationId xmlns:a16="http://schemas.microsoft.com/office/drawing/2014/main" id="{6E88C0EC-4B7C-4931-B193-AE058EF4AEDC}"/>
                  </a:ext>
                </a:extLst>
              </p:cNvPr>
              <p:cNvSpPr/>
              <p:nvPr/>
            </p:nvSpPr>
            <p:spPr>
              <a:xfrm>
                <a:off x="5792433" y="2790415"/>
                <a:ext cx="683443" cy="465683"/>
              </a:xfrm>
              <a:custGeom>
                <a:avLst/>
                <a:gdLst>
                  <a:gd name="connsiteX0" fmla="*/ 672913 w 683443"/>
                  <a:gd name="connsiteY0" fmla="*/ -49 h 465683"/>
                  <a:gd name="connsiteX1" fmla="*/ 393650 w 683443"/>
                  <a:gd name="connsiteY1" fmla="*/ 455220 h 465683"/>
                  <a:gd name="connsiteX2" fmla="*/ -47 w 683443"/>
                  <a:gd name="connsiteY2" fmla="*/ 309719 h 465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43" h="465683">
                    <a:moveTo>
                      <a:pt x="672913" y="-49"/>
                    </a:moveTo>
                    <a:cubicBezTo>
                      <a:pt x="721516" y="202786"/>
                      <a:pt x="596485" y="406617"/>
                      <a:pt x="393650" y="455220"/>
                    </a:cubicBezTo>
                    <a:cubicBezTo>
                      <a:pt x="245067" y="490822"/>
                      <a:pt x="89671" y="433392"/>
                      <a:pt x="-47" y="309719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376" name="Freihandform: Form 375">
                <a:extLst>
                  <a:ext uri="{FF2B5EF4-FFF2-40B4-BE49-F238E27FC236}">
                    <a16:creationId xmlns:a16="http://schemas.microsoft.com/office/drawing/2014/main" id="{BD1062F8-CF6B-497F-BBCC-533D4A538EE6}"/>
                  </a:ext>
                </a:extLst>
              </p:cNvPr>
              <p:cNvSpPr/>
              <p:nvPr/>
            </p:nvSpPr>
            <p:spPr>
              <a:xfrm>
                <a:off x="5755473" y="3037254"/>
                <a:ext cx="89068" cy="101502"/>
              </a:xfrm>
              <a:custGeom>
                <a:avLst/>
                <a:gdLst>
                  <a:gd name="connsiteX0" fmla="*/ 89069 w 89068"/>
                  <a:gd name="connsiteY0" fmla="*/ 48714 h 101502"/>
                  <a:gd name="connsiteX1" fmla="*/ 0 w 89068"/>
                  <a:gd name="connsiteY1" fmla="*/ 0 h 101502"/>
                  <a:gd name="connsiteX2" fmla="*/ 2334 w 89068"/>
                  <a:gd name="connsiteY2" fmla="*/ 101502 h 101502"/>
                  <a:gd name="connsiteX3" fmla="*/ 89069 w 89068"/>
                  <a:gd name="connsiteY3" fmla="*/ 48714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89069" y="48714"/>
                    </a:moveTo>
                    <a:lnTo>
                      <a:pt x="0" y="0"/>
                    </a:lnTo>
                    <a:lnTo>
                      <a:pt x="2334" y="101502"/>
                    </a:lnTo>
                    <a:lnTo>
                      <a:pt x="89069" y="48714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366" name="Freihandform: Form 365">
              <a:extLst>
                <a:ext uri="{FF2B5EF4-FFF2-40B4-BE49-F238E27FC236}">
                  <a16:creationId xmlns:a16="http://schemas.microsoft.com/office/drawing/2014/main" id="{1E8CBC4B-9777-41FD-A8EF-197A9C675288}"/>
                </a:ext>
              </a:extLst>
            </p:cNvPr>
            <p:cNvSpPr/>
            <p:nvPr/>
          </p:nvSpPr>
          <p:spPr>
            <a:xfrm>
              <a:off x="6351416" y="2617539"/>
              <a:ext cx="89068" cy="101502"/>
            </a:xfrm>
            <a:custGeom>
              <a:avLst/>
              <a:gdLst>
                <a:gd name="connsiteX0" fmla="*/ 0 w 89068"/>
                <a:gd name="connsiteY0" fmla="*/ 52788 h 101502"/>
                <a:gd name="connsiteX1" fmla="*/ 89069 w 89068"/>
                <a:gd name="connsiteY1" fmla="*/ 101502 h 101502"/>
                <a:gd name="connsiteX2" fmla="*/ 86735 w 89068"/>
                <a:gd name="connsiteY2" fmla="*/ 0 h 101502"/>
                <a:gd name="connsiteX3" fmla="*/ 0 w 89068"/>
                <a:gd name="connsiteY3" fmla="*/ 52788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0" y="52788"/>
                  </a:moveTo>
                  <a:lnTo>
                    <a:pt x="89069" y="101502"/>
                  </a:lnTo>
                  <a:lnTo>
                    <a:pt x="86735" y="0"/>
                  </a:lnTo>
                  <a:lnTo>
                    <a:pt x="0" y="52788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7" name="Freihandform: Form 366">
              <a:extLst>
                <a:ext uri="{FF2B5EF4-FFF2-40B4-BE49-F238E27FC236}">
                  <a16:creationId xmlns:a16="http://schemas.microsoft.com/office/drawing/2014/main" id="{7BBE674A-DBDD-4BAD-9BE5-5495DB1AD9F1}"/>
                </a:ext>
              </a:extLst>
            </p:cNvPr>
            <p:cNvSpPr/>
            <p:nvPr/>
          </p:nvSpPr>
          <p:spPr>
            <a:xfrm>
              <a:off x="5755473" y="3037254"/>
              <a:ext cx="89068" cy="101502"/>
            </a:xfrm>
            <a:custGeom>
              <a:avLst/>
              <a:gdLst>
                <a:gd name="connsiteX0" fmla="*/ 89069 w 89068"/>
                <a:gd name="connsiteY0" fmla="*/ 48714 h 101502"/>
                <a:gd name="connsiteX1" fmla="*/ 0 w 89068"/>
                <a:gd name="connsiteY1" fmla="*/ 0 h 101502"/>
                <a:gd name="connsiteX2" fmla="*/ 2334 w 89068"/>
                <a:gd name="connsiteY2" fmla="*/ 101502 h 101502"/>
                <a:gd name="connsiteX3" fmla="*/ 89069 w 89068"/>
                <a:gd name="connsiteY3" fmla="*/ 48714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89069" y="48714"/>
                  </a:moveTo>
                  <a:lnTo>
                    <a:pt x="0" y="0"/>
                  </a:lnTo>
                  <a:lnTo>
                    <a:pt x="2334" y="101502"/>
                  </a:lnTo>
                  <a:lnTo>
                    <a:pt x="89069" y="48714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368" name="Grafik 79">
              <a:extLst>
                <a:ext uri="{FF2B5EF4-FFF2-40B4-BE49-F238E27FC236}">
                  <a16:creationId xmlns:a16="http://schemas.microsoft.com/office/drawing/2014/main" id="{7A485FFA-0EAF-4CD3-9559-1F9BF6D53E47}"/>
                </a:ext>
              </a:extLst>
            </p:cNvPr>
            <p:cNvGrpSpPr/>
            <p:nvPr/>
          </p:nvGrpSpPr>
          <p:grpSpPr>
            <a:xfrm>
              <a:off x="5846748" y="2639817"/>
              <a:ext cx="457845" cy="501883"/>
              <a:chOff x="5846748" y="2639817"/>
              <a:chExt cx="457845" cy="501883"/>
            </a:xfrm>
            <a:grpFill/>
          </p:grpSpPr>
          <p:sp>
            <p:nvSpPr>
              <p:cNvPr id="371" name="Freihandform: Form 370">
                <a:extLst>
                  <a:ext uri="{FF2B5EF4-FFF2-40B4-BE49-F238E27FC236}">
                    <a16:creationId xmlns:a16="http://schemas.microsoft.com/office/drawing/2014/main" id="{F70FE0F6-DBCE-4BCF-863C-016C9F001B05}"/>
                  </a:ext>
                </a:extLst>
              </p:cNvPr>
              <p:cNvSpPr/>
              <p:nvPr/>
            </p:nvSpPr>
            <p:spPr>
              <a:xfrm>
                <a:off x="5846748" y="2639817"/>
                <a:ext cx="457845" cy="501883"/>
              </a:xfrm>
              <a:custGeom>
                <a:avLst/>
                <a:gdLst>
                  <a:gd name="connsiteX0" fmla="*/ 455991 w 457845"/>
                  <a:gd name="connsiteY0" fmla="*/ 100647 h 501883"/>
                  <a:gd name="connsiteX1" fmla="*/ 401930 w 457845"/>
                  <a:gd name="connsiteY1" fmla="*/ 7292 h 501883"/>
                  <a:gd name="connsiteX2" fmla="*/ 390048 w 457845"/>
                  <a:gd name="connsiteY2" fmla="*/ -49 h 501883"/>
                  <a:gd name="connsiteX3" fmla="*/ 281842 w 457845"/>
                  <a:gd name="connsiteY3" fmla="*/ -49 h 501883"/>
                  <a:gd name="connsiteX4" fmla="*/ 269833 w 457845"/>
                  <a:gd name="connsiteY4" fmla="*/ 6910 h 501883"/>
                  <a:gd name="connsiteX5" fmla="*/ 219803 w 457845"/>
                  <a:gd name="connsiteY5" fmla="*/ 93518 h 501883"/>
                  <a:gd name="connsiteX6" fmla="*/ 125897 w 457845"/>
                  <a:gd name="connsiteY6" fmla="*/ 93518 h 501883"/>
                  <a:gd name="connsiteX7" fmla="*/ 100691 w 457845"/>
                  <a:gd name="connsiteY7" fmla="*/ 50023 h 501883"/>
                  <a:gd name="connsiteX8" fmla="*/ 88767 w 457845"/>
                  <a:gd name="connsiteY8" fmla="*/ 43106 h 501883"/>
                  <a:gd name="connsiteX9" fmla="*/ 74880 w 457845"/>
                  <a:gd name="connsiteY9" fmla="*/ 56886 h 501883"/>
                  <a:gd name="connsiteX10" fmla="*/ 76758 w 457845"/>
                  <a:gd name="connsiteY10" fmla="*/ 63899 h 501883"/>
                  <a:gd name="connsiteX11" fmla="*/ 102728 w 457845"/>
                  <a:gd name="connsiteY11" fmla="*/ 108921 h 501883"/>
                  <a:gd name="connsiteX12" fmla="*/ 57493 w 457845"/>
                  <a:gd name="connsiteY12" fmla="*/ 187212 h 501883"/>
                  <a:gd name="connsiteX13" fmla="*/ 13829 w 457845"/>
                  <a:gd name="connsiteY13" fmla="*/ 187212 h 501883"/>
                  <a:gd name="connsiteX14" fmla="*/ -47 w 457845"/>
                  <a:gd name="connsiteY14" fmla="*/ 201088 h 501883"/>
                  <a:gd name="connsiteX15" fmla="*/ 13829 w 457845"/>
                  <a:gd name="connsiteY15" fmla="*/ 214964 h 501883"/>
                  <a:gd name="connsiteX16" fmla="*/ 57239 w 457845"/>
                  <a:gd name="connsiteY16" fmla="*/ 214964 h 501883"/>
                  <a:gd name="connsiteX17" fmla="*/ 103152 w 457845"/>
                  <a:gd name="connsiteY17" fmla="*/ 294443 h 501883"/>
                  <a:gd name="connsiteX18" fmla="*/ 81171 w 457845"/>
                  <a:gd name="connsiteY18" fmla="*/ 332633 h 501883"/>
                  <a:gd name="connsiteX19" fmla="*/ 86844 w 457845"/>
                  <a:gd name="connsiteY19" fmla="*/ 351419 h 501883"/>
                  <a:gd name="connsiteX20" fmla="*/ 105189 w 457845"/>
                  <a:gd name="connsiteY20" fmla="*/ 346509 h 501883"/>
                  <a:gd name="connsiteX21" fmla="*/ 127043 w 457845"/>
                  <a:gd name="connsiteY21" fmla="*/ 308743 h 501883"/>
                  <a:gd name="connsiteX22" fmla="*/ 212165 w 457845"/>
                  <a:gd name="connsiteY22" fmla="*/ 308743 h 501883"/>
                  <a:gd name="connsiteX23" fmla="*/ 186026 w 457845"/>
                  <a:gd name="connsiteY23" fmla="*/ 369636 h 501883"/>
                  <a:gd name="connsiteX24" fmla="*/ 184031 w 457845"/>
                  <a:gd name="connsiteY24" fmla="*/ 374303 h 501883"/>
                  <a:gd name="connsiteX25" fmla="*/ 154328 w 457845"/>
                  <a:gd name="connsiteY25" fmla="*/ 443895 h 501883"/>
                  <a:gd name="connsiteX26" fmla="*/ 165742 w 457845"/>
                  <a:gd name="connsiteY26" fmla="*/ 492822 h 501883"/>
                  <a:gd name="connsiteX27" fmla="*/ 193706 w 457845"/>
                  <a:gd name="connsiteY27" fmla="*/ 501733 h 501883"/>
                  <a:gd name="connsiteX28" fmla="*/ 354574 w 457845"/>
                  <a:gd name="connsiteY28" fmla="*/ 501733 h 501883"/>
                  <a:gd name="connsiteX29" fmla="*/ 381392 w 457845"/>
                  <a:gd name="connsiteY29" fmla="*/ 492991 h 501883"/>
                  <a:gd name="connsiteX30" fmla="*/ 392807 w 457845"/>
                  <a:gd name="connsiteY30" fmla="*/ 443131 h 501883"/>
                  <a:gd name="connsiteX31" fmla="*/ 331617 w 457845"/>
                  <a:gd name="connsiteY31" fmla="*/ 300214 h 501883"/>
                  <a:gd name="connsiteX32" fmla="*/ 328137 w 457845"/>
                  <a:gd name="connsiteY32" fmla="*/ 284725 h 501883"/>
                  <a:gd name="connsiteX33" fmla="*/ 328137 w 457845"/>
                  <a:gd name="connsiteY33" fmla="*/ 215176 h 501883"/>
                  <a:gd name="connsiteX34" fmla="*/ 382495 w 457845"/>
                  <a:gd name="connsiteY34" fmla="*/ 215176 h 501883"/>
                  <a:gd name="connsiteX35" fmla="*/ 405409 w 457845"/>
                  <a:gd name="connsiteY35" fmla="*/ 254852 h 501883"/>
                  <a:gd name="connsiteX36" fmla="*/ 424377 w 457845"/>
                  <a:gd name="connsiteY36" fmla="*/ 259901 h 501883"/>
                  <a:gd name="connsiteX37" fmla="*/ 429427 w 457845"/>
                  <a:gd name="connsiteY37" fmla="*/ 240933 h 501883"/>
                  <a:gd name="connsiteX38" fmla="*/ 406343 w 457845"/>
                  <a:gd name="connsiteY38" fmla="*/ 200961 h 501883"/>
                  <a:gd name="connsiteX39" fmla="*/ 455991 w 457845"/>
                  <a:gd name="connsiteY39" fmla="*/ 114523 h 501883"/>
                  <a:gd name="connsiteX40" fmla="*/ 455991 w 457845"/>
                  <a:gd name="connsiteY40" fmla="*/ 100647 h 501883"/>
                  <a:gd name="connsiteX41" fmla="*/ 245773 w 457845"/>
                  <a:gd name="connsiteY41" fmla="*/ 271995 h 501883"/>
                  <a:gd name="connsiteX42" fmla="*/ 245773 w 457845"/>
                  <a:gd name="connsiteY42" fmla="*/ 262999 h 501883"/>
                  <a:gd name="connsiteX43" fmla="*/ 245773 w 457845"/>
                  <a:gd name="connsiteY43" fmla="*/ 172445 h 501883"/>
                  <a:gd name="connsiteX44" fmla="*/ 302040 w 457845"/>
                  <a:gd name="connsiteY44" fmla="*/ 172445 h 501883"/>
                  <a:gd name="connsiteX45" fmla="*/ 302040 w 457845"/>
                  <a:gd name="connsiteY45" fmla="*/ 211824 h 501883"/>
                  <a:gd name="connsiteX46" fmla="*/ 302040 w 457845"/>
                  <a:gd name="connsiteY46" fmla="*/ 274584 h 501883"/>
                  <a:gd name="connsiteX47" fmla="*/ 311758 w 457845"/>
                  <a:gd name="connsiteY47" fmla="*/ 321813 h 501883"/>
                  <a:gd name="connsiteX48" fmla="*/ 360217 w 457845"/>
                  <a:gd name="connsiteY48" fmla="*/ 434517 h 501883"/>
                  <a:gd name="connsiteX49" fmla="*/ 367346 w 457845"/>
                  <a:gd name="connsiteY49" fmla="*/ 451491 h 501883"/>
                  <a:gd name="connsiteX50" fmla="*/ 367346 w 457845"/>
                  <a:gd name="connsiteY50" fmla="*/ 451491 h 501883"/>
                  <a:gd name="connsiteX51" fmla="*/ 370316 w 457845"/>
                  <a:gd name="connsiteY51" fmla="*/ 463500 h 501883"/>
                  <a:gd name="connsiteX52" fmla="*/ 355465 w 457845"/>
                  <a:gd name="connsiteY52" fmla="*/ 474872 h 501883"/>
                  <a:gd name="connsiteX53" fmla="*/ 257654 w 457845"/>
                  <a:gd name="connsiteY53" fmla="*/ 474872 h 501883"/>
                  <a:gd name="connsiteX54" fmla="*/ 194385 w 457845"/>
                  <a:gd name="connsiteY54" fmla="*/ 474872 h 501883"/>
                  <a:gd name="connsiteX55" fmla="*/ 182419 w 457845"/>
                  <a:gd name="connsiteY55" fmla="*/ 472029 h 501883"/>
                  <a:gd name="connsiteX56" fmla="*/ 178770 w 457845"/>
                  <a:gd name="connsiteY56" fmla="*/ 454461 h 501883"/>
                  <a:gd name="connsiteX57" fmla="*/ 238432 w 457845"/>
                  <a:gd name="connsiteY57" fmla="*/ 316169 h 501883"/>
                  <a:gd name="connsiteX58" fmla="*/ 245773 w 457845"/>
                  <a:gd name="connsiteY58" fmla="*/ 271995 h 501883"/>
                  <a:gd name="connsiteX59" fmla="*/ 218191 w 457845"/>
                  <a:gd name="connsiteY59" fmla="*/ 172318 h 501883"/>
                  <a:gd name="connsiteX60" fmla="*/ 219676 w 457845"/>
                  <a:gd name="connsiteY60" fmla="*/ 172318 h 501883"/>
                  <a:gd name="connsiteX61" fmla="*/ 219676 w 457845"/>
                  <a:gd name="connsiteY61" fmla="*/ 175161 h 501883"/>
                  <a:gd name="connsiteX62" fmla="*/ 219676 w 457845"/>
                  <a:gd name="connsiteY62" fmla="*/ 202021 h 501883"/>
                  <a:gd name="connsiteX63" fmla="*/ 219676 w 457845"/>
                  <a:gd name="connsiteY63" fmla="*/ 215049 h 501883"/>
                  <a:gd name="connsiteX64" fmla="*/ 219676 w 457845"/>
                  <a:gd name="connsiteY64" fmla="*/ 280652 h 501883"/>
                  <a:gd name="connsiteX65" fmla="*/ 219336 w 457845"/>
                  <a:gd name="connsiteY65" fmla="*/ 280652 h 501883"/>
                  <a:gd name="connsiteX66" fmla="*/ 127467 w 457845"/>
                  <a:gd name="connsiteY66" fmla="*/ 280652 h 501883"/>
                  <a:gd name="connsiteX67" fmla="*/ 81553 w 457845"/>
                  <a:gd name="connsiteY67" fmla="*/ 201300 h 501883"/>
                  <a:gd name="connsiteX68" fmla="*/ 81553 w 457845"/>
                  <a:gd name="connsiteY68" fmla="*/ 201003 h 501883"/>
                  <a:gd name="connsiteX69" fmla="*/ 127467 w 457845"/>
                  <a:gd name="connsiteY69" fmla="*/ 121439 h 501883"/>
                  <a:gd name="connsiteX70" fmla="*/ 219506 w 457845"/>
                  <a:gd name="connsiteY70" fmla="*/ 121439 h 501883"/>
                  <a:gd name="connsiteX71" fmla="*/ 234019 w 457845"/>
                  <a:gd name="connsiteY71" fmla="*/ 146348 h 501883"/>
                  <a:gd name="connsiteX72" fmla="*/ 219167 w 457845"/>
                  <a:gd name="connsiteY72" fmla="*/ 146348 h 501883"/>
                  <a:gd name="connsiteX73" fmla="*/ 209152 w 457845"/>
                  <a:gd name="connsiteY73" fmla="*/ 150210 h 501883"/>
                  <a:gd name="connsiteX74" fmla="*/ 205588 w 457845"/>
                  <a:gd name="connsiteY74" fmla="*/ 159460 h 501883"/>
                  <a:gd name="connsiteX75" fmla="*/ 217242 w 457845"/>
                  <a:gd name="connsiteY75" fmla="*/ 172304 h 501883"/>
                  <a:gd name="connsiteX76" fmla="*/ 217979 w 457845"/>
                  <a:gd name="connsiteY76" fmla="*/ 172318 h 501883"/>
                  <a:gd name="connsiteX77" fmla="*/ 328222 w 457845"/>
                  <a:gd name="connsiteY77" fmla="*/ 184326 h 501883"/>
                  <a:gd name="connsiteX78" fmla="*/ 328222 w 457845"/>
                  <a:gd name="connsiteY78" fmla="*/ 176604 h 501883"/>
                  <a:gd name="connsiteX79" fmla="*/ 328222 w 457845"/>
                  <a:gd name="connsiteY79" fmla="*/ 172360 h 501883"/>
                  <a:gd name="connsiteX80" fmla="*/ 330047 w 457845"/>
                  <a:gd name="connsiteY80" fmla="*/ 172360 h 501883"/>
                  <a:gd name="connsiteX81" fmla="*/ 341813 w 457845"/>
                  <a:gd name="connsiteY81" fmla="*/ 160365 h 501883"/>
                  <a:gd name="connsiteX82" fmla="*/ 341801 w 457845"/>
                  <a:gd name="connsiteY82" fmla="*/ 159927 h 501883"/>
                  <a:gd name="connsiteX83" fmla="*/ 338194 w 457845"/>
                  <a:gd name="connsiteY83" fmla="*/ 150040 h 501883"/>
                  <a:gd name="connsiteX84" fmla="*/ 329707 w 457845"/>
                  <a:gd name="connsiteY84" fmla="*/ 146560 h 501883"/>
                  <a:gd name="connsiteX85" fmla="*/ 266693 w 457845"/>
                  <a:gd name="connsiteY85" fmla="*/ 146560 h 501883"/>
                  <a:gd name="connsiteX86" fmla="*/ 244160 w 457845"/>
                  <a:gd name="connsiteY86" fmla="*/ 107818 h 501883"/>
                  <a:gd name="connsiteX87" fmla="*/ 290159 w 457845"/>
                  <a:gd name="connsiteY87" fmla="*/ 28127 h 501883"/>
                  <a:gd name="connsiteX88" fmla="*/ 382198 w 457845"/>
                  <a:gd name="connsiteY88" fmla="*/ 28127 h 501883"/>
                  <a:gd name="connsiteX89" fmla="*/ 428197 w 457845"/>
                  <a:gd name="connsiteY89" fmla="*/ 107818 h 501883"/>
                  <a:gd name="connsiteX90" fmla="*/ 382198 w 457845"/>
                  <a:gd name="connsiteY90" fmla="*/ 187509 h 501883"/>
                  <a:gd name="connsiteX91" fmla="*/ 328307 w 457845"/>
                  <a:gd name="connsiteY91" fmla="*/ 187509 h 501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</a:cxnLst>
                <a:rect l="l" t="t" r="r" b="b"/>
                <a:pathLst>
                  <a:path w="457845" h="501883">
                    <a:moveTo>
                      <a:pt x="455991" y="100647"/>
                    </a:moveTo>
                    <a:lnTo>
                      <a:pt x="401930" y="7292"/>
                    </a:lnTo>
                    <a:cubicBezTo>
                      <a:pt x="399573" y="2891"/>
                      <a:pt x="395039" y="90"/>
                      <a:pt x="390048" y="-49"/>
                    </a:cubicBezTo>
                    <a:lnTo>
                      <a:pt x="281842" y="-49"/>
                    </a:lnTo>
                    <a:cubicBezTo>
                      <a:pt x="276883" y="-42"/>
                      <a:pt x="272305" y="2611"/>
                      <a:pt x="269833" y="6910"/>
                    </a:cubicBezTo>
                    <a:lnTo>
                      <a:pt x="219803" y="93518"/>
                    </a:lnTo>
                    <a:lnTo>
                      <a:pt x="125897" y="93518"/>
                    </a:lnTo>
                    <a:lnTo>
                      <a:pt x="100691" y="50023"/>
                    </a:lnTo>
                    <a:cubicBezTo>
                      <a:pt x="98217" y="45773"/>
                      <a:pt x="93685" y="43143"/>
                      <a:pt x="88767" y="43106"/>
                    </a:cubicBezTo>
                    <a:cubicBezTo>
                      <a:pt x="81127" y="43077"/>
                      <a:pt x="74910" y="49246"/>
                      <a:pt x="74880" y="56886"/>
                    </a:cubicBezTo>
                    <a:cubicBezTo>
                      <a:pt x="74871" y="59349"/>
                      <a:pt x="75519" y="61770"/>
                      <a:pt x="76758" y="63899"/>
                    </a:cubicBezTo>
                    <a:lnTo>
                      <a:pt x="102728" y="108921"/>
                    </a:lnTo>
                    <a:lnTo>
                      <a:pt x="57493" y="187212"/>
                    </a:lnTo>
                    <a:lnTo>
                      <a:pt x="13829" y="187212"/>
                    </a:lnTo>
                    <a:cubicBezTo>
                      <a:pt x="6165" y="187212"/>
                      <a:pt x="-47" y="193425"/>
                      <a:pt x="-47" y="201088"/>
                    </a:cubicBezTo>
                    <a:cubicBezTo>
                      <a:pt x="-47" y="208751"/>
                      <a:pt x="6165" y="214964"/>
                      <a:pt x="13829" y="214964"/>
                    </a:cubicBezTo>
                    <a:lnTo>
                      <a:pt x="57239" y="214964"/>
                    </a:lnTo>
                    <a:lnTo>
                      <a:pt x="103152" y="294443"/>
                    </a:lnTo>
                    <a:lnTo>
                      <a:pt x="81171" y="332633"/>
                    </a:lnTo>
                    <a:cubicBezTo>
                      <a:pt x="77550" y="339387"/>
                      <a:pt x="80090" y="347798"/>
                      <a:pt x="86844" y="351419"/>
                    </a:cubicBezTo>
                    <a:cubicBezTo>
                      <a:pt x="93297" y="354879"/>
                      <a:pt x="101327" y="352729"/>
                      <a:pt x="105189" y="346509"/>
                    </a:cubicBezTo>
                    <a:lnTo>
                      <a:pt x="127043" y="308743"/>
                    </a:lnTo>
                    <a:lnTo>
                      <a:pt x="212165" y="308743"/>
                    </a:lnTo>
                    <a:cubicBezTo>
                      <a:pt x="205885" y="323255"/>
                      <a:pt x="195955" y="346467"/>
                      <a:pt x="186026" y="369636"/>
                    </a:cubicBezTo>
                    <a:lnTo>
                      <a:pt x="184031" y="374303"/>
                    </a:lnTo>
                    <a:cubicBezTo>
                      <a:pt x="171726" y="403031"/>
                      <a:pt x="158995" y="432777"/>
                      <a:pt x="154328" y="443895"/>
                    </a:cubicBezTo>
                    <a:cubicBezTo>
                      <a:pt x="146145" y="460858"/>
                      <a:pt x="150898" y="481231"/>
                      <a:pt x="165742" y="492822"/>
                    </a:cubicBezTo>
                    <a:cubicBezTo>
                      <a:pt x="173716" y="499007"/>
                      <a:pt x="183624" y="502164"/>
                      <a:pt x="193706" y="501733"/>
                    </a:cubicBezTo>
                    <a:lnTo>
                      <a:pt x="354574" y="501733"/>
                    </a:lnTo>
                    <a:cubicBezTo>
                      <a:pt x="364314" y="502455"/>
                      <a:pt x="373948" y="499315"/>
                      <a:pt x="381392" y="492991"/>
                    </a:cubicBezTo>
                    <a:cubicBezTo>
                      <a:pt x="396838" y="480813"/>
                      <a:pt x="401081" y="462184"/>
                      <a:pt x="392807" y="443131"/>
                    </a:cubicBezTo>
                    <a:cubicBezTo>
                      <a:pt x="372735" y="396836"/>
                      <a:pt x="352155" y="348758"/>
                      <a:pt x="331617" y="300214"/>
                    </a:cubicBezTo>
                    <a:cubicBezTo>
                      <a:pt x="329481" y="295320"/>
                      <a:pt x="328300" y="290063"/>
                      <a:pt x="328137" y="284725"/>
                    </a:cubicBezTo>
                    <a:cubicBezTo>
                      <a:pt x="328137" y="260750"/>
                      <a:pt x="328137" y="236478"/>
                      <a:pt x="328137" y="215176"/>
                    </a:cubicBezTo>
                    <a:lnTo>
                      <a:pt x="382495" y="215176"/>
                    </a:lnTo>
                    <a:lnTo>
                      <a:pt x="405409" y="254852"/>
                    </a:lnTo>
                    <a:cubicBezTo>
                      <a:pt x="409253" y="261484"/>
                      <a:pt x="417745" y="263745"/>
                      <a:pt x="424377" y="259901"/>
                    </a:cubicBezTo>
                    <a:cubicBezTo>
                      <a:pt x="431010" y="256058"/>
                      <a:pt x="433271" y="247566"/>
                      <a:pt x="429427" y="240933"/>
                    </a:cubicBezTo>
                    <a:lnTo>
                      <a:pt x="406343" y="200961"/>
                    </a:lnTo>
                    <a:lnTo>
                      <a:pt x="455991" y="114523"/>
                    </a:lnTo>
                    <a:cubicBezTo>
                      <a:pt x="458401" y="110211"/>
                      <a:pt x="458401" y="104958"/>
                      <a:pt x="455991" y="100647"/>
                    </a:cubicBezTo>
                    <a:close/>
                    <a:moveTo>
                      <a:pt x="245773" y="271995"/>
                    </a:moveTo>
                    <a:cubicBezTo>
                      <a:pt x="245773" y="269025"/>
                      <a:pt x="245773" y="262999"/>
                      <a:pt x="245773" y="262999"/>
                    </a:cubicBezTo>
                    <a:lnTo>
                      <a:pt x="245773" y="172445"/>
                    </a:lnTo>
                    <a:lnTo>
                      <a:pt x="302040" y="172445"/>
                    </a:lnTo>
                    <a:lnTo>
                      <a:pt x="302040" y="211824"/>
                    </a:lnTo>
                    <a:cubicBezTo>
                      <a:pt x="302040" y="211824"/>
                      <a:pt x="302040" y="243395"/>
                      <a:pt x="302040" y="274584"/>
                    </a:cubicBezTo>
                    <a:cubicBezTo>
                      <a:pt x="301739" y="290852"/>
                      <a:pt x="305058" y="306984"/>
                      <a:pt x="311758" y="321813"/>
                    </a:cubicBezTo>
                    <a:cubicBezTo>
                      <a:pt x="328477" y="359452"/>
                      <a:pt x="344602" y="397600"/>
                      <a:pt x="360217" y="434517"/>
                    </a:cubicBezTo>
                    <a:lnTo>
                      <a:pt x="367346" y="451491"/>
                    </a:lnTo>
                    <a:lnTo>
                      <a:pt x="367346" y="451491"/>
                    </a:lnTo>
                    <a:cubicBezTo>
                      <a:pt x="369150" y="455247"/>
                      <a:pt x="370162" y="459335"/>
                      <a:pt x="370316" y="463500"/>
                    </a:cubicBezTo>
                    <a:cubicBezTo>
                      <a:pt x="369892" y="470416"/>
                      <a:pt x="364206" y="474745"/>
                      <a:pt x="355465" y="474872"/>
                    </a:cubicBezTo>
                    <a:cubicBezTo>
                      <a:pt x="343838" y="474872"/>
                      <a:pt x="302592" y="474872"/>
                      <a:pt x="257654" y="474872"/>
                    </a:cubicBezTo>
                    <a:lnTo>
                      <a:pt x="194385" y="474872"/>
                    </a:lnTo>
                    <a:cubicBezTo>
                      <a:pt x="190192" y="475276"/>
                      <a:pt x="185982" y="474276"/>
                      <a:pt x="182419" y="472029"/>
                    </a:cubicBezTo>
                    <a:cubicBezTo>
                      <a:pt x="176818" y="467785"/>
                      <a:pt x="175587" y="462057"/>
                      <a:pt x="178770" y="454461"/>
                    </a:cubicBezTo>
                    <a:cubicBezTo>
                      <a:pt x="185814" y="437488"/>
                      <a:pt x="234401" y="323722"/>
                      <a:pt x="238432" y="316169"/>
                    </a:cubicBezTo>
                    <a:cubicBezTo>
                      <a:pt x="246197" y="301444"/>
                      <a:pt x="245773" y="287144"/>
                      <a:pt x="245773" y="271995"/>
                    </a:cubicBezTo>
                    <a:close/>
                    <a:moveTo>
                      <a:pt x="218191" y="172318"/>
                    </a:moveTo>
                    <a:lnTo>
                      <a:pt x="219676" y="172318"/>
                    </a:lnTo>
                    <a:lnTo>
                      <a:pt x="219676" y="175161"/>
                    </a:lnTo>
                    <a:cubicBezTo>
                      <a:pt x="219676" y="180635"/>
                      <a:pt x="219676" y="190352"/>
                      <a:pt x="219676" y="202021"/>
                    </a:cubicBezTo>
                    <a:lnTo>
                      <a:pt x="219676" y="215049"/>
                    </a:lnTo>
                    <a:cubicBezTo>
                      <a:pt x="219676" y="242419"/>
                      <a:pt x="219676" y="268303"/>
                      <a:pt x="219676" y="280652"/>
                    </a:cubicBezTo>
                    <a:lnTo>
                      <a:pt x="219336" y="280652"/>
                    </a:lnTo>
                    <a:lnTo>
                      <a:pt x="127467" y="280652"/>
                    </a:lnTo>
                    <a:lnTo>
                      <a:pt x="81553" y="201300"/>
                    </a:lnTo>
                    <a:lnTo>
                      <a:pt x="81553" y="201003"/>
                    </a:lnTo>
                    <a:lnTo>
                      <a:pt x="127467" y="121439"/>
                    </a:lnTo>
                    <a:lnTo>
                      <a:pt x="219506" y="121439"/>
                    </a:lnTo>
                    <a:lnTo>
                      <a:pt x="234019" y="146348"/>
                    </a:lnTo>
                    <a:lnTo>
                      <a:pt x="219167" y="146348"/>
                    </a:lnTo>
                    <a:cubicBezTo>
                      <a:pt x="215442" y="146215"/>
                      <a:pt x="211824" y="147610"/>
                      <a:pt x="209152" y="150210"/>
                    </a:cubicBezTo>
                    <a:cubicBezTo>
                      <a:pt x="206783" y="152698"/>
                      <a:pt x="205501" y="156026"/>
                      <a:pt x="205588" y="159460"/>
                    </a:cubicBezTo>
                    <a:cubicBezTo>
                      <a:pt x="205259" y="166225"/>
                      <a:pt x="210477" y="171976"/>
                      <a:pt x="217242" y="172304"/>
                    </a:cubicBezTo>
                    <a:cubicBezTo>
                      <a:pt x="217487" y="172316"/>
                      <a:pt x="217733" y="172321"/>
                      <a:pt x="217979" y="172318"/>
                    </a:cubicBezTo>
                    <a:close/>
                    <a:moveTo>
                      <a:pt x="328222" y="184326"/>
                    </a:moveTo>
                    <a:cubicBezTo>
                      <a:pt x="328222" y="182926"/>
                      <a:pt x="328222" y="181823"/>
                      <a:pt x="328222" y="176604"/>
                    </a:cubicBezTo>
                    <a:lnTo>
                      <a:pt x="328222" y="172360"/>
                    </a:lnTo>
                    <a:lnTo>
                      <a:pt x="330047" y="172360"/>
                    </a:lnTo>
                    <a:cubicBezTo>
                      <a:pt x="336608" y="172297"/>
                      <a:pt x="341876" y="166926"/>
                      <a:pt x="341813" y="160365"/>
                    </a:cubicBezTo>
                    <a:cubicBezTo>
                      <a:pt x="341812" y="160219"/>
                      <a:pt x="341808" y="160073"/>
                      <a:pt x="341801" y="159927"/>
                    </a:cubicBezTo>
                    <a:cubicBezTo>
                      <a:pt x="341967" y="156282"/>
                      <a:pt x="340668" y="152722"/>
                      <a:pt x="338194" y="150040"/>
                    </a:cubicBezTo>
                    <a:cubicBezTo>
                      <a:pt x="335942" y="147795"/>
                      <a:pt x="332887" y="146542"/>
                      <a:pt x="329707" y="146560"/>
                    </a:cubicBezTo>
                    <a:lnTo>
                      <a:pt x="266693" y="146560"/>
                    </a:lnTo>
                    <a:lnTo>
                      <a:pt x="244160" y="107818"/>
                    </a:lnTo>
                    <a:lnTo>
                      <a:pt x="290159" y="28127"/>
                    </a:lnTo>
                    <a:lnTo>
                      <a:pt x="382198" y="28127"/>
                    </a:lnTo>
                    <a:lnTo>
                      <a:pt x="428197" y="107818"/>
                    </a:lnTo>
                    <a:lnTo>
                      <a:pt x="382198" y="187509"/>
                    </a:lnTo>
                    <a:lnTo>
                      <a:pt x="328307" y="187509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2" name="Freihandform: Form 371">
                <a:extLst>
                  <a:ext uri="{FF2B5EF4-FFF2-40B4-BE49-F238E27FC236}">
                    <a16:creationId xmlns:a16="http://schemas.microsoft.com/office/drawing/2014/main" id="{330BBAD4-3360-479F-B86D-A1A486282BDF}"/>
                  </a:ext>
                </a:extLst>
              </p:cNvPr>
              <p:cNvSpPr/>
              <p:nvPr/>
            </p:nvSpPr>
            <p:spPr>
              <a:xfrm>
                <a:off x="6050172" y="3009332"/>
                <a:ext cx="140662" cy="85481"/>
              </a:xfrm>
              <a:custGeom>
                <a:avLst/>
                <a:gdLst>
                  <a:gd name="connsiteX0" fmla="*/ 38105 w 140662"/>
                  <a:gd name="connsiteY0" fmla="*/ 205 h 85481"/>
                  <a:gd name="connsiteX1" fmla="*/ 38105 w 140662"/>
                  <a:gd name="connsiteY1" fmla="*/ 205 h 85481"/>
                  <a:gd name="connsiteX2" fmla="*/ 32844 w 140662"/>
                  <a:gd name="connsiteY2" fmla="*/ 3388 h 85481"/>
                  <a:gd name="connsiteX3" fmla="*/ 30255 w 140662"/>
                  <a:gd name="connsiteY3" fmla="*/ 8692 h 85481"/>
                  <a:gd name="connsiteX4" fmla="*/ 5601 w 140662"/>
                  <a:gd name="connsiteY4" fmla="*/ 67081 h 85481"/>
                  <a:gd name="connsiteX5" fmla="*/ 4116 w 140662"/>
                  <a:gd name="connsiteY5" fmla="*/ 70603 h 85481"/>
                  <a:gd name="connsiteX6" fmla="*/ 509 w 140662"/>
                  <a:gd name="connsiteY6" fmla="*/ 79684 h 85481"/>
                  <a:gd name="connsiteX7" fmla="*/ 1758 w 140662"/>
                  <a:gd name="connsiteY7" fmla="*/ 84877 h 85481"/>
                  <a:gd name="connsiteX8" fmla="*/ 4116 w 140662"/>
                  <a:gd name="connsiteY8" fmla="*/ 85413 h 85481"/>
                  <a:gd name="connsiteX9" fmla="*/ 135364 w 140662"/>
                  <a:gd name="connsiteY9" fmla="*/ 85413 h 85481"/>
                  <a:gd name="connsiteX10" fmla="*/ 139862 w 140662"/>
                  <a:gd name="connsiteY10" fmla="*/ 78496 h 85481"/>
                  <a:gd name="connsiteX11" fmla="*/ 133200 w 140662"/>
                  <a:gd name="connsiteY11" fmla="*/ 62499 h 85481"/>
                  <a:gd name="connsiteX12" fmla="*/ 123610 w 140662"/>
                  <a:gd name="connsiteY12" fmla="*/ 39881 h 85481"/>
                  <a:gd name="connsiteX13" fmla="*/ 108885 w 140662"/>
                  <a:gd name="connsiteY13" fmla="*/ 5128 h 85481"/>
                  <a:gd name="connsiteX14" fmla="*/ 102478 w 140662"/>
                  <a:gd name="connsiteY14" fmla="*/ -49 h 85481"/>
                  <a:gd name="connsiteX15" fmla="*/ 38105 w 140662"/>
                  <a:gd name="connsiteY15" fmla="*/ 205 h 854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40662" h="85481">
                    <a:moveTo>
                      <a:pt x="38105" y="205"/>
                    </a:moveTo>
                    <a:lnTo>
                      <a:pt x="38105" y="205"/>
                    </a:lnTo>
                    <a:cubicBezTo>
                      <a:pt x="35826" y="-78"/>
                      <a:pt x="33650" y="1238"/>
                      <a:pt x="32844" y="3388"/>
                    </a:cubicBezTo>
                    <a:cubicBezTo>
                      <a:pt x="32462" y="4237"/>
                      <a:pt x="30637" y="7631"/>
                      <a:pt x="30255" y="8692"/>
                    </a:cubicBezTo>
                    <a:cubicBezTo>
                      <a:pt x="22023" y="28155"/>
                      <a:pt x="13805" y="47618"/>
                      <a:pt x="5601" y="67081"/>
                    </a:cubicBezTo>
                    <a:cubicBezTo>
                      <a:pt x="5134" y="68270"/>
                      <a:pt x="4625" y="69458"/>
                      <a:pt x="4116" y="70603"/>
                    </a:cubicBezTo>
                    <a:cubicBezTo>
                      <a:pt x="2631" y="74041"/>
                      <a:pt x="1909" y="76247"/>
                      <a:pt x="509" y="79684"/>
                    </a:cubicBezTo>
                    <a:cubicBezTo>
                      <a:pt x="-580" y="81463"/>
                      <a:pt x="-21" y="83788"/>
                      <a:pt x="1758" y="84877"/>
                    </a:cubicBezTo>
                    <a:cubicBezTo>
                      <a:pt x="2464" y="85309"/>
                      <a:pt x="3292" y="85497"/>
                      <a:pt x="4116" y="85413"/>
                    </a:cubicBezTo>
                    <a:lnTo>
                      <a:pt x="135364" y="85413"/>
                    </a:lnTo>
                    <a:cubicBezTo>
                      <a:pt x="140202" y="85413"/>
                      <a:pt x="141687" y="83079"/>
                      <a:pt x="139862" y="78496"/>
                    </a:cubicBezTo>
                    <a:cubicBezTo>
                      <a:pt x="137740" y="73149"/>
                      <a:pt x="135619" y="67718"/>
                      <a:pt x="133200" y="62499"/>
                    </a:cubicBezTo>
                    <a:lnTo>
                      <a:pt x="123610" y="39881"/>
                    </a:lnTo>
                    <a:cubicBezTo>
                      <a:pt x="118688" y="28283"/>
                      <a:pt x="113779" y="16698"/>
                      <a:pt x="108885" y="5128"/>
                    </a:cubicBezTo>
                    <a:cubicBezTo>
                      <a:pt x="107188" y="884"/>
                      <a:pt x="105745" y="-7"/>
                      <a:pt x="102478" y="-49"/>
                    </a:cubicBezTo>
                    <a:cubicBezTo>
                      <a:pt x="81940" y="205"/>
                      <a:pt x="61868" y="248"/>
                      <a:pt x="38105" y="205"/>
                    </a:cubicBez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369" name="Freihandform: Form 368">
              <a:extLst>
                <a:ext uri="{FF2B5EF4-FFF2-40B4-BE49-F238E27FC236}">
                  <a16:creationId xmlns:a16="http://schemas.microsoft.com/office/drawing/2014/main" id="{0275449A-656D-4116-BC4F-C2BA1ED5919A}"/>
                </a:ext>
              </a:extLst>
            </p:cNvPr>
            <p:cNvSpPr/>
            <p:nvPr/>
          </p:nvSpPr>
          <p:spPr>
            <a:xfrm>
              <a:off x="5846748" y="2639817"/>
              <a:ext cx="457845" cy="501883"/>
            </a:xfrm>
            <a:custGeom>
              <a:avLst/>
              <a:gdLst>
                <a:gd name="connsiteX0" fmla="*/ 455991 w 457845"/>
                <a:gd name="connsiteY0" fmla="*/ 100647 h 501883"/>
                <a:gd name="connsiteX1" fmla="*/ 401930 w 457845"/>
                <a:gd name="connsiteY1" fmla="*/ 7292 h 501883"/>
                <a:gd name="connsiteX2" fmla="*/ 390048 w 457845"/>
                <a:gd name="connsiteY2" fmla="*/ -49 h 501883"/>
                <a:gd name="connsiteX3" fmla="*/ 281842 w 457845"/>
                <a:gd name="connsiteY3" fmla="*/ -49 h 501883"/>
                <a:gd name="connsiteX4" fmla="*/ 269833 w 457845"/>
                <a:gd name="connsiteY4" fmla="*/ 6910 h 501883"/>
                <a:gd name="connsiteX5" fmla="*/ 219803 w 457845"/>
                <a:gd name="connsiteY5" fmla="*/ 93518 h 501883"/>
                <a:gd name="connsiteX6" fmla="*/ 125897 w 457845"/>
                <a:gd name="connsiteY6" fmla="*/ 93518 h 501883"/>
                <a:gd name="connsiteX7" fmla="*/ 100691 w 457845"/>
                <a:gd name="connsiteY7" fmla="*/ 50023 h 501883"/>
                <a:gd name="connsiteX8" fmla="*/ 88767 w 457845"/>
                <a:gd name="connsiteY8" fmla="*/ 43106 h 501883"/>
                <a:gd name="connsiteX9" fmla="*/ 74880 w 457845"/>
                <a:gd name="connsiteY9" fmla="*/ 56886 h 501883"/>
                <a:gd name="connsiteX10" fmla="*/ 76758 w 457845"/>
                <a:gd name="connsiteY10" fmla="*/ 63899 h 501883"/>
                <a:gd name="connsiteX11" fmla="*/ 102728 w 457845"/>
                <a:gd name="connsiteY11" fmla="*/ 108921 h 501883"/>
                <a:gd name="connsiteX12" fmla="*/ 57493 w 457845"/>
                <a:gd name="connsiteY12" fmla="*/ 187212 h 501883"/>
                <a:gd name="connsiteX13" fmla="*/ 13829 w 457845"/>
                <a:gd name="connsiteY13" fmla="*/ 187212 h 501883"/>
                <a:gd name="connsiteX14" fmla="*/ -47 w 457845"/>
                <a:gd name="connsiteY14" fmla="*/ 201088 h 501883"/>
                <a:gd name="connsiteX15" fmla="*/ 13829 w 457845"/>
                <a:gd name="connsiteY15" fmla="*/ 214964 h 501883"/>
                <a:gd name="connsiteX16" fmla="*/ 57239 w 457845"/>
                <a:gd name="connsiteY16" fmla="*/ 214964 h 501883"/>
                <a:gd name="connsiteX17" fmla="*/ 103152 w 457845"/>
                <a:gd name="connsiteY17" fmla="*/ 294443 h 501883"/>
                <a:gd name="connsiteX18" fmla="*/ 81171 w 457845"/>
                <a:gd name="connsiteY18" fmla="*/ 332633 h 501883"/>
                <a:gd name="connsiteX19" fmla="*/ 86844 w 457845"/>
                <a:gd name="connsiteY19" fmla="*/ 351419 h 501883"/>
                <a:gd name="connsiteX20" fmla="*/ 105189 w 457845"/>
                <a:gd name="connsiteY20" fmla="*/ 346509 h 501883"/>
                <a:gd name="connsiteX21" fmla="*/ 127043 w 457845"/>
                <a:gd name="connsiteY21" fmla="*/ 308743 h 501883"/>
                <a:gd name="connsiteX22" fmla="*/ 212165 w 457845"/>
                <a:gd name="connsiteY22" fmla="*/ 308743 h 501883"/>
                <a:gd name="connsiteX23" fmla="*/ 186026 w 457845"/>
                <a:gd name="connsiteY23" fmla="*/ 369636 h 501883"/>
                <a:gd name="connsiteX24" fmla="*/ 184031 w 457845"/>
                <a:gd name="connsiteY24" fmla="*/ 374303 h 501883"/>
                <a:gd name="connsiteX25" fmla="*/ 154328 w 457845"/>
                <a:gd name="connsiteY25" fmla="*/ 443895 h 501883"/>
                <a:gd name="connsiteX26" fmla="*/ 165742 w 457845"/>
                <a:gd name="connsiteY26" fmla="*/ 492822 h 501883"/>
                <a:gd name="connsiteX27" fmla="*/ 193706 w 457845"/>
                <a:gd name="connsiteY27" fmla="*/ 501733 h 501883"/>
                <a:gd name="connsiteX28" fmla="*/ 354574 w 457845"/>
                <a:gd name="connsiteY28" fmla="*/ 501733 h 501883"/>
                <a:gd name="connsiteX29" fmla="*/ 381392 w 457845"/>
                <a:gd name="connsiteY29" fmla="*/ 492991 h 501883"/>
                <a:gd name="connsiteX30" fmla="*/ 392807 w 457845"/>
                <a:gd name="connsiteY30" fmla="*/ 443131 h 501883"/>
                <a:gd name="connsiteX31" fmla="*/ 331617 w 457845"/>
                <a:gd name="connsiteY31" fmla="*/ 300214 h 501883"/>
                <a:gd name="connsiteX32" fmla="*/ 328137 w 457845"/>
                <a:gd name="connsiteY32" fmla="*/ 284725 h 501883"/>
                <a:gd name="connsiteX33" fmla="*/ 328137 w 457845"/>
                <a:gd name="connsiteY33" fmla="*/ 215176 h 501883"/>
                <a:gd name="connsiteX34" fmla="*/ 382495 w 457845"/>
                <a:gd name="connsiteY34" fmla="*/ 215176 h 501883"/>
                <a:gd name="connsiteX35" fmla="*/ 405409 w 457845"/>
                <a:gd name="connsiteY35" fmla="*/ 254852 h 501883"/>
                <a:gd name="connsiteX36" fmla="*/ 424377 w 457845"/>
                <a:gd name="connsiteY36" fmla="*/ 259901 h 501883"/>
                <a:gd name="connsiteX37" fmla="*/ 429427 w 457845"/>
                <a:gd name="connsiteY37" fmla="*/ 240933 h 501883"/>
                <a:gd name="connsiteX38" fmla="*/ 406343 w 457845"/>
                <a:gd name="connsiteY38" fmla="*/ 200961 h 501883"/>
                <a:gd name="connsiteX39" fmla="*/ 455991 w 457845"/>
                <a:gd name="connsiteY39" fmla="*/ 114523 h 501883"/>
                <a:gd name="connsiteX40" fmla="*/ 455991 w 457845"/>
                <a:gd name="connsiteY40" fmla="*/ 100647 h 501883"/>
                <a:gd name="connsiteX41" fmla="*/ 245773 w 457845"/>
                <a:gd name="connsiteY41" fmla="*/ 271995 h 501883"/>
                <a:gd name="connsiteX42" fmla="*/ 245773 w 457845"/>
                <a:gd name="connsiteY42" fmla="*/ 262999 h 501883"/>
                <a:gd name="connsiteX43" fmla="*/ 245773 w 457845"/>
                <a:gd name="connsiteY43" fmla="*/ 172445 h 501883"/>
                <a:gd name="connsiteX44" fmla="*/ 302040 w 457845"/>
                <a:gd name="connsiteY44" fmla="*/ 172445 h 501883"/>
                <a:gd name="connsiteX45" fmla="*/ 302040 w 457845"/>
                <a:gd name="connsiteY45" fmla="*/ 211824 h 501883"/>
                <a:gd name="connsiteX46" fmla="*/ 302040 w 457845"/>
                <a:gd name="connsiteY46" fmla="*/ 274584 h 501883"/>
                <a:gd name="connsiteX47" fmla="*/ 311758 w 457845"/>
                <a:gd name="connsiteY47" fmla="*/ 321813 h 501883"/>
                <a:gd name="connsiteX48" fmla="*/ 360217 w 457845"/>
                <a:gd name="connsiteY48" fmla="*/ 434517 h 501883"/>
                <a:gd name="connsiteX49" fmla="*/ 367346 w 457845"/>
                <a:gd name="connsiteY49" fmla="*/ 451491 h 501883"/>
                <a:gd name="connsiteX50" fmla="*/ 367346 w 457845"/>
                <a:gd name="connsiteY50" fmla="*/ 451491 h 501883"/>
                <a:gd name="connsiteX51" fmla="*/ 370316 w 457845"/>
                <a:gd name="connsiteY51" fmla="*/ 463500 h 501883"/>
                <a:gd name="connsiteX52" fmla="*/ 355465 w 457845"/>
                <a:gd name="connsiteY52" fmla="*/ 474872 h 501883"/>
                <a:gd name="connsiteX53" fmla="*/ 257654 w 457845"/>
                <a:gd name="connsiteY53" fmla="*/ 474872 h 501883"/>
                <a:gd name="connsiteX54" fmla="*/ 194385 w 457845"/>
                <a:gd name="connsiteY54" fmla="*/ 474872 h 501883"/>
                <a:gd name="connsiteX55" fmla="*/ 182419 w 457845"/>
                <a:gd name="connsiteY55" fmla="*/ 472029 h 501883"/>
                <a:gd name="connsiteX56" fmla="*/ 178770 w 457845"/>
                <a:gd name="connsiteY56" fmla="*/ 454461 h 501883"/>
                <a:gd name="connsiteX57" fmla="*/ 238432 w 457845"/>
                <a:gd name="connsiteY57" fmla="*/ 316169 h 501883"/>
                <a:gd name="connsiteX58" fmla="*/ 245773 w 457845"/>
                <a:gd name="connsiteY58" fmla="*/ 271995 h 501883"/>
                <a:gd name="connsiteX59" fmla="*/ 218191 w 457845"/>
                <a:gd name="connsiteY59" fmla="*/ 172318 h 501883"/>
                <a:gd name="connsiteX60" fmla="*/ 219676 w 457845"/>
                <a:gd name="connsiteY60" fmla="*/ 172318 h 501883"/>
                <a:gd name="connsiteX61" fmla="*/ 219676 w 457845"/>
                <a:gd name="connsiteY61" fmla="*/ 175161 h 501883"/>
                <a:gd name="connsiteX62" fmla="*/ 219676 w 457845"/>
                <a:gd name="connsiteY62" fmla="*/ 202021 h 501883"/>
                <a:gd name="connsiteX63" fmla="*/ 219676 w 457845"/>
                <a:gd name="connsiteY63" fmla="*/ 215049 h 501883"/>
                <a:gd name="connsiteX64" fmla="*/ 219676 w 457845"/>
                <a:gd name="connsiteY64" fmla="*/ 280652 h 501883"/>
                <a:gd name="connsiteX65" fmla="*/ 219336 w 457845"/>
                <a:gd name="connsiteY65" fmla="*/ 280652 h 501883"/>
                <a:gd name="connsiteX66" fmla="*/ 127467 w 457845"/>
                <a:gd name="connsiteY66" fmla="*/ 280652 h 501883"/>
                <a:gd name="connsiteX67" fmla="*/ 81553 w 457845"/>
                <a:gd name="connsiteY67" fmla="*/ 201300 h 501883"/>
                <a:gd name="connsiteX68" fmla="*/ 81553 w 457845"/>
                <a:gd name="connsiteY68" fmla="*/ 201003 h 501883"/>
                <a:gd name="connsiteX69" fmla="*/ 127467 w 457845"/>
                <a:gd name="connsiteY69" fmla="*/ 121439 h 501883"/>
                <a:gd name="connsiteX70" fmla="*/ 219506 w 457845"/>
                <a:gd name="connsiteY70" fmla="*/ 121439 h 501883"/>
                <a:gd name="connsiteX71" fmla="*/ 234019 w 457845"/>
                <a:gd name="connsiteY71" fmla="*/ 146348 h 501883"/>
                <a:gd name="connsiteX72" fmla="*/ 219167 w 457845"/>
                <a:gd name="connsiteY72" fmla="*/ 146348 h 501883"/>
                <a:gd name="connsiteX73" fmla="*/ 209152 w 457845"/>
                <a:gd name="connsiteY73" fmla="*/ 150210 h 501883"/>
                <a:gd name="connsiteX74" fmla="*/ 205588 w 457845"/>
                <a:gd name="connsiteY74" fmla="*/ 159460 h 501883"/>
                <a:gd name="connsiteX75" fmla="*/ 217242 w 457845"/>
                <a:gd name="connsiteY75" fmla="*/ 172304 h 501883"/>
                <a:gd name="connsiteX76" fmla="*/ 217979 w 457845"/>
                <a:gd name="connsiteY76" fmla="*/ 172318 h 501883"/>
                <a:gd name="connsiteX77" fmla="*/ 328222 w 457845"/>
                <a:gd name="connsiteY77" fmla="*/ 184326 h 501883"/>
                <a:gd name="connsiteX78" fmla="*/ 328222 w 457845"/>
                <a:gd name="connsiteY78" fmla="*/ 176604 h 501883"/>
                <a:gd name="connsiteX79" fmla="*/ 328222 w 457845"/>
                <a:gd name="connsiteY79" fmla="*/ 172360 h 501883"/>
                <a:gd name="connsiteX80" fmla="*/ 330047 w 457845"/>
                <a:gd name="connsiteY80" fmla="*/ 172360 h 501883"/>
                <a:gd name="connsiteX81" fmla="*/ 341813 w 457845"/>
                <a:gd name="connsiteY81" fmla="*/ 160365 h 501883"/>
                <a:gd name="connsiteX82" fmla="*/ 341801 w 457845"/>
                <a:gd name="connsiteY82" fmla="*/ 159927 h 501883"/>
                <a:gd name="connsiteX83" fmla="*/ 338194 w 457845"/>
                <a:gd name="connsiteY83" fmla="*/ 150040 h 501883"/>
                <a:gd name="connsiteX84" fmla="*/ 329707 w 457845"/>
                <a:gd name="connsiteY84" fmla="*/ 146560 h 501883"/>
                <a:gd name="connsiteX85" fmla="*/ 266693 w 457845"/>
                <a:gd name="connsiteY85" fmla="*/ 146560 h 501883"/>
                <a:gd name="connsiteX86" fmla="*/ 244160 w 457845"/>
                <a:gd name="connsiteY86" fmla="*/ 107818 h 501883"/>
                <a:gd name="connsiteX87" fmla="*/ 290159 w 457845"/>
                <a:gd name="connsiteY87" fmla="*/ 28127 h 501883"/>
                <a:gd name="connsiteX88" fmla="*/ 382198 w 457845"/>
                <a:gd name="connsiteY88" fmla="*/ 28127 h 501883"/>
                <a:gd name="connsiteX89" fmla="*/ 428197 w 457845"/>
                <a:gd name="connsiteY89" fmla="*/ 107818 h 501883"/>
                <a:gd name="connsiteX90" fmla="*/ 382198 w 457845"/>
                <a:gd name="connsiteY90" fmla="*/ 187509 h 501883"/>
                <a:gd name="connsiteX91" fmla="*/ 328307 w 457845"/>
                <a:gd name="connsiteY91" fmla="*/ 187509 h 501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457845" h="501883">
                  <a:moveTo>
                    <a:pt x="455991" y="100647"/>
                  </a:moveTo>
                  <a:lnTo>
                    <a:pt x="401930" y="7292"/>
                  </a:lnTo>
                  <a:cubicBezTo>
                    <a:pt x="399573" y="2891"/>
                    <a:pt x="395039" y="90"/>
                    <a:pt x="390048" y="-49"/>
                  </a:cubicBezTo>
                  <a:lnTo>
                    <a:pt x="281842" y="-49"/>
                  </a:lnTo>
                  <a:cubicBezTo>
                    <a:pt x="276883" y="-42"/>
                    <a:pt x="272305" y="2611"/>
                    <a:pt x="269833" y="6910"/>
                  </a:cubicBezTo>
                  <a:lnTo>
                    <a:pt x="219803" y="93518"/>
                  </a:lnTo>
                  <a:lnTo>
                    <a:pt x="125897" y="93518"/>
                  </a:lnTo>
                  <a:lnTo>
                    <a:pt x="100691" y="50023"/>
                  </a:lnTo>
                  <a:cubicBezTo>
                    <a:pt x="98217" y="45773"/>
                    <a:pt x="93685" y="43143"/>
                    <a:pt x="88767" y="43106"/>
                  </a:cubicBezTo>
                  <a:cubicBezTo>
                    <a:pt x="81127" y="43077"/>
                    <a:pt x="74910" y="49246"/>
                    <a:pt x="74880" y="56886"/>
                  </a:cubicBezTo>
                  <a:cubicBezTo>
                    <a:pt x="74871" y="59349"/>
                    <a:pt x="75519" y="61770"/>
                    <a:pt x="76758" y="63899"/>
                  </a:cubicBezTo>
                  <a:lnTo>
                    <a:pt x="102728" y="108921"/>
                  </a:lnTo>
                  <a:lnTo>
                    <a:pt x="57493" y="187212"/>
                  </a:lnTo>
                  <a:lnTo>
                    <a:pt x="13829" y="187212"/>
                  </a:lnTo>
                  <a:cubicBezTo>
                    <a:pt x="6165" y="187212"/>
                    <a:pt x="-47" y="193425"/>
                    <a:pt x="-47" y="201088"/>
                  </a:cubicBezTo>
                  <a:cubicBezTo>
                    <a:pt x="-47" y="208751"/>
                    <a:pt x="6165" y="214964"/>
                    <a:pt x="13829" y="214964"/>
                  </a:cubicBezTo>
                  <a:lnTo>
                    <a:pt x="57239" y="214964"/>
                  </a:lnTo>
                  <a:lnTo>
                    <a:pt x="103152" y="294443"/>
                  </a:lnTo>
                  <a:lnTo>
                    <a:pt x="81171" y="332633"/>
                  </a:lnTo>
                  <a:cubicBezTo>
                    <a:pt x="77550" y="339387"/>
                    <a:pt x="80090" y="347798"/>
                    <a:pt x="86844" y="351419"/>
                  </a:cubicBezTo>
                  <a:cubicBezTo>
                    <a:pt x="93297" y="354879"/>
                    <a:pt x="101327" y="352729"/>
                    <a:pt x="105189" y="346509"/>
                  </a:cubicBezTo>
                  <a:lnTo>
                    <a:pt x="127043" y="308743"/>
                  </a:lnTo>
                  <a:lnTo>
                    <a:pt x="212165" y="308743"/>
                  </a:lnTo>
                  <a:cubicBezTo>
                    <a:pt x="205885" y="323255"/>
                    <a:pt x="195955" y="346467"/>
                    <a:pt x="186026" y="369636"/>
                  </a:cubicBezTo>
                  <a:lnTo>
                    <a:pt x="184031" y="374303"/>
                  </a:lnTo>
                  <a:cubicBezTo>
                    <a:pt x="171726" y="403031"/>
                    <a:pt x="158995" y="432777"/>
                    <a:pt x="154328" y="443895"/>
                  </a:cubicBezTo>
                  <a:cubicBezTo>
                    <a:pt x="146145" y="460858"/>
                    <a:pt x="150898" y="481231"/>
                    <a:pt x="165742" y="492822"/>
                  </a:cubicBezTo>
                  <a:cubicBezTo>
                    <a:pt x="173716" y="499007"/>
                    <a:pt x="183624" y="502164"/>
                    <a:pt x="193706" y="501733"/>
                  </a:cubicBezTo>
                  <a:lnTo>
                    <a:pt x="354574" y="501733"/>
                  </a:lnTo>
                  <a:cubicBezTo>
                    <a:pt x="364314" y="502455"/>
                    <a:pt x="373948" y="499315"/>
                    <a:pt x="381392" y="492991"/>
                  </a:cubicBezTo>
                  <a:cubicBezTo>
                    <a:pt x="396838" y="480813"/>
                    <a:pt x="401081" y="462184"/>
                    <a:pt x="392807" y="443131"/>
                  </a:cubicBezTo>
                  <a:cubicBezTo>
                    <a:pt x="372735" y="396836"/>
                    <a:pt x="352155" y="348758"/>
                    <a:pt x="331617" y="300214"/>
                  </a:cubicBezTo>
                  <a:cubicBezTo>
                    <a:pt x="329481" y="295320"/>
                    <a:pt x="328300" y="290063"/>
                    <a:pt x="328137" y="284725"/>
                  </a:cubicBezTo>
                  <a:cubicBezTo>
                    <a:pt x="328137" y="260750"/>
                    <a:pt x="328137" y="236478"/>
                    <a:pt x="328137" y="215176"/>
                  </a:cubicBezTo>
                  <a:lnTo>
                    <a:pt x="382495" y="215176"/>
                  </a:lnTo>
                  <a:lnTo>
                    <a:pt x="405409" y="254852"/>
                  </a:lnTo>
                  <a:cubicBezTo>
                    <a:pt x="409253" y="261484"/>
                    <a:pt x="417745" y="263745"/>
                    <a:pt x="424377" y="259901"/>
                  </a:cubicBezTo>
                  <a:cubicBezTo>
                    <a:pt x="431010" y="256058"/>
                    <a:pt x="433271" y="247566"/>
                    <a:pt x="429427" y="240933"/>
                  </a:cubicBezTo>
                  <a:lnTo>
                    <a:pt x="406343" y="200961"/>
                  </a:lnTo>
                  <a:lnTo>
                    <a:pt x="455991" y="114523"/>
                  </a:lnTo>
                  <a:cubicBezTo>
                    <a:pt x="458401" y="110211"/>
                    <a:pt x="458401" y="104958"/>
                    <a:pt x="455991" y="100647"/>
                  </a:cubicBezTo>
                  <a:close/>
                  <a:moveTo>
                    <a:pt x="245773" y="271995"/>
                  </a:moveTo>
                  <a:cubicBezTo>
                    <a:pt x="245773" y="269025"/>
                    <a:pt x="245773" y="262999"/>
                    <a:pt x="245773" y="262999"/>
                  </a:cubicBezTo>
                  <a:lnTo>
                    <a:pt x="245773" y="172445"/>
                  </a:lnTo>
                  <a:lnTo>
                    <a:pt x="302040" y="172445"/>
                  </a:lnTo>
                  <a:lnTo>
                    <a:pt x="302040" y="211824"/>
                  </a:lnTo>
                  <a:cubicBezTo>
                    <a:pt x="302040" y="211824"/>
                    <a:pt x="302040" y="243395"/>
                    <a:pt x="302040" y="274584"/>
                  </a:cubicBezTo>
                  <a:cubicBezTo>
                    <a:pt x="301739" y="290852"/>
                    <a:pt x="305058" y="306984"/>
                    <a:pt x="311758" y="321813"/>
                  </a:cubicBezTo>
                  <a:cubicBezTo>
                    <a:pt x="328477" y="359452"/>
                    <a:pt x="344602" y="397600"/>
                    <a:pt x="360217" y="434517"/>
                  </a:cubicBezTo>
                  <a:lnTo>
                    <a:pt x="367346" y="451491"/>
                  </a:lnTo>
                  <a:lnTo>
                    <a:pt x="367346" y="451491"/>
                  </a:lnTo>
                  <a:cubicBezTo>
                    <a:pt x="369150" y="455247"/>
                    <a:pt x="370162" y="459335"/>
                    <a:pt x="370316" y="463500"/>
                  </a:cubicBezTo>
                  <a:cubicBezTo>
                    <a:pt x="369892" y="470416"/>
                    <a:pt x="364206" y="474745"/>
                    <a:pt x="355465" y="474872"/>
                  </a:cubicBezTo>
                  <a:cubicBezTo>
                    <a:pt x="343838" y="474872"/>
                    <a:pt x="302592" y="474872"/>
                    <a:pt x="257654" y="474872"/>
                  </a:cubicBezTo>
                  <a:lnTo>
                    <a:pt x="194385" y="474872"/>
                  </a:lnTo>
                  <a:cubicBezTo>
                    <a:pt x="190192" y="475276"/>
                    <a:pt x="185982" y="474276"/>
                    <a:pt x="182419" y="472029"/>
                  </a:cubicBezTo>
                  <a:cubicBezTo>
                    <a:pt x="176818" y="467785"/>
                    <a:pt x="175587" y="462057"/>
                    <a:pt x="178770" y="454461"/>
                  </a:cubicBezTo>
                  <a:cubicBezTo>
                    <a:pt x="185814" y="437488"/>
                    <a:pt x="234401" y="323722"/>
                    <a:pt x="238432" y="316169"/>
                  </a:cubicBezTo>
                  <a:cubicBezTo>
                    <a:pt x="246197" y="301444"/>
                    <a:pt x="245773" y="287144"/>
                    <a:pt x="245773" y="271995"/>
                  </a:cubicBezTo>
                  <a:close/>
                  <a:moveTo>
                    <a:pt x="218191" y="172318"/>
                  </a:moveTo>
                  <a:lnTo>
                    <a:pt x="219676" y="172318"/>
                  </a:lnTo>
                  <a:lnTo>
                    <a:pt x="219676" y="175161"/>
                  </a:lnTo>
                  <a:cubicBezTo>
                    <a:pt x="219676" y="180635"/>
                    <a:pt x="219676" y="190352"/>
                    <a:pt x="219676" y="202021"/>
                  </a:cubicBezTo>
                  <a:lnTo>
                    <a:pt x="219676" y="215049"/>
                  </a:lnTo>
                  <a:cubicBezTo>
                    <a:pt x="219676" y="242419"/>
                    <a:pt x="219676" y="268303"/>
                    <a:pt x="219676" y="280652"/>
                  </a:cubicBezTo>
                  <a:lnTo>
                    <a:pt x="219336" y="280652"/>
                  </a:lnTo>
                  <a:lnTo>
                    <a:pt x="127467" y="280652"/>
                  </a:lnTo>
                  <a:lnTo>
                    <a:pt x="81553" y="201300"/>
                  </a:lnTo>
                  <a:lnTo>
                    <a:pt x="81553" y="201003"/>
                  </a:lnTo>
                  <a:lnTo>
                    <a:pt x="127467" y="121439"/>
                  </a:lnTo>
                  <a:lnTo>
                    <a:pt x="219506" y="121439"/>
                  </a:lnTo>
                  <a:lnTo>
                    <a:pt x="234019" y="146348"/>
                  </a:lnTo>
                  <a:lnTo>
                    <a:pt x="219167" y="146348"/>
                  </a:lnTo>
                  <a:cubicBezTo>
                    <a:pt x="215442" y="146215"/>
                    <a:pt x="211824" y="147610"/>
                    <a:pt x="209152" y="150210"/>
                  </a:cubicBezTo>
                  <a:cubicBezTo>
                    <a:pt x="206783" y="152698"/>
                    <a:pt x="205501" y="156026"/>
                    <a:pt x="205588" y="159460"/>
                  </a:cubicBezTo>
                  <a:cubicBezTo>
                    <a:pt x="205259" y="166225"/>
                    <a:pt x="210477" y="171976"/>
                    <a:pt x="217242" y="172304"/>
                  </a:cubicBezTo>
                  <a:cubicBezTo>
                    <a:pt x="217487" y="172316"/>
                    <a:pt x="217733" y="172321"/>
                    <a:pt x="217979" y="172318"/>
                  </a:cubicBezTo>
                  <a:close/>
                  <a:moveTo>
                    <a:pt x="328222" y="184326"/>
                  </a:moveTo>
                  <a:cubicBezTo>
                    <a:pt x="328222" y="182926"/>
                    <a:pt x="328222" y="181823"/>
                    <a:pt x="328222" y="176604"/>
                  </a:cubicBezTo>
                  <a:lnTo>
                    <a:pt x="328222" y="172360"/>
                  </a:lnTo>
                  <a:lnTo>
                    <a:pt x="330047" y="172360"/>
                  </a:lnTo>
                  <a:cubicBezTo>
                    <a:pt x="336608" y="172297"/>
                    <a:pt x="341876" y="166926"/>
                    <a:pt x="341813" y="160365"/>
                  </a:cubicBezTo>
                  <a:cubicBezTo>
                    <a:pt x="341812" y="160219"/>
                    <a:pt x="341808" y="160073"/>
                    <a:pt x="341801" y="159927"/>
                  </a:cubicBezTo>
                  <a:cubicBezTo>
                    <a:pt x="341967" y="156282"/>
                    <a:pt x="340668" y="152722"/>
                    <a:pt x="338194" y="150040"/>
                  </a:cubicBezTo>
                  <a:cubicBezTo>
                    <a:pt x="335942" y="147795"/>
                    <a:pt x="332887" y="146542"/>
                    <a:pt x="329707" y="146560"/>
                  </a:cubicBezTo>
                  <a:lnTo>
                    <a:pt x="266693" y="146560"/>
                  </a:lnTo>
                  <a:lnTo>
                    <a:pt x="244160" y="107818"/>
                  </a:lnTo>
                  <a:lnTo>
                    <a:pt x="290159" y="28127"/>
                  </a:lnTo>
                  <a:lnTo>
                    <a:pt x="382198" y="28127"/>
                  </a:lnTo>
                  <a:lnTo>
                    <a:pt x="428197" y="107818"/>
                  </a:lnTo>
                  <a:lnTo>
                    <a:pt x="382198" y="187509"/>
                  </a:lnTo>
                  <a:lnTo>
                    <a:pt x="328307" y="187509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0" name="Freihandform: Form 369">
              <a:extLst>
                <a:ext uri="{FF2B5EF4-FFF2-40B4-BE49-F238E27FC236}">
                  <a16:creationId xmlns:a16="http://schemas.microsoft.com/office/drawing/2014/main" id="{63DF27A7-1285-4AD8-BD23-61D0FE1F9BB4}"/>
                </a:ext>
              </a:extLst>
            </p:cNvPr>
            <p:cNvSpPr/>
            <p:nvPr/>
          </p:nvSpPr>
          <p:spPr>
            <a:xfrm>
              <a:off x="6050172" y="3009332"/>
              <a:ext cx="140662" cy="85481"/>
            </a:xfrm>
            <a:custGeom>
              <a:avLst/>
              <a:gdLst>
                <a:gd name="connsiteX0" fmla="*/ 38105 w 140662"/>
                <a:gd name="connsiteY0" fmla="*/ 205 h 85481"/>
                <a:gd name="connsiteX1" fmla="*/ 38105 w 140662"/>
                <a:gd name="connsiteY1" fmla="*/ 205 h 85481"/>
                <a:gd name="connsiteX2" fmla="*/ 32844 w 140662"/>
                <a:gd name="connsiteY2" fmla="*/ 3388 h 85481"/>
                <a:gd name="connsiteX3" fmla="*/ 30255 w 140662"/>
                <a:gd name="connsiteY3" fmla="*/ 8692 h 85481"/>
                <a:gd name="connsiteX4" fmla="*/ 5601 w 140662"/>
                <a:gd name="connsiteY4" fmla="*/ 67081 h 85481"/>
                <a:gd name="connsiteX5" fmla="*/ 4116 w 140662"/>
                <a:gd name="connsiteY5" fmla="*/ 70603 h 85481"/>
                <a:gd name="connsiteX6" fmla="*/ 509 w 140662"/>
                <a:gd name="connsiteY6" fmla="*/ 79684 h 85481"/>
                <a:gd name="connsiteX7" fmla="*/ 1758 w 140662"/>
                <a:gd name="connsiteY7" fmla="*/ 84877 h 85481"/>
                <a:gd name="connsiteX8" fmla="*/ 4116 w 140662"/>
                <a:gd name="connsiteY8" fmla="*/ 85413 h 85481"/>
                <a:gd name="connsiteX9" fmla="*/ 135364 w 140662"/>
                <a:gd name="connsiteY9" fmla="*/ 85413 h 85481"/>
                <a:gd name="connsiteX10" fmla="*/ 139862 w 140662"/>
                <a:gd name="connsiteY10" fmla="*/ 78496 h 85481"/>
                <a:gd name="connsiteX11" fmla="*/ 133200 w 140662"/>
                <a:gd name="connsiteY11" fmla="*/ 62499 h 85481"/>
                <a:gd name="connsiteX12" fmla="*/ 123610 w 140662"/>
                <a:gd name="connsiteY12" fmla="*/ 39881 h 85481"/>
                <a:gd name="connsiteX13" fmla="*/ 108885 w 140662"/>
                <a:gd name="connsiteY13" fmla="*/ 5128 h 85481"/>
                <a:gd name="connsiteX14" fmla="*/ 102478 w 140662"/>
                <a:gd name="connsiteY14" fmla="*/ -49 h 85481"/>
                <a:gd name="connsiteX15" fmla="*/ 38105 w 140662"/>
                <a:gd name="connsiteY15" fmla="*/ 205 h 85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0662" h="85481">
                  <a:moveTo>
                    <a:pt x="38105" y="205"/>
                  </a:moveTo>
                  <a:lnTo>
                    <a:pt x="38105" y="205"/>
                  </a:lnTo>
                  <a:cubicBezTo>
                    <a:pt x="35826" y="-78"/>
                    <a:pt x="33650" y="1238"/>
                    <a:pt x="32844" y="3388"/>
                  </a:cubicBezTo>
                  <a:cubicBezTo>
                    <a:pt x="32462" y="4237"/>
                    <a:pt x="30637" y="7631"/>
                    <a:pt x="30255" y="8692"/>
                  </a:cubicBezTo>
                  <a:cubicBezTo>
                    <a:pt x="22023" y="28155"/>
                    <a:pt x="13805" y="47618"/>
                    <a:pt x="5601" y="67081"/>
                  </a:cubicBezTo>
                  <a:cubicBezTo>
                    <a:pt x="5134" y="68270"/>
                    <a:pt x="4625" y="69458"/>
                    <a:pt x="4116" y="70603"/>
                  </a:cubicBezTo>
                  <a:cubicBezTo>
                    <a:pt x="2631" y="74041"/>
                    <a:pt x="1909" y="76247"/>
                    <a:pt x="509" y="79684"/>
                  </a:cubicBezTo>
                  <a:cubicBezTo>
                    <a:pt x="-580" y="81463"/>
                    <a:pt x="-21" y="83788"/>
                    <a:pt x="1758" y="84877"/>
                  </a:cubicBezTo>
                  <a:cubicBezTo>
                    <a:pt x="2464" y="85309"/>
                    <a:pt x="3292" y="85497"/>
                    <a:pt x="4116" y="85413"/>
                  </a:cubicBezTo>
                  <a:lnTo>
                    <a:pt x="135364" y="85413"/>
                  </a:lnTo>
                  <a:cubicBezTo>
                    <a:pt x="140202" y="85413"/>
                    <a:pt x="141687" y="83079"/>
                    <a:pt x="139862" y="78496"/>
                  </a:cubicBezTo>
                  <a:cubicBezTo>
                    <a:pt x="137740" y="73149"/>
                    <a:pt x="135619" y="67718"/>
                    <a:pt x="133200" y="62499"/>
                  </a:cubicBezTo>
                  <a:lnTo>
                    <a:pt x="123610" y="39881"/>
                  </a:lnTo>
                  <a:cubicBezTo>
                    <a:pt x="118688" y="28283"/>
                    <a:pt x="113779" y="16698"/>
                    <a:pt x="108885" y="5128"/>
                  </a:cubicBezTo>
                  <a:cubicBezTo>
                    <a:pt x="107188" y="884"/>
                    <a:pt x="105745" y="-7"/>
                    <a:pt x="102478" y="-49"/>
                  </a:cubicBezTo>
                  <a:cubicBezTo>
                    <a:pt x="81940" y="205"/>
                    <a:pt x="61868" y="248"/>
                    <a:pt x="38105" y="205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77" name="Gruppieren 376">
            <a:extLst>
              <a:ext uri="{FF2B5EF4-FFF2-40B4-BE49-F238E27FC236}">
                <a16:creationId xmlns:a16="http://schemas.microsoft.com/office/drawing/2014/main" id="{67AB8167-BC84-4B6D-97F9-45C457BA70DE}"/>
              </a:ext>
            </a:extLst>
          </p:cNvPr>
          <p:cNvGrpSpPr/>
          <p:nvPr/>
        </p:nvGrpSpPr>
        <p:grpSpPr>
          <a:xfrm>
            <a:off x="9621346" y="5093733"/>
            <a:ext cx="567866" cy="567976"/>
            <a:chOff x="9527364" y="2500122"/>
            <a:chExt cx="755830" cy="755976"/>
          </a:xfrm>
          <a:solidFill>
            <a:schemeClr val="bg1"/>
          </a:solidFill>
          <a:effectLst>
            <a:outerShdw blurRad="12700" dist="127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378" name="Grafik 80">
              <a:extLst>
                <a:ext uri="{FF2B5EF4-FFF2-40B4-BE49-F238E27FC236}">
                  <a16:creationId xmlns:a16="http://schemas.microsoft.com/office/drawing/2014/main" id="{ECAFD0C4-0C46-44F5-A7EE-FFBEC6CC0715}"/>
                </a:ext>
              </a:extLst>
            </p:cNvPr>
            <p:cNvGrpSpPr/>
            <p:nvPr/>
          </p:nvGrpSpPr>
          <p:grpSpPr>
            <a:xfrm>
              <a:off x="9527364" y="2500122"/>
              <a:ext cx="755830" cy="755976"/>
              <a:chOff x="9527364" y="2500122"/>
              <a:chExt cx="755830" cy="755976"/>
            </a:xfrm>
            <a:grpFill/>
          </p:grpSpPr>
          <p:sp>
            <p:nvSpPr>
              <p:cNvPr id="396" name="Freihandform: Form 395">
                <a:extLst>
                  <a:ext uri="{FF2B5EF4-FFF2-40B4-BE49-F238E27FC236}">
                    <a16:creationId xmlns:a16="http://schemas.microsoft.com/office/drawing/2014/main" id="{954ABABD-7FEA-475E-AEB2-ACDF2877250C}"/>
                  </a:ext>
                </a:extLst>
              </p:cNvPr>
              <p:cNvSpPr/>
              <p:nvPr/>
            </p:nvSpPr>
            <p:spPr>
              <a:xfrm>
                <a:off x="9527364" y="2500122"/>
                <a:ext cx="683436" cy="466182"/>
              </a:xfrm>
              <a:custGeom>
                <a:avLst/>
                <a:gdLst>
                  <a:gd name="connsiteX0" fmla="*/ 10556 w 683436"/>
                  <a:gd name="connsiteY0" fmla="*/ 466133 h 466182"/>
                  <a:gd name="connsiteX1" fmla="*/ 289200 w 683436"/>
                  <a:gd name="connsiteY1" fmla="*/ 10485 h 466182"/>
                  <a:gd name="connsiteX2" fmla="*/ 683389 w 683436"/>
                  <a:gd name="connsiteY2" fmla="*/ 155856 h 466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36" h="466182">
                    <a:moveTo>
                      <a:pt x="10556" y="466133"/>
                    </a:moveTo>
                    <a:cubicBezTo>
                      <a:pt x="-38322" y="263364"/>
                      <a:pt x="86431" y="59364"/>
                      <a:pt x="289200" y="10485"/>
                    </a:cubicBezTo>
                    <a:cubicBezTo>
                      <a:pt x="437911" y="-25362"/>
                      <a:pt x="593560" y="32039"/>
                      <a:pt x="683389" y="155856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397" name="Freihandform: Form 396">
                <a:extLst>
                  <a:ext uri="{FF2B5EF4-FFF2-40B4-BE49-F238E27FC236}">
                    <a16:creationId xmlns:a16="http://schemas.microsoft.com/office/drawing/2014/main" id="{EEBF08C9-A725-4205-AAD1-01A975E8BE85}"/>
                  </a:ext>
                </a:extLst>
              </p:cNvPr>
              <p:cNvSpPr/>
              <p:nvPr/>
            </p:nvSpPr>
            <p:spPr>
              <a:xfrm>
                <a:off x="10158734" y="2617539"/>
                <a:ext cx="89068" cy="101502"/>
              </a:xfrm>
              <a:custGeom>
                <a:avLst/>
                <a:gdLst>
                  <a:gd name="connsiteX0" fmla="*/ 0 w 89068"/>
                  <a:gd name="connsiteY0" fmla="*/ 52788 h 101502"/>
                  <a:gd name="connsiteX1" fmla="*/ 89069 w 89068"/>
                  <a:gd name="connsiteY1" fmla="*/ 101502 h 101502"/>
                  <a:gd name="connsiteX2" fmla="*/ 86735 w 89068"/>
                  <a:gd name="connsiteY2" fmla="*/ 0 h 101502"/>
                  <a:gd name="connsiteX3" fmla="*/ 0 w 89068"/>
                  <a:gd name="connsiteY3" fmla="*/ 52788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0" y="52788"/>
                    </a:moveTo>
                    <a:lnTo>
                      <a:pt x="89069" y="101502"/>
                    </a:lnTo>
                    <a:lnTo>
                      <a:pt x="86735" y="0"/>
                    </a:lnTo>
                    <a:lnTo>
                      <a:pt x="0" y="52788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98" name="Freihandform: Form 397">
                <a:extLst>
                  <a:ext uri="{FF2B5EF4-FFF2-40B4-BE49-F238E27FC236}">
                    <a16:creationId xmlns:a16="http://schemas.microsoft.com/office/drawing/2014/main" id="{516D6A1D-B5E2-4453-B235-F0D5F3FB48FB}"/>
                  </a:ext>
                </a:extLst>
              </p:cNvPr>
              <p:cNvSpPr/>
              <p:nvPr/>
            </p:nvSpPr>
            <p:spPr>
              <a:xfrm>
                <a:off x="9599751" y="2790415"/>
                <a:ext cx="683443" cy="465683"/>
              </a:xfrm>
              <a:custGeom>
                <a:avLst/>
                <a:gdLst>
                  <a:gd name="connsiteX0" fmla="*/ 672913 w 683443"/>
                  <a:gd name="connsiteY0" fmla="*/ -49 h 465683"/>
                  <a:gd name="connsiteX1" fmla="*/ 393650 w 683443"/>
                  <a:gd name="connsiteY1" fmla="*/ 455220 h 465683"/>
                  <a:gd name="connsiteX2" fmla="*/ -47 w 683443"/>
                  <a:gd name="connsiteY2" fmla="*/ 309719 h 465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43" h="465683">
                    <a:moveTo>
                      <a:pt x="672913" y="-49"/>
                    </a:moveTo>
                    <a:cubicBezTo>
                      <a:pt x="721516" y="202786"/>
                      <a:pt x="596485" y="406617"/>
                      <a:pt x="393650" y="455220"/>
                    </a:cubicBezTo>
                    <a:cubicBezTo>
                      <a:pt x="245067" y="490822"/>
                      <a:pt x="89671" y="433392"/>
                      <a:pt x="-47" y="309719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399" name="Freihandform: Form 398">
                <a:extLst>
                  <a:ext uri="{FF2B5EF4-FFF2-40B4-BE49-F238E27FC236}">
                    <a16:creationId xmlns:a16="http://schemas.microsoft.com/office/drawing/2014/main" id="{D302BC01-2F76-4A6A-BACD-AE4FB8D8D189}"/>
                  </a:ext>
                </a:extLst>
              </p:cNvPr>
              <p:cNvSpPr/>
              <p:nvPr/>
            </p:nvSpPr>
            <p:spPr>
              <a:xfrm>
                <a:off x="9562791" y="3037254"/>
                <a:ext cx="89068" cy="101502"/>
              </a:xfrm>
              <a:custGeom>
                <a:avLst/>
                <a:gdLst>
                  <a:gd name="connsiteX0" fmla="*/ 89069 w 89068"/>
                  <a:gd name="connsiteY0" fmla="*/ 48714 h 101502"/>
                  <a:gd name="connsiteX1" fmla="*/ 0 w 89068"/>
                  <a:gd name="connsiteY1" fmla="*/ 0 h 101502"/>
                  <a:gd name="connsiteX2" fmla="*/ 2334 w 89068"/>
                  <a:gd name="connsiteY2" fmla="*/ 101502 h 101502"/>
                  <a:gd name="connsiteX3" fmla="*/ 89069 w 89068"/>
                  <a:gd name="connsiteY3" fmla="*/ 48714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89069" y="48714"/>
                    </a:moveTo>
                    <a:lnTo>
                      <a:pt x="0" y="0"/>
                    </a:lnTo>
                    <a:lnTo>
                      <a:pt x="2334" y="101502"/>
                    </a:lnTo>
                    <a:lnTo>
                      <a:pt x="89069" y="48714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379" name="Freihandform: Form 378">
              <a:extLst>
                <a:ext uri="{FF2B5EF4-FFF2-40B4-BE49-F238E27FC236}">
                  <a16:creationId xmlns:a16="http://schemas.microsoft.com/office/drawing/2014/main" id="{CD286661-47B7-4593-9CEA-0F157FEA930F}"/>
                </a:ext>
              </a:extLst>
            </p:cNvPr>
            <p:cNvSpPr/>
            <p:nvPr/>
          </p:nvSpPr>
          <p:spPr>
            <a:xfrm>
              <a:off x="10158734" y="2617539"/>
              <a:ext cx="89068" cy="101502"/>
            </a:xfrm>
            <a:custGeom>
              <a:avLst/>
              <a:gdLst>
                <a:gd name="connsiteX0" fmla="*/ 0 w 89068"/>
                <a:gd name="connsiteY0" fmla="*/ 52788 h 101502"/>
                <a:gd name="connsiteX1" fmla="*/ 89069 w 89068"/>
                <a:gd name="connsiteY1" fmla="*/ 101502 h 101502"/>
                <a:gd name="connsiteX2" fmla="*/ 86735 w 89068"/>
                <a:gd name="connsiteY2" fmla="*/ 0 h 101502"/>
                <a:gd name="connsiteX3" fmla="*/ 0 w 89068"/>
                <a:gd name="connsiteY3" fmla="*/ 52788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0" y="52788"/>
                  </a:moveTo>
                  <a:lnTo>
                    <a:pt x="89069" y="101502"/>
                  </a:lnTo>
                  <a:lnTo>
                    <a:pt x="86735" y="0"/>
                  </a:lnTo>
                  <a:lnTo>
                    <a:pt x="0" y="52788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0" name="Freihandform: Form 379">
              <a:extLst>
                <a:ext uri="{FF2B5EF4-FFF2-40B4-BE49-F238E27FC236}">
                  <a16:creationId xmlns:a16="http://schemas.microsoft.com/office/drawing/2014/main" id="{065E5356-8AD8-4061-9BF4-3D68EA2B48B8}"/>
                </a:ext>
              </a:extLst>
            </p:cNvPr>
            <p:cNvSpPr/>
            <p:nvPr/>
          </p:nvSpPr>
          <p:spPr>
            <a:xfrm>
              <a:off x="9562791" y="3037254"/>
              <a:ext cx="89068" cy="101502"/>
            </a:xfrm>
            <a:custGeom>
              <a:avLst/>
              <a:gdLst>
                <a:gd name="connsiteX0" fmla="*/ 89069 w 89068"/>
                <a:gd name="connsiteY0" fmla="*/ 48714 h 101502"/>
                <a:gd name="connsiteX1" fmla="*/ 0 w 89068"/>
                <a:gd name="connsiteY1" fmla="*/ 0 h 101502"/>
                <a:gd name="connsiteX2" fmla="*/ 2334 w 89068"/>
                <a:gd name="connsiteY2" fmla="*/ 101502 h 101502"/>
                <a:gd name="connsiteX3" fmla="*/ 89069 w 89068"/>
                <a:gd name="connsiteY3" fmla="*/ 48714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89069" y="48714"/>
                  </a:moveTo>
                  <a:lnTo>
                    <a:pt x="0" y="0"/>
                  </a:lnTo>
                  <a:lnTo>
                    <a:pt x="2334" y="101502"/>
                  </a:lnTo>
                  <a:lnTo>
                    <a:pt x="89069" y="48714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381" name="Grafik 80">
              <a:extLst>
                <a:ext uri="{FF2B5EF4-FFF2-40B4-BE49-F238E27FC236}">
                  <a16:creationId xmlns:a16="http://schemas.microsoft.com/office/drawing/2014/main" id="{E123F062-F8BD-4FD6-A09D-3A5AABFF66C1}"/>
                </a:ext>
              </a:extLst>
            </p:cNvPr>
            <p:cNvGrpSpPr/>
            <p:nvPr/>
          </p:nvGrpSpPr>
          <p:grpSpPr>
            <a:xfrm>
              <a:off x="9688183" y="2644612"/>
              <a:ext cx="425740" cy="463421"/>
              <a:chOff x="9688183" y="2644612"/>
              <a:chExt cx="425740" cy="463421"/>
            </a:xfrm>
            <a:grpFill/>
          </p:grpSpPr>
          <p:sp>
            <p:nvSpPr>
              <p:cNvPr id="389" name="Freihandform: Form 388">
                <a:extLst>
                  <a:ext uri="{FF2B5EF4-FFF2-40B4-BE49-F238E27FC236}">
                    <a16:creationId xmlns:a16="http://schemas.microsoft.com/office/drawing/2014/main" id="{C176C019-BE68-4C5E-AE1F-87109756DEF9}"/>
                  </a:ext>
                </a:extLst>
              </p:cNvPr>
              <p:cNvSpPr/>
              <p:nvPr/>
            </p:nvSpPr>
            <p:spPr>
              <a:xfrm>
                <a:off x="9688183" y="2644612"/>
                <a:ext cx="425740" cy="463421"/>
              </a:xfrm>
              <a:custGeom>
                <a:avLst/>
                <a:gdLst>
                  <a:gd name="connsiteX0" fmla="*/ 425693 w 425740"/>
                  <a:gd name="connsiteY0" fmla="*/ 76926 h 463421"/>
                  <a:gd name="connsiteX1" fmla="*/ 425693 w 425740"/>
                  <a:gd name="connsiteY1" fmla="*/ 50023 h 463421"/>
                  <a:gd name="connsiteX2" fmla="*/ 121059 w 425740"/>
                  <a:gd name="connsiteY2" fmla="*/ 50023 h 463421"/>
                  <a:gd name="connsiteX3" fmla="*/ 121059 w 425740"/>
                  <a:gd name="connsiteY3" fmla="*/ -49 h 463421"/>
                  <a:gd name="connsiteX4" fmla="*/ 90210 w 425740"/>
                  <a:gd name="connsiteY4" fmla="*/ -49 h 463421"/>
                  <a:gd name="connsiteX5" fmla="*/ 90210 w 425740"/>
                  <a:gd name="connsiteY5" fmla="*/ 49429 h 463421"/>
                  <a:gd name="connsiteX6" fmla="*/ -47 w 425740"/>
                  <a:gd name="connsiteY6" fmla="*/ 49429 h 463421"/>
                  <a:gd name="connsiteX7" fmla="*/ -47 w 425740"/>
                  <a:gd name="connsiteY7" fmla="*/ 76459 h 463421"/>
                  <a:gd name="connsiteX8" fmla="*/ 88597 w 425740"/>
                  <a:gd name="connsiteY8" fmla="*/ 76459 h 463421"/>
                  <a:gd name="connsiteX9" fmla="*/ 88597 w 425740"/>
                  <a:gd name="connsiteY9" fmla="*/ 309167 h 463421"/>
                  <a:gd name="connsiteX10" fmla="*/ 37677 w 425740"/>
                  <a:gd name="connsiteY10" fmla="*/ 309167 h 463421"/>
                  <a:gd name="connsiteX11" fmla="*/ 37677 w 425740"/>
                  <a:gd name="connsiteY11" fmla="*/ 463372 h 463421"/>
                  <a:gd name="connsiteX12" fmla="*/ 424802 w 425740"/>
                  <a:gd name="connsiteY12" fmla="*/ 463372 h 463421"/>
                  <a:gd name="connsiteX13" fmla="*/ 424802 w 425740"/>
                  <a:gd name="connsiteY13" fmla="*/ 232022 h 463421"/>
                  <a:gd name="connsiteX14" fmla="*/ 193240 w 425740"/>
                  <a:gd name="connsiteY14" fmla="*/ 232022 h 463421"/>
                  <a:gd name="connsiteX15" fmla="*/ 193240 w 425740"/>
                  <a:gd name="connsiteY15" fmla="*/ 308658 h 463421"/>
                  <a:gd name="connsiteX16" fmla="*/ 121102 w 425740"/>
                  <a:gd name="connsiteY16" fmla="*/ 308658 h 463421"/>
                  <a:gd name="connsiteX17" fmla="*/ 121102 w 425740"/>
                  <a:gd name="connsiteY17" fmla="*/ 77350 h 463421"/>
                  <a:gd name="connsiteX18" fmla="*/ 341164 w 425740"/>
                  <a:gd name="connsiteY18" fmla="*/ 77350 h 463421"/>
                  <a:gd name="connsiteX19" fmla="*/ 341164 w 425740"/>
                  <a:gd name="connsiteY19" fmla="*/ 99162 h 463421"/>
                  <a:gd name="connsiteX20" fmla="*/ 304119 w 425740"/>
                  <a:gd name="connsiteY20" fmla="*/ 135273 h 463421"/>
                  <a:gd name="connsiteX21" fmla="*/ 290965 w 425740"/>
                  <a:gd name="connsiteY21" fmla="*/ 135273 h 463421"/>
                  <a:gd name="connsiteX22" fmla="*/ 290965 w 425740"/>
                  <a:gd name="connsiteY22" fmla="*/ 185769 h 463421"/>
                  <a:gd name="connsiteX23" fmla="*/ 405961 w 425740"/>
                  <a:gd name="connsiteY23" fmla="*/ 185769 h 463421"/>
                  <a:gd name="connsiteX24" fmla="*/ 405961 w 425740"/>
                  <a:gd name="connsiteY24" fmla="*/ 135867 h 463421"/>
                  <a:gd name="connsiteX25" fmla="*/ 391152 w 425740"/>
                  <a:gd name="connsiteY25" fmla="*/ 135867 h 463421"/>
                  <a:gd name="connsiteX26" fmla="*/ 355337 w 425740"/>
                  <a:gd name="connsiteY26" fmla="*/ 99501 h 463421"/>
                  <a:gd name="connsiteX27" fmla="*/ 355337 w 425740"/>
                  <a:gd name="connsiteY27" fmla="*/ 76926 h 463421"/>
                  <a:gd name="connsiteX28" fmla="*/ 219464 w 425740"/>
                  <a:gd name="connsiteY28" fmla="*/ 334331 h 463421"/>
                  <a:gd name="connsiteX29" fmla="*/ 219464 w 425740"/>
                  <a:gd name="connsiteY29" fmla="*/ 257652 h 463421"/>
                  <a:gd name="connsiteX30" fmla="*/ 399808 w 425740"/>
                  <a:gd name="connsiteY30" fmla="*/ 257652 h 463421"/>
                  <a:gd name="connsiteX31" fmla="*/ 399808 w 425740"/>
                  <a:gd name="connsiteY31" fmla="*/ 437615 h 463421"/>
                  <a:gd name="connsiteX32" fmla="*/ 64580 w 425740"/>
                  <a:gd name="connsiteY32" fmla="*/ 437615 h 463421"/>
                  <a:gd name="connsiteX33" fmla="*/ 64580 w 425740"/>
                  <a:gd name="connsiteY33" fmla="*/ 334331 h 463421"/>
                  <a:gd name="connsiteX34" fmla="*/ 371335 w 425740"/>
                  <a:gd name="connsiteY34" fmla="*/ 134891 h 463421"/>
                  <a:gd name="connsiteX35" fmla="*/ 326228 w 425740"/>
                  <a:gd name="connsiteY35" fmla="*/ 134891 h 463421"/>
                  <a:gd name="connsiteX36" fmla="*/ 348166 w 425740"/>
                  <a:gd name="connsiteY36" fmla="*/ 114310 h 4634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425740" h="463421">
                    <a:moveTo>
                      <a:pt x="425693" y="76926"/>
                    </a:moveTo>
                    <a:lnTo>
                      <a:pt x="425693" y="50023"/>
                    </a:lnTo>
                    <a:lnTo>
                      <a:pt x="121059" y="50023"/>
                    </a:lnTo>
                    <a:lnTo>
                      <a:pt x="121059" y="-49"/>
                    </a:lnTo>
                    <a:lnTo>
                      <a:pt x="90210" y="-49"/>
                    </a:lnTo>
                    <a:lnTo>
                      <a:pt x="90210" y="49429"/>
                    </a:lnTo>
                    <a:lnTo>
                      <a:pt x="-47" y="49429"/>
                    </a:lnTo>
                    <a:lnTo>
                      <a:pt x="-47" y="76459"/>
                    </a:lnTo>
                    <a:lnTo>
                      <a:pt x="88597" y="76459"/>
                    </a:lnTo>
                    <a:lnTo>
                      <a:pt x="88597" y="309167"/>
                    </a:lnTo>
                    <a:lnTo>
                      <a:pt x="37677" y="309167"/>
                    </a:lnTo>
                    <a:lnTo>
                      <a:pt x="37677" y="463372"/>
                    </a:lnTo>
                    <a:lnTo>
                      <a:pt x="424802" y="463372"/>
                    </a:lnTo>
                    <a:lnTo>
                      <a:pt x="424802" y="232022"/>
                    </a:lnTo>
                    <a:lnTo>
                      <a:pt x="193240" y="232022"/>
                    </a:lnTo>
                    <a:lnTo>
                      <a:pt x="193240" y="308658"/>
                    </a:lnTo>
                    <a:lnTo>
                      <a:pt x="121102" y="308658"/>
                    </a:lnTo>
                    <a:lnTo>
                      <a:pt x="121102" y="77350"/>
                    </a:lnTo>
                    <a:lnTo>
                      <a:pt x="341164" y="77350"/>
                    </a:lnTo>
                    <a:lnTo>
                      <a:pt x="341164" y="99162"/>
                    </a:lnTo>
                    <a:cubicBezTo>
                      <a:pt x="329580" y="110449"/>
                      <a:pt x="317741" y="121949"/>
                      <a:pt x="304119" y="135273"/>
                    </a:cubicBezTo>
                    <a:lnTo>
                      <a:pt x="290965" y="135273"/>
                    </a:lnTo>
                    <a:lnTo>
                      <a:pt x="290965" y="185769"/>
                    </a:lnTo>
                    <a:lnTo>
                      <a:pt x="405961" y="185769"/>
                    </a:lnTo>
                    <a:lnTo>
                      <a:pt x="405961" y="135867"/>
                    </a:lnTo>
                    <a:lnTo>
                      <a:pt x="391152" y="135867"/>
                    </a:lnTo>
                    <a:lnTo>
                      <a:pt x="355337" y="99501"/>
                    </a:lnTo>
                    <a:lnTo>
                      <a:pt x="355337" y="76926"/>
                    </a:lnTo>
                    <a:close/>
                    <a:moveTo>
                      <a:pt x="219464" y="334331"/>
                    </a:moveTo>
                    <a:lnTo>
                      <a:pt x="219464" y="257652"/>
                    </a:lnTo>
                    <a:lnTo>
                      <a:pt x="399808" y="257652"/>
                    </a:lnTo>
                    <a:lnTo>
                      <a:pt x="399808" y="437615"/>
                    </a:lnTo>
                    <a:lnTo>
                      <a:pt x="64580" y="437615"/>
                    </a:lnTo>
                    <a:lnTo>
                      <a:pt x="64580" y="334331"/>
                    </a:lnTo>
                    <a:close/>
                    <a:moveTo>
                      <a:pt x="371335" y="134891"/>
                    </a:moveTo>
                    <a:lnTo>
                      <a:pt x="326228" y="134891"/>
                    </a:lnTo>
                    <a:lnTo>
                      <a:pt x="348166" y="114310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90" name="Freihandform: Form 389">
                <a:extLst>
                  <a:ext uri="{FF2B5EF4-FFF2-40B4-BE49-F238E27FC236}">
                    <a16:creationId xmlns:a16="http://schemas.microsoft.com/office/drawing/2014/main" id="{6039E2B4-78FD-451F-877B-7D992BC8D078}"/>
                  </a:ext>
                </a:extLst>
              </p:cNvPr>
              <p:cNvSpPr/>
              <p:nvPr/>
            </p:nvSpPr>
            <p:spPr>
              <a:xfrm>
                <a:off x="9933833" y="3005895"/>
                <a:ext cx="50920" cy="50411"/>
              </a:xfrm>
              <a:custGeom>
                <a:avLst/>
                <a:gdLst>
                  <a:gd name="connsiteX0" fmla="*/ 50874 w 50920"/>
                  <a:gd name="connsiteY0" fmla="*/ -49 h 50411"/>
                  <a:gd name="connsiteX1" fmla="*/ -47 w 50920"/>
                  <a:gd name="connsiteY1" fmla="*/ -49 h 50411"/>
                  <a:gd name="connsiteX2" fmla="*/ -47 w 50920"/>
                  <a:gd name="connsiteY2" fmla="*/ 50362 h 50411"/>
                  <a:gd name="connsiteX3" fmla="*/ 50874 w 50920"/>
                  <a:gd name="connsiteY3" fmla="*/ 50362 h 504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920" h="50411">
                    <a:moveTo>
                      <a:pt x="50874" y="-49"/>
                    </a:moveTo>
                    <a:lnTo>
                      <a:pt x="-47" y="-49"/>
                    </a:lnTo>
                    <a:lnTo>
                      <a:pt x="-47" y="50362"/>
                    </a:lnTo>
                    <a:lnTo>
                      <a:pt x="50874" y="50362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91" name="Freihandform: Form 390">
                <a:extLst>
                  <a:ext uri="{FF2B5EF4-FFF2-40B4-BE49-F238E27FC236}">
                    <a16:creationId xmlns:a16="http://schemas.microsoft.com/office/drawing/2014/main" id="{A5C508D1-1B46-421B-AD0A-26CD71A26AE3}"/>
                  </a:ext>
                </a:extLst>
              </p:cNvPr>
              <p:cNvSpPr/>
              <p:nvPr/>
            </p:nvSpPr>
            <p:spPr>
              <a:xfrm>
                <a:off x="9856010" y="3005725"/>
                <a:ext cx="50920" cy="50369"/>
              </a:xfrm>
              <a:custGeom>
                <a:avLst/>
                <a:gdLst>
                  <a:gd name="connsiteX0" fmla="*/ 50874 w 50920"/>
                  <a:gd name="connsiteY0" fmla="*/ -49 h 50369"/>
                  <a:gd name="connsiteX1" fmla="*/ -47 w 50920"/>
                  <a:gd name="connsiteY1" fmla="*/ -49 h 50369"/>
                  <a:gd name="connsiteX2" fmla="*/ -47 w 50920"/>
                  <a:gd name="connsiteY2" fmla="*/ 50320 h 50369"/>
                  <a:gd name="connsiteX3" fmla="*/ 50874 w 50920"/>
                  <a:gd name="connsiteY3" fmla="*/ 50320 h 50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920" h="50369">
                    <a:moveTo>
                      <a:pt x="50874" y="-49"/>
                    </a:moveTo>
                    <a:lnTo>
                      <a:pt x="-47" y="-49"/>
                    </a:lnTo>
                    <a:lnTo>
                      <a:pt x="-47" y="50320"/>
                    </a:lnTo>
                    <a:lnTo>
                      <a:pt x="50874" y="50320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92" name="Freihandform: Form 391">
                <a:extLst>
                  <a:ext uri="{FF2B5EF4-FFF2-40B4-BE49-F238E27FC236}">
                    <a16:creationId xmlns:a16="http://schemas.microsoft.com/office/drawing/2014/main" id="{9FD79DB4-D1E2-4C05-BF0D-12F31A6E0E17}"/>
                  </a:ext>
                </a:extLst>
              </p:cNvPr>
              <p:cNvSpPr/>
              <p:nvPr/>
            </p:nvSpPr>
            <p:spPr>
              <a:xfrm>
                <a:off x="9933833" y="2928368"/>
                <a:ext cx="50496" cy="50284"/>
              </a:xfrm>
              <a:custGeom>
                <a:avLst/>
                <a:gdLst>
                  <a:gd name="connsiteX0" fmla="*/ 50449 w 50496"/>
                  <a:gd name="connsiteY0" fmla="*/ -49 h 50284"/>
                  <a:gd name="connsiteX1" fmla="*/ -47 w 50496"/>
                  <a:gd name="connsiteY1" fmla="*/ -49 h 50284"/>
                  <a:gd name="connsiteX2" fmla="*/ -47 w 50496"/>
                  <a:gd name="connsiteY2" fmla="*/ 50235 h 50284"/>
                  <a:gd name="connsiteX3" fmla="*/ 50449 w 50496"/>
                  <a:gd name="connsiteY3" fmla="*/ 50235 h 502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496" h="50284">
                    <a:moveTo>
                      <a:pt x="50449" y="-49"/>
                    </a:moveTo>
                    <a:lnTo>
                      <a:pt x="-47" y="-49"/>
                    </a:lnTo>
                    <a:lnTo>
                      <a:pt x="-47" y="50235"/>
                    </a:lnTo>
                    <a:lnTo>
                      <a:pt x="50449" y="50235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93" name="Freihandform: Form 392">
                <a:extLst>
                  <a:ext uri="{FF2B5EF4-FFF2-40B4-BE49-F238E27FC236}">
                    <a16:creationId xmlns:a16="http://schemas.microsoft.com/office/drawing/2014/main" id="{6153EB44-C1E8-4A66-9B39-D2D1F555394F}"/>
                  </a:ext>
                </a:extLst>
              </p:cNvPr>
              <p:cNvSpPr/>
              <p:nvPr/>
            </p:nvSpPr>
            <p:spPr>
              <a:xfrm>
                <a:off x="10011615" y="3005768"/>
                <a:ext cx="50581" cy="50623"/>
              </a:xfrm>
              <a:custGeom>
                <a:avLst/>
                <a:gdLst>
                  <a:gd name="connsiteX0" fmla="*/ -47 w 50581"/>
                  <a:gd name="connsiteY0" fmla="*/ 50575 h 50623"/>
                  <a:gd name="connsiteX1" fmla="*/ 50534 w 50581"/>
                  <a:gd name="connsiteY1" fmla="*/ 50575 h 50623"/>
                  <a:gd name="connsiteX2" fmla="*/ 50534 w 50581"/>
                  <a:gd name="connsiteY2" fmla="*/ -49 h 50623"/>
                  <a:gd name="connsiteX3" fmla="*/ -47 w 50581"/>
                  <a:gd name="connsiteY3" fmla="*/ -49 h 50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581" h="50623">
                    <a:moveTo>
                      <a:pt x="-47" y="50575"/>
                    </a:moveTo>
                    <a:lnTo>
                      <a:pt x="50534" y="50575"/>
                    </a:lnTo>
                    <a:lnTo>
                      <a:pt x="50534" y="-49"/>
                    </a:lnTo>
                    <a:lnTo>
                      <a:pt x="-47" y="-49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94" name="Freihandform: Form 393">
                <a:extLst>
                  <a:ext uri="{FF2B5EF4-FFF2-40B4-BE49-F238E27FC236}">
                    <a16:creationId xmlns:a16="http://schemas.microsoft.com/office/drawing/2014/main" id="{16425601-3101-4398-AD68-340912571E2D}"/>
                  </a:ext>
                </a:extLst>
              </p:cNvPr>
              <p:cNvSpPr/>
              <p:nvPr/>
            </p:nvSpPr>
            <p:spPr>
              <a:xfrm>
                <a:off x="9778652" y="3005895"/>
                <a:ext cx="50411" cy="50453"/>
              </a:xfrm>
              <a:custGeom>
                <a:avLst/>
                <a:gdLst>
                  <a:gd name="connsiteX0" fmla="*/ 50364 w 50411"/>
                  <a:gd name="connsiteY0" fmla="*/ -49 h 50453"/>
                  <a:gd name="connsiteX1" fmla="*/ -47 w 50411"/>
                  <a:gd name="connsiteY1" fmla="*/ -49 h 50453"/>
                  <a:gd name="connsiteX2" fmla="*/ -47 w 50411"/>
                  <a:gd name="connsiteY2" fmla="*/ 50405 h 50453"/>
                  <a:gd name="connsiteX3" fmla="*/ 50364 w 50411"/>
                  <a:gd name="connsiteY3" fmla="*/ 50405 h 504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411" h="50453">
                    <a:moveTo>
                      <a:pt x="50364" y="-49"/>
                    </a:moveTo>
                    <a:lnTo>
                      <a:pt x="-47" y="-49"/>
                    </a:lnTo>
                    <a:lnTo>
                      <a:pt x="-47" y="50405"/>
                    </a:lnTo>
                    <a:lnTo>
                      <a:pt x="50364" y="50405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95" name="Freihandform: Form 394">
                <a:extLst>
                  <a:ext uri="{FF2B5EF4-FFF2-40B4-BE49-F238E27FC236}">
                    <a16:creationId xmlns:a16="http://schemas.microsoft.com/office/drawing/2014/main" id="{86FFD70C-E289-43B9-8EAD-0CD0784D25A6}"/>
                  </a:ext>
                </a:extLst>
              </p:cNvPr>
              <p:cNvSpPr/>
              <p:nvPr/>
            </p:nvSpPr>
            <p:spPr>
              <a:xfrm>
                <a:off x="10011403" y="2928665"/>
                <a:ext cx="50666" cy="49987"/>
              </a:xfrm>
              <a:custGeom>
                <a:avLst/>
                <a:gdLst>
                  <a:gd name="connsiteX0" fmla="*/ 50619 w 50666"/>
                  <a:gd name="connsiteY0" fmla="*/ -49 h 49987"/>
                  <a:gd name="connsiteX1" fmla="*/ -47 w 50666"/>
                  <a:gd name="connsiteY1" fmla="*/ -49 h 49987"/>
                  <a:gd name="connsiteX2" fmla="*/ -47 w 50666"/>
                  <a:gd name="connsiteY2" fmla="*/ 49938 h 49987"/>
                  <a:gd name="connsiteX3" fmla="*/ 50619 w 50666"/>
                  <a:gd name="connsiteY3" fmla="*/ 49938 h 499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666" h="49987">
                    <a:moveTo>
                      <a:pt x="50619" y="-49"/>
                    </a:moveTo>
                    <a:lnTo>
                      <a:pt x="-47" y="-49"/>
                    </a:lnTo>
                    <a:lnTo>
                      <a:pt x="-47" y="49938"/>
                    </a:lnTo>
                    <a:lnTo>
                      <a:pt x="50619" y="49938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382" name="Freihandform: Form 381">
              <a:extLst>
                <a:ext uri="{FF2B5EF4-FFF2-40B4-BE49-F238E27FC236}">
                  <a16:creationId xmlns:a16="http://schemas.microsoft.com/office/drawing/2014/main" id="{D7822E9E-A4C0-40DB-BF04-FD52EFC907F6}"/>
                </a:ext>
              </a:extLst>
            </p:cNvPr>
            <p:cNvSpPr/>
            <p:nvPr/>
          </p:nvSpPr>
          <p:spPr>
            <a:xfrm>
              <a:off x="9688183" y="2644612"/>
              <a:ext cx="425740" cy="463421"/>
            </a:xfrm>
            <a:custGeom>
              <a:avLst/>
              <a:gdLst>
                <a:gd name="connsiteX0" fmla="*/ 425693 w 425740"/>
                <a:gd name="connsiteY0" fmla="*/ 76926 h 463421"/>
                <a:gd name="connsiteX1" fmla="*/ 425693 w 425740"/>
                <a:gd name="connsiteY1" fmla="*/ 50023 h 463421"/>
                <a:gd name="connsiteX2" fmla="*/ 121059 w 425740"/>
                <a:gd name="connsiteY2" fmla="*/ 50023 h 463421"/>
                <a:gd name="connsiteX3" fmla="*/ 121059 w 425740"/>
                <a:gd name="connsiteY3" fmla="*/ -49 h 463421"/>
                <a:gd name="connsiteX4" fmla="*/ 90210 w 425740"/>
                <a:gd name="connsiteY4" fmla="*/ -49 h 463421"/>
                <a:gd name="connsiteX5" fmla="*/ 90210 w 425740"/>
                <a:gd name="connsiteY5" fmla="*/ 49429 h 463421"/>
                <a:gd name="connsiteX6" fmla="*/ -47 w 425740"/>
                <a:gd name="connsiteY6" fmla="*/ 49429 h 463421"/>
                <a:gd name="connsiteX7" fmla="*/ -47 w 425740"/>
                <a:gd name="connsiteY7" fmla="*/ 76459 h 463421"/>
                <a:gd name="connsiteX8" fmla="*/ 88597 w 425740"/>
                <a:gd name="connsiteY8" fmla="*/ 76459 h 463421"/>
                <a:gd name="connsiteX9" fmla="*/ 88597 w 425740"/>
                <a:gd name="connsiteY9" fmla="*/ 309167 h 463421"/>
                <a:gd name="connsiteX10" fmla="*/ 37677 w 425740"/>
                <a:gd name="connsiteY10" fmla="*/ 309167 h 463421"/>
                <a:gd name="connsiteX11" fmla="*/ 37677 w 425740"/>
                <a:gd name="connsiteY11" fmla="*/ 463372 h 463421"/>
                <a:gd name="connsiteX12" fmla="*/ 424802 w 425740"/>
                <a:gd name="connsiteY12" fmla="*/ 463372 h 463421"/>
                <a:gd name="connsiteX13" fmla="*/ 424802 w 425740"/>
                <a:gd name="connsiteY13" fmla="*/ 232022 h 463421"/>
                <a:gd name="connsiteX14" fmla="*/ 193240 w 425740"/>
                <a:gd name="connsiteY14" fmla="*/ 232022 h 463421"/>
                <a:gd name="connsiteX15" fmla="*/ 193240 w 425740"/>
                <a:gd name="connsiteY15" fmla="*/ 308658 h 463421"/>
                <a:gd name="connsiteX16" fmla="*/ 121102 w 425740"/>
                <a:gd name="connsiteY16" fmla="*/ 308658 h 463421"/>
                <a:gd name="connsiteX17" fmla="*/ 121102 w 425740"/>
                <a:gd name="connsiteY17" fmla="*/ 77350 h 463421"/>
                <a:gd name="connsiteX18" fmla="*/ 341164 w 425740"/>
                <a:gd name="connsiteY18" fmla="*/ 77350 h 463421"/>
                <a:gd name="connsiteX19" fmla="*/ 341164 w 425740"/>
                <a:gd name="connsiteY19" fmla="*/ 99162 h 463421"/>
                <a:gd name="connsiteX20" fmla="*/ 304119 w 425740"/>
                <a:gd name="connsiteY20" fmla="*/ 135273 h 463421"/>
                <a:gd name="connsiteX21" fmla="*/ 290965 w 425740"/>
                <a:gd name="connsiteY21" fmla="*/ 135273 h 463421"/>
                <a:gd name="connsiteX22" fmla="*/ 290965 w 425740"/>
                <a:gd name="connsiteY22" fmla="*/ 185769 h 463421"/>
                <a:gd name="connsiteX23" fmla="*/ 405961 w 425740"/>
                <a:gd name="connsiteY23" fmla="*/ 185769 h 463421"/>
                <a:gd name="connsiteX24" fmla="*/ 405961 w 425740"/>
                <a:gd name="connsiteY24" fmla="*/ 135867 h 463421"/>
                <a:gd name="connsiteX25" fmla="*/ 391152 w 425740"/>
                <a:gd name="connsiteY25" fmla="*/ 135867 h 463421"/>
                <a:gd name="connsiteX26" fmla="*/ 355337 w 425740"/>
                <a:gd name="connsiteY26" fmla="*/ 99501 h 463421"/>
                <a:gd name="connsiteX27" fmla="*/ 355337 w 425740"/>
                <a:gd name="connsiteY27" fmla="*/ 76926 h 463421"/>
                <a:gd name="connsiteX28" fmla="*/ 219464 w 425740"/>
                <a:gd name="connsiteY28" fmla="*/ 334331 h 463421"/>
                <a:gd name="connsiteX29" fmla="*/ 219464 w 425740"/>
                <a:gd name="connsiteY29" fmla="*/ 257652 h 463421"/>
                <a:gd name="connsiteX30" fmla="*/ 399808 w 425740"/>
                <a:gd name="connsiteY30" fmla="*/ 257652 h 463421"/>
                <a:gd name="connsiteX31" fmla="*/ 399808 w 425740"/>
                <a:gd name="connsiteY31" fmla="*/ 437615 h 463421"/>
                <a:gd name="connsiteX32" fmla="*/ 64580 w 425740"/>
                <a:gd name="connsiteY32" fmla="*/ 437615 h 463421"/>
                <a:gd name="connsiteX33" fmla="*/ 64580 w 425740"/>
                <a:gd name="connsiteY33" fmla="*/ 334331 h 463421"/>
                <a:gd name="connsiteX34" fmla="*/ 371335 w 425740"/>
                <a:gd name="connsiteY34" fmla="*/ 134891 h 463421"/>
                <a:gd name="connsiteX35" fmla="*/ 326228 w 425740"/>
                <a:gd name="connsiteY35" fmla="*/ 134891 h 463421"/>
                <a:gd name="connsiteX36" fmla="*/ 348166 w 425740"/>
                <a:gd name="connsiteY36" fmla="*/ 114310 h 463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25740" h="463421">
                  <a:moveTo>
                    <a:pt x="425693" y="76926"/>
                  </a:moveTo>
                  <a:lnTo>
                    <a:pt x="425693" y="50023"/>
                  </a:lnTo>
                  <a:lnTo>
                    <a:pt x="121059" y="50023"/>
                  </a:lnTo>
                  <a:lnTo>
                    <a:pt x="121059" y="-49"/>
                  </a:lnTo>
                  <a:lnTo>
                    <a:pt x="90210" y="-49"/>
                  </a:lnTo>
                  <a:lnTo>
                    <a:pt x="90210" y="49429"/>
                  </a:lnTo>
                  <a:lnTo>
                    <a:pt x="-47" y="49429"/>
                  </a:lnTo>
                  <a:lnTo>
                    <a:pt x="-47" y="76459"/>
                  </a:lnTo>
                  <a:lnTo>
                    <a:pt x="88597" y="76459"/>
                  </a:lnTo>
                  <a:lnTo>
                    <a:pt x="88597" y="309167"/>
                  </a:lnTo>
                  <a:lnTo>
                    <a:pt x="37677" y="309167"/>
                  </a:lnTo>
                  <a:lnTo>
                    <a:pt x="37677" y="463372"/>
                  </a:lnTo>
                  <a:lnTo>
                    <a:pt x="424802" y="463372"/>
                  </a:lnTo>
                  <a:lnTo>
                    <a:pt x="424802" y="232022"/>
                  </a:lnTo>
                  <a:lnTo>
                    <a:pt x="193240" y="232022"/>
                  </a:lnTo>
                  <a:lnTo>
                    <a:pt x="193240" y="308658"/>
                  </a:lnTo>
                  <a:lnTo>
                    <a:pt x="121102" y="308658"/>
                  </a:lnTo>
                  <a:lnTo>
                    <a:pt x="121102" y="77350"/>
                  </a:lnTo>
                  <a:lnTo>
                    <a:pt x="341164" y="77350"/>
                  </a:lnTo>
                  <a:lnTo>
                    <a:pt x="341164" y="99162"/>
                  </a:lnTo>
                  <a:cubicBezTo>
                    <a:pt x="329580" y="110449"/>
                    <a:pt x="317741" y="121949"/>
                    <a:pt x="304119" y="135273"/>
                  </a:cubicBezTo>
                  <a:lnTo>
                    <a:pt x="290965" y="135273"/>
                  </a:lnTo>
                  <a:lnTo>
                    <a:pt x="290965" y="185769"/>
                  </a:lnTo>
                  <a:lnTo>
                    <a:pt x="405961" y="185769"/>
                  </a:lnTo>
                  <a:lnTo>
                    <a:pt x="405961" y="135867"/>
                  </a:lnTo>
                  <a:lnTo>
                    <a:pt x="391152" y="135867"/>
                  </a:lnTo>
                  <a:lnTo>
                    <a:pt x="355337" y="99501"/>
                  </a:lnTo>
                  <a:lnTo>
                    <a:pt x="355337" y="76926"/>
                  </a:lnTo>
                  <a:close/>
                  <a:moveTo>
                    <a:pt x="219464" y="334331"/>
                  </a:moveTo>
                  <a:lnTo>
                    <a:pt x="219464" y="257652"/>
                  </a:lnTo>
                  <a:lnTo>
                    <a:pt x="399808" y="257652"/>
                  </a:lnTo>
                  <a:lnTo>
                    <a:pt x="399808" y="437615"/>
                  </a:lnTo>
                  <a:lnTo>
                    <a:pt x="64580" y="437615"/>
                  </a:lnTo>
                  <a:lnTo>
                    <a:pt x="64580" y="334331"/>
                  </a:lnTo>
                  <a:close/>
                  <a:moveTo>
                    <a:pt x="371335" y="134891"/>
                  </a:moveTo>
                  <a:lnTo>
                    <a:pt x="326228" y="134891"/>
                  </a:lnTo>
                  <a:lnTo>
                    <a:pt x="348166" y="114310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3" name="Freihandform: Form 382">
              <a:extLst>
                <a:ext uri="{FF2B5EF4-FFF2-40B4-BE49-F238E27FC236}">
                  <a16:creationId xmlns:a16="http://schemas.microsoft.com/office/drawing/2014/main" id="{5B609356-8E35-4B31-B7DE-92D3FD32FBD3}"/>
                </a:ext>
              </a:extLst>
            </p:cNvPr>
            <p:cNvSpPr/>
            <p:nvPr/>
          </p:nvSpPr>
          <p:spPr>
            <a:xfrm>
              <a:off x="9933833" y="3005895"/>
              <a:ext cx="50920" cy="50411"/>
            </a:xfrm>
            <a:custGeom>
              <a:avLst/>
              <a:gdLst>
                <a:gd name="connsiteX0" fmla="*/ 50874 w 50920"/>
                <a:gd name="connsiteY0" fmla="*/ -49 h 50411"/>
                <a:gd name="connsiteX1" fmla="*/ -47 w 50920"/>
                <a:gd name="connsiteY1" fmla="*/ -49 h 50411"/>
                <a:gd name="connsiteX2" fmla="*/ -47 w 50920"/>
                <a:gd name="connsiteY2" fmla="*/ 50362 h 50411"/>
                <a:gd name="connsiteX3" fmla="*/ 50874 w 50920"/>
                <a:gd name="connsiteY3" fmla="*/ 50362 h 50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920" h="50411">
                  <a:moveTo>
                    <a:pt x="50874" y="-49"/>
                  </a:moveTo>
                  <a:lnTo>
                    <a:pt x="-47" y="-49"/>
                  </a:lnTo>
                  <a:lnTo>
                    <a:pt x="-47" y="50362"/>
                  </a:lnTo>
                  <a:lnTo>
                    <a:pt x="50874" y="50362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4" name="Freihandform: Form 383">
              <a:extLst>
                <a:ext uri="{FF2B5EF4-FFF2-40B4-BE49-F238E27FC236}">
                  <a16:creationId xmlns:a16="http://schemas.microsoft.com/office/drawing/2014/main" id="{C3010908-1F5E-463C-AB3D-8FBE36A03C83}"/>
                </a:ext>
              </a:extLst>
            </p:cNvPr>
            <p:cNvSpPr/>
            <p:nvPr/>
          </p:nvSpPr>
          <p:spPr>
            <a:xfrm>
              <a:off x="9856010" y="3005725"/>
              <a:ext cx="50920" cy="50369"/>
            </a:xfrm>
            <a:custGeom>
              <a:avLst/>
              <a:gdLst>
                <a:gd name="connsiteX0" fmla="*/ 50874 w 50920"/>
                <a:gd name="connsiteY0" fmla="*/ -49 h 50369"/>
                <a:gd name="connsiteX1" fmla="*/ -47 w 50920"/>
                <a:gd name="connsiteY1" fmla="*/ -49 h 50369"/>
                <a:gd name="connsiteX2" fmla="*/ -47 w 50920"/>
                <a:gd name="connsiteY2" fmla="*/ 50320 h 50369"/>
                <a:gd name="connsiteX3" fmla="*/ 50874 w 50920"/>
                <a:gd name="connsiteY3" fmla="*/ 50320 h 50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920" h="50369">
                  <a:moveTo>
                    <a:pt x="50874" y="-49"/>
                  </a:moveTo>
                  <a:lnTo>
                    <a:pt x="-47" y="-49"/>
                  </a:lnTo>
                  <a:lnTo>
                    <a:pt x="-47" y="50320"/>
                  </a:lnTo>
                  <a:lnTo>
                    <a:pt x="50874" y="50320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5" name="Freihandform: Form 384">
              <a:extLst>
                <a:ext uri="{FF2B5EF4-FFF2-40B4-BE49-F238E27FC236}">
                  <a16:creationId xmlns:a16="http://schemas.microsoft.com/office/drawing/2014/main" id="{46A8671C-D61D-404A-B8FA-88A222E36255}"/>
                </a:ext>
              </a:extLst>
            </p:cNvPr>
            <p:cNvSpPr/>
            <p:nvPr/>
          </p:nvSpPr>
          <p:spPr>
            <a:xfrm>
              <a:off x="9933833" y="2928368"/>
              <a:ext cx="50496" cy="50284"/>
            </a:xfrm>
            <a:custGeom>
              <a:avLst/>
              <a:gdLst>
                <a:gd name="connsiteX0" fmla="*/ 50449 w 50496"/>
                <a:gd name="connsiteY0" fmla="*/ -49 h 50284"/>
                <a:gd name="connsiteX1" fmla="*/ -47 w 50496"/>
                <a:gd name="connsiteY1" fmla="*/ -49 h 50284"/>
                <a:gd name="connsiteX2" fmla="*/ -47 w 50496"/>
                <a:gd name="connsiteY2" fmla="*/ 50235 h 50284"/>
                <a:gd name="connsiteX3" fmla="*/ 50449 w 50496"/>
                <a:gd name="connsiteY3" fmla="*/ 50235 h 50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496" h="50284">
                  <a:moveTo>
                    <a:pt x="50449" y="-49"/>
                  </a:moveTo>
                  <a:lnTo>
                    <a:pt x="-47" y="-49"/>
                  </a:lnTo>
                  <a:lnTo>
                    <a:pt x="-47" y="50235"/>
                  </a:lnTo>
                  <a:lnTo>
                    <a:pt x="50449" y="50235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6" name="Freihandform: Form 385">
              <a:extLst>
                <a:ext uri="{FF2B5EF4-FFF2-40B4-BE49-F238E27FC236}">
                  <a16:creationId xmlns:a16="http://schemas.microsoft.com/office/drawing/2014/main" id="{E6614DF4-525A-4EE3-8F20-2C20BCC3BBC1}"/>
                </a:ext>
              </a:extLst>
            </p:cNvPr>
            <p:cNvSpPr/>
            <p:nvPr/>
          </p:nvSpPr>
          <p:spPr>
            <a:xfrm>
              <a:off x="10011615" y="3005768"/>
              <a:ext cx="50581" cy="50623"/>
            </a:xfrm>
            <a:custGeom>
              <a:avLst/>
              <a:gdLst>
                <a:gd name="connsiteX0" fmla="*/ -47 w 50581"/>
                <a:gd name="connsiteY0" fmla="*/ 50575 h 50623"/>
                <a:gd name="connsiteX1" fmla="*/ 50534 w 50581"/>
                <a:gd name="connsiteY1" fmla="*/ 50575 h 50623"/>
                <a:gd name="connsiteX2" fmla="*/ 50534 w 50581"/>
                <a:gd name="connsiteY2" fmla="*/ -49 h 50623"/>
                <a:gd name="connsiteX3" fmla="*/ -47 w 50581"/>
                <a:gd name="connsiteY3" fmla="*/ -49 h 50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581" h="50623">
                  <a:moveTo>
                    <a:pt x="-47" y="50575"/>
                  </a:moveTo>
                  <a:lnTo>
                    <a:pt x="50534" y="50575"/>
                  </a:lnTo>
                  <a:lnTo>
                    <a:pt x="50534" y="-49"/>
                  </a:lnTo>
                  <a:lnTo>
                    <a:pt x="-47" y="-49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7" name="Freihandform: Form 386">
              <a:extLst>
                <a:ext uri="{FF2B5EF4-FFF2-40B4-BE49-F238E27FC236}">
                  <a16:creationId xmlns:a16="http://schemas.microsoft.com/office/drawing/2014/main" id="{66BDB388-81CD-476A-BA28-7337B6C05692}"/>
                </a:ext>
              </a:extLst>
            </p:cNvPr>
            <p:cNvSpPr/>
            <p:nvPr/>
          </p:nvSpPr>
          <p:spPr>
            <a:xfrm>
              <a:off x="9778652" y="3005895"/>
              <a:ext cx="50411" cy="50453"/>
            </a:xfrm>
            <a:custGeom>
              <a:avLst/>
              <a:gdLst>
                <a:gd name="connsiteX0" fmla="*/ 50364 w 50411"/>
                <a:gd name="connsiteY0" fmla="*/ -49 h 50453"/>
                <a:gd name="connsiteX1" fmla="*/ -47 w 50411"/>
                <a:gd name="connsiteY1" fmla="*/ -49 h 50453"/>
                <a:gd name="connsiteX2" fmla="*/ -47 w 50411"/>
                <a:gd name="connsiteY2" fmla="*/ 50405 h 50453"/>
                <a:gd name="connsiteX3" fmla="*/ 50364 w 50411"/>
                <a:gd name="connsiteY3" fmla="*/ 50405 h 50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411" h="50453">
                  <a:moveTo>
                    <a:pt x="50364" y="-49"/>
                  </a:moveTo>
                  <a:lnTo>
                    <a:pt x="-47" y="-49"/>
                  </a:lnTo>
                  <a:lnTo>
                    <a:pt x="-47" y="50405"/>
                  </a:lnTo>
                  <a:lnTo>
                    <a:pt x="50364" y="50405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8" name="Freihandform: Form 387">
              <a:extLst>
                <a:ext uri="{FF2B5EF4-FFF2-40B4-BE49-F238E27FC236}">
                  <a16:creationId xmlns:a16="http://schemas.microsoft.com/office/drawing/2014/main" id="{E82B8DBF-B943-4F50-AF7D-1B4105A2A08A}"/>
                </a:ext>
              </a:extLst>
            </p:cNvPr>
            <p:cNvSpPr/>
            <p:nvPr/>
          </p:nvSpPr>
          <p:spPr>
            <a:xfrm>
              <a:off x="10011403" y="2928665"/>
              <a:ext cx="50666" cy="49987"/>
            </a:xfrm>
            <a:custGeom>
              <a:avLst/>
              <a:gdLst>
                <a:gd name="connsiteX0" fmla="*/ 50619 w 50666"/>
                <a:gd name="connsiteY0" fmla="*/ -49 h 49987"/>
                <a:gd name="connsiteX1" fmla="*/ -47 w 50666"/>
                <a:gd name="connsiteY1" fmla="*/ -49 h 49987"/>
                <a:gd name="connsiteX2" fmla="*/ -47 w 50666"/>
                <a:gd name="connsiteY2" fmla="*/ 49938 h 49987"/>
                <a:gd name="connsiteX3" fmla="*/ 50619 w 50666"/>
                <a:gd name="connsiteY3" fmla="*/ 49938 h 49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666" h="49987">
                  <a:moveTo>
                    <a:pt x="50619" y="-49"/>
                  </a:moveTo>
                  <a:lnTo>
                    <a:pt x="-47" y="-49"/>
                  </a:lnTo>
                  <a:lnTo>
                    <a:pt x="-47" y="49938"/>
                  </a:lnTo>
                  <a:lnTo>
                    <a:pt x="50619" y="49938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00" name="Gruppieren 399">
            <a:extLst>
              <a:ext uri="{FF2B5EF4-FFF2-40B4-BE49-F238E27FC236}">
                <a16:creationId xmlns:a16="http://schemas.microsoft.com/office/drawing/2014/main" id="{40A9E4B7-15B9-4465-863D-6BEAD0F21D2D}"/>
              </a:ext>
            </a:extLst>
          </p:cNvPr>
          <p:cNvGrpSpPr/>
          <p:nvPr/>
        </p:nvGrpSpPr>
        <p:grpSpPr>
          <a:xfrm>
            <a:off x="4544903" y="5093700"/>
            <a:ext cx="567882" cy="568042"/>
            <a:chOff x="4450919" y="2500034"/>
            <a:chExt cx="755851" cy="756064"/>
          </a:xfrm>
          <a:solidFill>
            <a:schemeClr val="bg1"/>
          </a:solidFill>
          <a:effectLst>
            <a:outerShdw blurRad="12700" dist="127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401" name="Grafik 81">
              <a:extLst>
                <a:ext uri="{FF2B5EF4-FFF2-40B4-BE49-F238E27FC236}">
                  <a16:creationId xmlns:a16="http://schemas.microsoft.com/office/drawing/2014/main" id="{836854FC-9C4D-4144-A6AC-291582D4FCBE}"/>
                </a:ext>
              </a:extLst>
            </p:cNvPr>
            <p:cNvGrpSpPr/>
            <p:nvPr/>
          </p:nvGrpSpPr>
          <p:grpSpPr>
            <a:xfrm>
              <a:off x="4450919" y="2500034"/>
              <a:ext cx="755851" cy="756064"/>
              <a:chOff x="4450919" y="2500034"/>
              <a:chExt cx="755851" cy="756064"/>
            </a:xfrm>
            <a:grpFill/>
          </p:grpSpPr>
          <p:sp>
            <p:nvSpPr>
              <p:cNvPr id="410" name="Freihandform: Form 409">
                <a:extLst>
                  <a:ext uri="{FF2B5EF4-FFF2-40B4-BE49-F238E27FC236}">
                    <a16:creationId xmlns:a16="http://schemas.microsoft.com/office/drawing/2014/main" id="{0B41FD43-E0AC-4CDE-838B-CA56E9A5B7B1}"/>
                  </a:ext>
                </a:extLst>
              </p:cNvPr>
              <p:cNvSpPr/>
              <p:nvPr/>
            </p:nvSpPr>
            <p:spPr>
              <a:xfrm>
                <a:off x="4450919" y="2500034"/>
                <a:ext cx="683499" cy="466270"/>
              </a:xfrm>
              <a:custGeom>
                <a:avLst/>
                <a:gdLst>
                  <a:gd name="connsiteX0" fmla="*/ 10573 w 683499"/>
                  <a:gd name="connsiteY0" fmla="*/ 466221 h 466270"/>
                  <a:gd name="connsiteX1" fmla="*/ 289109 w 683499"/>
                  <a:gd name="connsiteY1" fmla="*/ 10507 h 466270"/>
                  <a:gd name="connsiteX2" fmla="*/ 683449 w 683499"/>
                  <a:gd name="connsiteY2" fmla="*/ 155944 h 466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99" h="466270">
                    <a:moveTo>
                      <a:pt x="10573" y="466221"/>
                    </a:moveTo>
                    <a:cubicBezTo>
                      <a:pt x="-38354" y="263463"/>
                      <a:pt x="86351" y="59433"/>
                      <a:pt x="289109" y="10507"/>
                    </a:cubicBezTo>
                    <a:cubicBezTo>
                      <a:pt x="437882" y="-25393"/>
                      <a:pt x="593612" y="32042"/>
                      <a:pt x="683449" y="155944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411" name="Freihandform: Form 410">
                <a:extLst>
                  <a:ext uri="{FF2B5EF4-FFF2-40B4-BE49-F238E27FC236}">
                    <a16:creationId xmlns:a16="http://schemas.microsoft.com/office/drawing/2014/main" id="{7B205441-E9FF-4B44-8736-BA81F444C0D3}"/>
                  </a:ext>
                </a:extLst>
              </p:cNvPr>
              <p:cNvSpPr/>
              <p:nvPr/>
            </p:nvSpPr>
            <p:spPr>
              <a:xfrm>
                <a:off x="5082310" y="2617539"/>
                <a:ext cx="89068" cy="101502"/>
              </a:xfrm>
              <a:custGeom>
                <a:avLst/>
                <a:gdLst>
                  <a:gd name="connsiteX0" fmla="*/ 0 w 89068"/>
                  <a:gd name="connsiteY0" fmla="*/ 52788 h 101502"/>
                  <a:gd name="connsiteX1" fmla="*/ 89069 w 89068"/>
                  <a:gd name="connsiteY1" fmla="*/ 101502 h 101502"/>
                  <a:gd name="connsiteX2" fmla="*/ 86735 w 89068"/>
                  <a:gd name="connsiteY2" fmla="*/ 0 h 101502"/>
                  <a:gd name="connsiteX3" fmla="*/ 0 w 89068"/>
                  <a:gd name="connsiteY3" fmla="*/ 52788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0" y="52788"/>
                    </a:moveTo>
                    <a:lnTo>
                      <a:pt x="89069" y="101502"/>
                    </a:lnTo>
                    <a:lnTo>
                      <a:pt x="86735" y="0"/>
                    </a:lnTo>
                    <a:lnTo>
                      <a:pt x="0" y="52788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12" name="Freihandform: Form 411">
                <a:extLst>
                  <a:ext uri="{FF2B5EF4-FFF2-40B4-BE49-F238E27FC236}">
                    <a16:creationId xmlns:a16="http://schemas.microsoft.com/office/drawing/2014/main" id="{62F07C58-811D-4E02-AC53-3E52DEE7DD30}"/>
                  </a:ext>
                </a:extLst>
              </p:cNvPr>
              <p:cNvSpPr/>
              <p:nvPr/>
            </p:nvSpPr>
            <p:spPr>
              <a:xfrm>
                <a:off x="4523327" y="2790415"/>
                <a:ext cx="683443" cy="465683"/>
              </a:xfrm>
              <a:custGeom>
                <a:avLst/>
                <a:gdLst>
                  <a:gd name="connsiteX0" fmla="*/ 672909 w 683443"/>
                  <a:gd name="connsiteY0" fmla="*/ -49 h 465683"/>
                  <a:gd name="connsiteX1" fmla="*/ 393646 w 683443"/>
                  <a:gd name="connsiteY1" fmla="*/ 455220 h 465683"/>
                  <a:gd name="connsiteX2" fmla="*/ -51 w 683443"/>
                  <a:gd name="connsiteY2" fmla="*/ 309719 h 465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43" h="465683">
                    <a:moveTo>
                      <a:pt x="672909" y="-49"/>
                    </a:moveTo>
                    <a:cubicBezTo>
                      <a:pt x="721512" y="202786"/>
                      <a:pt x="596481" y="406617"/>
                      <a:pt x="393646" y="455220"/>
                    </a:cubicBezTo>
                    <a:cubicBezTo>
                      <a:pt x="245063" y="490822"/>
                      <a:pt x="89667" y="433392"/>
                      <a:pt x="-51" y="309719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413" name="Freihandform: Form 412">
                <a:extLst>
                  <a:ext uri="{FF2B5EF4-FFF2-40B4-BE49-F238E27FC236}">
                    <a16:creationId xmlns:a16="http://schemas.microsoft.com/office/drawing/2014/main" id="{AFF28637-EEC0-43BE-8FB4-E107E57DBA51}"/>
                  </a:ext>
                </a:extLst>
              </p:cNvPr>
              <p:cNvSpPr/>
              <p:nvPr/>
            </p:nvSpPr>
            <p:spPr>
              <a:xfrm>
                <a:off x="4486367" y="3037254"/>
                <a:ext cx="89068" cy="101502"/>
              </a:xfrm>
              <a:custGeom>
                <a:avLst/>
                <a:gdLst>
                  <a:gd name="connsiteX0" fmla="*/ 89069 w 89068"/>
                  <a:gd name="connsiteY0" fmla="*/ 48714 h 101502"/>
                  <a:gd name="connsiteX1" fmla="*/ 0 w 89068"/>
                  <a:gd name="connsiteY1" fmla="*/ 0 h 101502"/>
                  <a:gd name="connsiteX2" fmla="*/ 2334 w 89068"/>
                  <a:gd name="connsiteY2" fmla="*/ 101502 h 101502"/>
                  <a:gd name="connsiteX3" fmla="*/ 89069 w 89068"/>
                  <a:gd name="connsiteY3" fmla="*/ 48714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89069" y="48714"/>
                    </a:moveTo>
                    <a:lnTo>
                      <a:pt x="0" y="0"/>
                    </a:lnTo>
                    <a:lnTo>
                      <a:pt x="2334" y="101502"/>
                    </a:lnTo>
                    <a:lnTo>
                      <a:pt x="89069" y="48714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402" name="Freihandform: Form 401">
              <a:extLst>
                <a:ext uri="{FF2B5EF4-FFF2-40B4-BE49-F238E27FC236}">
                  <a16:creationId xmlns:a16="http://schemas.microsoft.com/office/drawing/2014/main" id="{4508CBEC-00D6-4BB3-BB50-B5AFC093CA0B}"/>
                </a:ext>
              </a:extLst>
            </p:cNvPr>
            <p:cNvSpPr/>
            <p:nvPr/>
          </p:nvSpPr>
          <p:spPr>
            <a:xfrm>
              <a:off x="5082310" y="2617539"/>
              <a:ext cx="89068" cy="101502"/>
            </a:xfrm>
            <a:custGeom>
              <a:avLst/>
              <a:gdLst>
                <a:gd name="connsiteX0" fmla="*/ 0 w 89068"/>
                <a:gd name="connsiteY0" fmla="*/ 52788 h 101502"/>
                <a:gd name="connsiteX1" fmla="*/ 89069 w 89068"/>
                <a:gd name="connsiteY1" fmla="*/ 101502 h 101502"/>
                <a:gd name="connsiteX2" fmla="*/ 86735 w 89068"/>
                <a:gd name="connsiteY2" fmla="*/ 0 h 101502"/>
                <a:gd name="connsiteX3" fmla="*/ 0 w 89068"/>
                <a:gd name="connsiteY3" fmla="*/ 52788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0" y="52788"/>
                  </a:moveTo>
                  <a:lnTo>
                    <a:pt x="89069" y="101502"/>
                  </a:lnTo>
                  <a:lnTo>
                    <a:pt x="86735" y="0"/>
                  </a:lnTo>
                  <a:lnTo>
                    <a:pt x="0" y="52788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3" name="Freihandform: Form 402">
              <a:extLst>
                <a:ext uri="{FF2B5EF4-FFF2-40B4-BE49-F238E27FC236}">
                  <a16:creationId xmlns:a16="http://schemas.microsoft.com/office/drawing/2014/main" id="{B61C7397-C64A-4B75-8EA8-F0AB5CF9C202}"/>
                </a:ext>
              </a:extLst>
            </p:cNvPr>
            <p:cNvSpPr/>
            <p:nvPr/>
          </p:nvSpPr>
          <p:spPr>
            <a:xfrm>
              <a:off x="4486367" y="3037254"/>
              <a:ext cx="89068" cy="101502"/>
            </a:xfrm>
            <a:custGeom>
              <a:avLst/>
              <a:gdLst>
                <a:gd name="connsiteX0" fmla="*/ 89069 w 89068"/>
                <a:gd name="connsiteY0" fmla="*/ 48714 h 101502"/>
                <a:gd name="connsiteX1" fmla="*/ 0 w 89068"/>
                <a:gd name="connsiteY1" fmla="*/ 0 h 101502"/>
                <a:gd name="connsiteX2" fmla="*/ 2334 w 89068"/>
                <a:gd name="connsiteY2" fmla="*/ 101502 h 101502"/>
                <a:gd name="connsiteX3" fmla="*/ 89069 w 89068"/>
                <a:gd name="connsiteY3" fmla="*/ 48714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89069" y="48714"/>
                  </a:moveTo>
                  <a:lnTo>
                    <a:pt x="0" y="0"/>
                  </a:lnTo>
                  <a:lnTo>
                    <a:pt x="2334" y="101502"/>
                  </a:lnTo>
                  <a:lnTo>
                    <a:pt x="89069" y="48714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4" name="Freihandform: Form 403">
              <a:extLst>
                <a:ext uri="{FF2B5EF4-FFF2-40B4-BE49-F238E27FC236}">
                  <a16:creationId xmlns:a16="http://schemas.microsoft.com/office/drawing/2014/main" id="{50B42739-B254-4F79-87AE-4849B5BC8B59}"/>
                </a:ext>
              </a:extLst>
            </p:cNvPr>
            <p:cNvSpPr/>
            <p:nvPr/>
          </p:nvSpPr>
          <p:spPr>
            <a:xfrm>
              <a:off x="4837593" y="2793854"/>
              <a:ext cx="275970" cy="344562"/>
            </a:xfrm>
            <a:custGeom>
              <a:avLst/>
              <a:gdLst>
                <a:gd name="connsiteX0" fmla="*/ 237324 w 275970"/>
                <a:gd name="connsiteY0" fmla="*/ 14632 h 344562"/>
                <a:gd name="connsiteX1" fmla="*/ 208681 w 275970"/>
                <a:gd name="connsiteY1" fmla="*/ 113758 h 344562"/>
                <a:gd name="connsiteX2" fmla="*/ 140278 w 275970"/>
                <a:gd name="connsiteY2" fmla="*/ 162811 h 344562"/>
                <a:gd name="connsiteX3" fmla="*/ 127760 w 275970"/>
                <a:gd name="connsiteY3" fmla="*/ 159162 h 344562"/>
                <a:gd name="connsiteX4" fmla="*/ 165950 w 275970"/>
                <a:gd name="connsiteY4" fmla="*/ 132004 h 344562"/>
                <a:gd name="connsiteX5" fmla="*/ 157124 w 275970"/>
                <a:gd name="connsiteY5" fmla="*/ 92116 h 344562"/>
                <a:gd name="connsiteX6" fmla="*/ 66612 w 275970"/>
                <a:gd name="connsiteY6" fmla="*/ 131537 h 344562"/>
                <a:gd name="connsiteX7" fmla="*/ 51464 w 275970"/>
                <a:gd name="connsiteY7" fmla="*/ 217721 h 344562"/>
                <a:gd name="connsiteX8" fmla="*/ -51 w 275970"/>
                <a:gd name="connsiteY8" fmla="*/ 344514 h 344562"/>
                <a:gd name="connsiteX9" fmla="*/ 136077 w 275970"/>
                <a:gd name="connsiteY9" fmla="*/ 298473 h 344562"/>
                <a:gd name="connsiteX10" fmla="*/ 142994 w 275970"/>
                <a:gd name="connsiteY10" fmla="*/ 239490 h 344562"/>
                <a:gd name="connsiteX11" fmla="*/ 233293 w 275970"/>
                <a:gd name="connsiteY11" fmla="*/ 169473 h 344562"/>
                <a:gd name="connsiteX12" fmla="*/ 274878 w 275970"/>
                <a:gd name="connsiteY12" fmla="*/ 25495 h 344562"/>
                <a:gd name="connsiteX13" fmla="*/ 237324 w 275970"/>
                <a:gd name="connsiteY13" fmla="*/ 14632 h 34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0" h="344562">
                  <a:moveTo>
                    <a:pt x="237324" y="14632"/>
                  </a:moveTo>
                  <a:cubicBezTo>
                    <a:pt x="230874" y="33133"/>
                    <a:pt x="214410" y="101834"/>
                    <a:pt x="208681" y="113758"/>
                  </a:cubicBezTo>
                  <a:cubicBezTo>
                    <a:pt x="202953" y="125682"/>
                    <a:pt x="153984" y="154494"/>
                    <a:pt x="140278" y="162811"/>
                  </a:cubicBezTo>
                  <a:cubicBezTo>
                    <a:pt x="126572" y="171128"/>
                    <a:pt x="127760" y="159162"/>
                    <a:pt x="127760" y="159162"/>
                  </a:cubicBezTo>
                  <a:cubicBezTo>
                    <a:pt x="139453" y="148733"/>
                    <a:pt x="152260" y="139625"/>
                    <a:pt x="165950" y="132004"/>
                  </a:cubicBezTo>
                  <a:cubicBezTo>
                    <a:pt x="184494" y="122626"/>
                    <a:pt x="166375" y="91395"/>
                    <a:pt x="157124" y="92116"/>
                  </a:cubicBezTo>
                  <a:cubicBezTo>
                    <a:pt x="147874" y="92838"/>
                    <a:pt x="77221" y="122160"/>
                    <a:pt x="66612" y="131537"/>
                  </a:cubicBezTo>
                  <a:cubicBezTo>
                    <a:pt x="56004" y="140915"/>
                    <a:pt x="51464" y="217721"/>
                    <a:pt x="51464" y="217721"/>
                  </a:cubicBezTo>
                  <a:lnTo>
                    <a:pt x="-51" y="344514"/>
                  </a:lnTo>
                  <a:cubicBezTo>
                    <a:pt x="56046" y="342689"/>
                    <a:pt x="91139" y="326097"/>
                    <a:pt x="136077" y="298473"/>
                  </a:cubicBezTo>
                  <a:cubicBezTo>
                    <a:pt x="138071" y="272588"/>
                    <a:pt x="140787" y="242630"/>
                    <a:pt x="142994" y="239490"/>
                  </a:cubicBezTo>
                  <a:cubicBezTo>
                    <a:pt x="146855" y="233803"/>
                    <a:pt x="219375" y="186914"/>
                    <a:pt x="233293" y="169473"/>
                  </a:cubicBezTo>
                  <a:cubicBezTo>
                    <a:pt x="247211" y="152033"/>
                    <a:pt x="267028" y="60545"/>
                    <a:pt x="274878" y="25495"/>
                  </a:cubicBezTo>
                  <a:cubicBezTo>
                    <a:pt x="282729" y="-9556"/>
                    <a:pt x="243817" y="-3827"/>
                    <a:pt x="237324" y="14632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5" name="Freihandform: Form 404">
              <a:extLst>
                <a:ext uri="{FF2B5EF4-FFF2-40B4-BE49-F238E27FC236}">
                  <a16:creationId xmlns:a16="http://schemas.microsoft.com/office/drawing/2014/main" id="{ED73A478-4011-419C-9D69-60E430D55ED1}"/>
                </a:ext>
              </a:extLst>
            </p:cNvPr>
            <p:cNvSpPr/>
            <p:nvPr/>
          </p:nvSpPr>
          <p:spPr>
            <a:xfrm>
              <a:off x="4837593" y="2793854"/>
              <a:ext cx="275970" cy="344562"/>
            </a:xfrm>
            <a:custGeom>
              <a:avLst/>
              <a:gdLst>
                <a:gd name="connsiteX0" fmla="*/ 237324 w 275970"/>
                <a:gd name="connsiteY0" fmla="*/ 14632 h 344562"/>
                <a:gd name="connsiteX1" fmla="*/ 208681 w 275970"/>
                <a:gd name="connsiteY1" fmla="*/ 113758 h 344562"/>
                <a:gd name="connsiteX2" fmla="*/ 140278 w 275970"/>
                <a:gd name="connsiteY2" fmla="*/ 162811 h 344562"/>
                <a:gd name="connsiteX3" fmla="*/ 127760 w 275970"/>
                <a:gd name="connsiteY3" fmla="*/ 159162 h 344562"/>
                <a:gd name="connsiteX4" fmla="*/ 165950 w 275970"/>
                <a:gd name="connsiteY4" fmla="*/ 132004 h 344562"/>
                <a:gd name="connsiteX5" fmla="*/ 157124 w 275970"/>
                <a:gd name="connsiteY5" fmla="*/ 92116 h 344562"/>
                <a:gd name="connsiteX6" fmla="*/ 66612 w 275970"/>
                <a:gd name="connsiteY6" fmla="*/ 131537 h 344562"/>
                <a:gd name="connsiteX7" fmla="*/ 51464 w 275970"/>
                <a:gd name="connsiteY7" fmla="*/ 217721 h 344562"/>
                <a:gd name="connsiteX8" fmla="*/ -51 w 275970"/>
                <a:gd name="connsiteY8" fmla="*/ 344514 h 344562"/>
                <a:gd name="connsiteX9" fmla="*/ 136077 w 275970"/>
                <a:gd name="connsiteY9" fmla="*/ 298473 h 344562"/>
                <a:gd name="connsiteX10" fmla="*/ 142994 w 275970"/>
                <a:gd name="connsiteY10" fmla="*/ 239490 h 344562"/>
                <a:gd name="connsiteX11" fmla="*/ 233293 w 275970"/>
                <a:gd name="connsiteY11" fmla="*/ 169473 h 344562"/>
                <a:gd name="connsiteX12" fmla="*/ 274878 w 275970"/>
                <a:gd name="connsiteY12" fmla="*/ 25495 h 344562"/>
                <a:gd name="connsiteX13" fmla="*/ 237324 w 275970"/>
                <a:gd name="connsiteY13" fmla="*/ 14632 h 34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0" h="344562">
                  <a:moveTo>
                    <a:pt x="237324" y="14632"/>
                  </a:moveTo>
                  <a:cubicBezTo>
                    <a:pt x="230874" y="33133"/>
                    <a:pt x="214410" y="101834"/>
                    <a:pt x="208681" y="113758"/>
                  </a:cubicBezTo>
                  <a:cubicBezTo>
                    <a:pt x="202953" y="125682"/>
                    <a:pt x="153984" y="154494"/>
                    <a:pt x="140278" y="162811"/>
                  </a:cubicBezTo>
                  <a:cubicBezTo>
                    <a:pt x="126572" y="171128"/>
                    <a:pt x="127760" y="159162"/>
                    <a:pt x="127760" y="159162"/>
                  </a:cubicBezTo>
                  <a:cubicBezTo>
                    <a:pt x="139453" y="148733"/>
                    <a:pt x="152260" y="139625"/>
                    <a:pt x="165950" y="132004"/>
                  </a:cubicBezTo>
                  <a:cubicBezTo>
                    <a:pt x="184494" y="122626"/>
                    <a:pt x="166375" y="91395"/>
                    <a:pt x="157124" y="92116"/>
                  </a:cubicBezTo>
                  <a:cubicBezTo>
                    <a:pt x="147874" y="92838"/>
                    <a:pt x="77221" y="122160"/>
                    <a:pt x="66612" y="131537"/>
                  </a:cubicBezTo>
                  <a:cubicBezTo>
                    <a:pt x="56004" y="140915"/>
                    <a:pt x="51464" y="217721"/>
                    <a:pt x="51464" y="217721"/>
                  </a:cubicBezTo>
                  <a:lnTo>
                    <a:pt x="-51" y="344514"/>
                  </a:lnTo>
                  <a:cubicBezTo>
                    <a:pt x="56046" y="342689"/>
                    <a:pt x="91139" y="326097"/>
                    <a:pt x="136077" y="298473"/>
                  </a:cubicBezTo>
                  <a:cubicBezTo>
                    <a:pt x="138071" y="272588"/>
                    <a:pt x="140787" y="242630"/>
                    <a:pt x="142994" y="239490"/>
                  </a:cubicBezTo>
                  <a:cubicBezTo>
                    <a:pt x="146855" y="233803"/>
                    <a:pt x="219375" y="186914"/>
                    <a:pt x="233293" y="169473"/>
                  </a:cubicBezTo>
                  <a:cubicBezTo>
                    <a:pt x="247211" y="152033"/>
                    <a:pt x="267028" y="60545"/>
                    <a:pt x="274878" y="25495"/>
                  </a:cubicBezTo>
                  <a:cubicBezTo>
                    <a:pt x="282729" y="-9556"/>
                    <a:pt x="243817" y="-3827"/>
                    <a:pt x="237324" y="14632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6" name="Freihandform: Form 405">
              <a:extLst>
                <a:ext uri="{FF2B5EF4-FFF2-40B4-BE49-F238E27FC236}">
                  <a16:creationId xmlns:a16="http://schemas.microsoft.com/office/drawing/2014/main" id="{587FF637-C083-4AEA-8618-0E5C648F7ACD}"/>
                </a:ext>
              </a:extLst>
            </p:cNvPr>
            <p:cNvSpPr/>
            <p:nvPr/>
          </p:nvSpPr>
          <p:spPr>
            <a:xfrm>
              <a:off x="4547576" y="2795322"/>
              <a:ext cx="282717" cy="343136"/>
            </a:xfrm>
            <a:custGeom>
              <a:avLst/>
              <a:gdLst>
                <a:gd name="connsiteX0" fmla="*/ 209510 w 282717"/>
                <a:gd name="connsiteY0" fmla="*/ 131554 h 343136"/>
                <a:gd name="connsiteX1" fmla="*/ 118999 w 282717"/>
                <a:gd name="connsiteY1" fmla="*/ 92133 h 343136"/>
                <a:gd name="connsiteX2" fmla="*/ 110172 w 282717"/>
                <a:gd name="connsiteY2" fmla="*/ 132021 h 343136"/>
                <a:gd name="connsiteX3" fmla="*/ 148363 w 282717"/>
                <a:gd name="connsiteY3" fmla="*/ 159179 h 343136"/>
                <a:gd name="connsiteX4" fmla="*/ 135633 w 282717"/>
                <a:gd name="connsiteY4" fmla="*/ 162828 h 343136"/>
                <a:gd name="connsiteX5" fmla="*/ 67187 w 282717"/>
                <a:gd name="connsiteY5" fmla="*/ 113774 h 343136"/>
                <a:gd name="connsiteX6" fmla="*/ 38544 w 282717"/>
                <a:gd name="connsiteY6" fmla="*/ 14649 h 343136"/>
                <a:gd name="connsiteX7" fmla="*/ 990 w 282717"/>
                <a:gd name="connsiteY7" fmla="*/ 25512 h 343136"/>
                <a:gd name="connsiteX8" fmla="*/ 42618 w 282717"/>
                <a:gd name="connsiteY8" fmla="*/ 169490 h 343136"/>
                <a:gd name="connsiteX9" fmla="*/ 132917 w 282717"/>
                <a:gd name="connsiteY9" fmla="*/ 239506 h 343136"/>
                <a:gd name="connsiteX10" fmla="*/ 151121 w 282717"/>
                <a:gd name="connsiteY10" fmla="*/ 304515 h 343136"/>
                <a:gd name="connsiteX11" fmla="*/ 282667 w 282717"/>
                <a:gd name="connsiteY11" fmla="*/ 343087 h 343136"/>
                <a:gd name="connsiteX12" fmla="*/ 225508 w 282717"/>
                <a:gd name="connsiteY12" fmla="*/ 215786 h 343136"/>
                <a:gd name="connsiteX13" fmla="*/ 209510 w 282717"/>
                <a:gd name="connsiteY13" fmla="*/ 131554 h 343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82717" h="343136">
                  <a:moveTo>
                    <a:pt x="209510" y="131554"/>
                  </a:moveTo>
                  <a:cubicBezTo>
                    <a:pt x="198902" y="122176"/>
                    <a:pt x="128249" y="92854"/>
                    <a:pt x="118999" y="92133"/>
                  </a:cubicBezTo>
                  <a:cubicBezTo>
                    <a:pt x="109748" y="91412"/>
                    <a:pt x="91629" y="122643"/>
                    <a:pt x="110172" y="132021"/>
                  </a:cubicBezTo>
                  <a:cubicBezTo>
                    <a:pt x="123855" y="139654"/>
                    <a:pt x="136661" y="148761"/>
                    <a:pt x="148363" y="159179"/>
                  </a:cubicBezTo>
                  <a:cubicBezTo>
                    <a:pt x="148363" y="159179"/>
                    <a:pt x="149551" y="171145"/>
                    <a:pt x="135633" y="162828"/>
                  </a:cubicBezTo>
                  <a:cubicBezTo>
                    <a:pt x="121714" y="154511"/>
                    <a:pt x="72915" y="125698"/>
                    <a:pt x="67187" y="113774"/>
                  </a:cubicBezTo>
                  <a:cubicBezTo>
                    <a:pt x="61458" y="101850"/>
                    <a:pt x="45036" y="33150"/>
                    <a:pt x="38544" y="14649"/>
                  </a:cubicBezTo>
                  <a:cubicBezTo>
                    <a:pt x="32051" y="-3853"/>
                    <a:pt x="-6860" y="-9539"/>
                    <a:pt x="990" y="25512"/>
                  </a:cubicBezTo>
                  <a:cubicBezTo>
                    <a:pt x="8840" y="60562"/>
                    <a:pt x="28529" y="152092"/>
                    <a:pt x="42618" y="169490"/>
                  </a:cubicBezTo>
                  <a:cubicBezTo>
                    <a:pt x="56706" y="186888"/>
                    <a:pt x="129013" y="233820"/>
                    <a:pt x="132917" y="239506"/>
                  </a:cubicBezTo>
                  <a:cubicBezTo>
                    <a:pt x="136015" y="243962"/>
                    <a:pt x="146751" y="286778"/>
                    <a:pt x="151121" y="304515"/>
                  </a:cubicBezTo>
                  <a:cubicBezTo>
                    <a:pt x="193555" y="328320"/>
                    <a:pt x="231194" y="341220"/>
                    <a:pt x="282667" y="343087"/>
                  </a:cubicBezTo>
                  <a:lnTo>
                    <a:pt x="225508" y="215786"/>
                  </a:lnTo>
                  <a:cubicBezTo>
                    <a:pt x="225508" y="215786"/>
                    <a:pt x="220119" y="140932"/>
                    <a:pt x="209510" y="131554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7" name="Freihandform: Form 406">
              <a:extLst>
                <a:ext uri="{FF2B5EF4-FFF2-40B4-BE49-F238E27FC236}">
                  <a16:creationId xmlns:a16="http://schemas.microsoft.com/office/drawing/2014/main" id="{220BA740-9450-4000-A4DB-100C7BBD531B}"/>
                </a:ext>
              </a:extLst>
            </p:cNvPr>
            <p:cNvSpPr/>
            <p:nvPr/>
          </p:nvSpPr>
          <p:spPr>
            <a:xfrm>
              <a:off x="4547576" y="2795322"/>
              <a:ext cx="282717" cy="343136"/>
            </a:xfrm>
            <a:custGeom>
              <a:avLst/>
              <a:gdLst>
                <a:gd name="connsiteX0" fmla="*/ 209510 w 282717"/>
                <a:gd name="connsiteY0" fmla="*/ 131554 h 343136"/>
                <a:gd name="connsiteX1" fmla="*/ 118999 w 282717"/>
                <a:gd name="connsiteY1" fmla="*/ 92133 h 343136"/>
                <a:gd name="connsiteX2" fmla="*/ 110172 w 282717"/>
                <a:gd name="connsiteY2" fmla="*/ 132021 h 343136"/>
                <a:gd name="connsiteX3" fmla="*/ 148363 w 282717"/>
                <a:gd name="connsiteY3" fmla="*/ 159179 h 343136"/>
                <a:gd name="connsiteX4" fmla="*/ 135633 w 282717"/>
                <a:gd name="connsiteY4" fmla="*/ 162828 h 343136"/>
                <a:gd name="connsiteX5" fmla="*/ 67187 w 282717"/>
                <a:gd name="connsiteY5" fmla="*/ 113774 h 343136"/>
                <a:gd name="connsiteX6" fmla="*/ 38544 w 282717"/>
                <a:gd name="connsiteY6" fmla="*/ 14649 h 343136"/>
                <a:gd name="connsiteX7" fmla="*/ 990 w 282717"/>
                <a:gd name="connsiteY7" fmla="*/ 25512 h 343136"/>
                <a:gd name="connsiteX8" fmla="*/ 42618 w 282717"/>
                <a:gd name="connsiteY8" fmla="*/ 169490 h 343136"/>
                <a:gd name="connsiteX9" fmla="*/ 132917 w 282717"/>
                <a:gd name="connsiteY9" fmla="*/ 239506 h 343136"/>
                <a:gd name="connsiteX10" fmla="*/ 151121 w 282717"/>
                <a:gd name="connsiteY10" fmla="*/ 304515 h 343136"/>
                <a:gd name="connsiteX11" fmla="*/ 282667 w 282717"/>
                <a:gd name="connsiteY11" fmla="*/ 343087 h 343136"/>
                <a:gd name="connsiteX12" fmla="*/ 225508 w 282717"/>
                <a:gd name="connsiteY12" fmla="*/ 215786 h 343136"/>
                <a:gd name="connsiteX13" fmla="*/ 209510 w 282717"/>
                <a:gd name="connsiteY13" fmla="*/ 131554 h 343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82717" h="343136">
                  <a:moveTo>
                    <a:pt x="209510" y="131554"/>
                  </a:moveTo>
                  <a:cubicBezTo>
                    <a:pt x="198902" y="122176"/>
                    <a:pt x="128249" y="92854"/>
                    <a:pt x="118999" y="92133"/>
                  </a:cubicBezTo>
                  <a:cubicBezTo>
                    <a:pt x="109748" y="91412"/>
                    <a:pt x="91629" y="122643"/>
                    <a:pt x="110172" y="132021"/>
                  </a:cubicBezTo>
                  <a:cubicBezTo>
                    <a:pt x="123855" y="139654"/>
                    <a:pt x="136661" y="148761"/>
                    <a:pt x="148363" y="159179"/>
                  </a:cubicBezTo>
                  <a:cubicBezTo>
                    <a:pt x="148363" y="159179"/>
                    <a:pt x="149551" y="171145"/>
                    <a:pt x="135633" y="162828"/>
                  </a:cubicBezTo>
                  <a:cubicBezTo>
                    <a:pt x="121714" y="154511"/>
                    <a:pt x="72915" y="125698"/>
                    <a:pt x="67187" y="113774"/>
                  </a:cubicBezTo>
                  <a:cubicBezTo>
                    <a:pt x="61458" y="101850"/>
                    <a:pt x="45036" y="33150"/>
                    <a:pt x="38544" y="14649"/>
                  </a:cubicBezTo>
                  <a:cubicBezTo>
                    <a:pt x="32051" y="-3853"/>
                    <a:pt x="-6860" y="-9539"/>
                    <a:pt x="990" y="25512"/>
                  </a:cubicBezTo>
                  <a:cubicBezTo>
                    <a:pt x="8840" y="60562"/>
                    <a:pt x="28529" y="152092"/>
                    <a:pt x="42618" y="169490"/>
                  </a:cubicBezTo>
                  <a:cubicBezTo>
                    <a:pt x="56706" y="186888"/>
                    <a:pt x="129013" y="233820"/>
                    <a:pt x="132917" y="239506"/>
                  </a:cubicBezTo>
                  <a:cubicBezTo>
                    <a:pt x="136015" y="243962"/>
                    <a:pt x="146751" y="286778"/>
                    <a:pt x="151121" y="304515"/>
                  </a:cubicBezTo>
                  <a:cubicBezTo>
                    <a:pt x="193555" y="328320"/>
                    <a:pt x="231194" y="341220"/>
                    <a:pt x="282667" y="343087"/>
                  </a:cubicBezTo>
                  <a:lnTo>
                    <a:pt x="225508" y="215786"/>
                  </a:lnTo>
                  <a:cubicBezTo>
                    <a:pt x="225508" y="215786"/>
                    <a:pt x="220119" y="140932"/>
                    <a:pt x="209510" y="131554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8" name="Freihandform: Form 407">
              <a:extLst>
                <a:ext uri="{FF2B5EF4-FFF2-40B4-BE49-F238E27FC236}">
                  <a16:creationId xmlns:a16="http://schemas.microsoft.com/office/drawing/2014/main" id="{1C8221F1-8273-4F8D-9FAA-B4E15BC7F650}"/>
                </a:ext>
              </a:extLst>
            </p:cNvPr>
            <p:cNvSpPr/>
            <p:nvPr/>
          </p:nvSpPr>
          <p:spPr>
            <a:xfrm>
              <a:off x="4710333" y="2637738"/>
              <a:ext cx="240855" cy="240855"/>
            </a:xfrm>
            <a:custGeom>
              <a:avLst/>
              <a:gdLst>
                <a:gd name="connsiteX0" fmla="*/ 240804 w 240855"/>
                <a:gd name="connsiteY0" fmla="*/ 120421 h 240855"/>
                <a:gd name="connsiteX1" fmla="*/ 120419 w 240855"/>
                <a:gd name="connsiteY1" fmla="*/ -49 h 240855"/>
                <a:gd name="connsiteX2" fmla="*/ -51 w 240855"/>
                <a:gd name="connsiteY2" fmla="*/ 120336 h 240855"/>
                <a:gd name="connsiteX3" fmla="*/ 120334 w 240855"/>
                <a:gd name="connsiteY3" fmla="*/ 240806 h 240855"/>
                <a:gd name="connsiteX4" fmla="*/ 120376 w 240855"/>
                <a:gd name="connsiteY4" fmla="*/ 240806 h 240855"/>
                <a:gd name="connsiteX5" fmla="*/ 240804 w 240855"/>
                <a:gd name="connsiteY5" fmla="*/ 120421 h 240855"/>
                <a:gd name="connsiteX6" fmla="*/ 204523 w 240855"/>
                <a:gd name="connsiteY6" fmla="*/ 141383 h 240855"/>
                <a:gd name="connsiteX7" fmla="*/ 141339 w 240855"/>
                <a:gd name="connsiteY7" fmla="*/ 141383 h 240855"/>
                <a:gd name="connsiteX8" fmla="*/ 141339 w 240855"/>
                <a:gd name="connsiteY8" fmla="*/ 204525 h 240855"/>
                <a:gd name="connsiteX9" fmla="*/ 99456 w 240855"/>
                <a:gd name="connsiteY9" fmla="*/ 204525 h 240855"/>
                <a:gd name="connsiteX10" fmla="*/ 99456 w 240855"/>
                <a:gd name="connsiteY10" fmla="*/ 141383 h 240855"/>
                <a:gd name="connsiteX11" fmla="*/ 36272 w 240855"/>
                <a:gd name="connsiteY11" fmla="*/ 141383 h 240855"/>
                <a:gd name="connsiteX12" fmla="*/ 36272 w 240855"/>
                <a:gd name="connsiteY12" fmla="*/ 99628 h 240855"/>
                <a:gd name="connsiteX13" fmla="*/ 99456 w 240855"/>
                <a:gd name="connsiteY13" fmla="*/ 99628 h 240855"/>
                <a:gd name="connsiteX14" fmla="*/ 99456 w 240855"/>
                <a:gd name="connsiteY14" fmla="*/ 36317 h 240855"/>
                <a:gd name="connsiteX15" fmla="*/ 141339 w 240855"/>
                <a:gd name="connsiteY15" fmla="*/ 36317 h 240855"/>
                <a:gd name="connsiteX16" fmla="*/ 141339 w 240855"/>
                <a:gd name="connsiteY16" fmla="*/ 99628 h 240855"/>
                <a:gd name="connsiteX17" fmla="*/ 204523 w 240855"/>
                <a:gd name="connsiteY17" fmla="*/ 99628 h 240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0855" h="240855">
                  <a:moveTo>
                    <a:pt x="240804" y="120421"/>
                  </a:moveTo>
                  <a:cubicBezTo>
                    <a:pt x="240827" y="53911"/>
                    <a:pt x="186929" y="-26"/>
                    <a:pt x="120419" y="-49"/>
                  </a:cubicBezTo>
                  <a:cubicBezTo>
                    <a:pt x="53908" y="-73"/>
                    <a:pt x="-28" y="53826"/>
                    <a:pt x="-51" y="120336"/>
                  </a:cubicBezTo>
                  <a:cubicBezTo>
                    <a:pt x="-75" y="186846"/>
                    <a:pt x="53824" y="240783"/>
                    <a:pt x="120334" y="240806"/>
                  </a:cubicBezTo>
                  <a:cubicBezTo>
                    <a:pt x="120348" y="240806"/>
                    <a:pt x="120362" y="240806"/>
                    <a:pt x="120376" y="240806"/>
                  </a:cubicBezTo>
                  <a:cubicBezTo>
                    <a:pt x="186870" y="240806"/>
                    <a:pt x="240781" y="186915"/>
                    <a:pt x="240804" y="120421"/>
                  </a:cubicBezTo>
                  <a:close/>
                  <a:moveTo>
                    <a:pt x="204523" y="141383"/>
                  </a:moveTo>
                  <a:lnTo>
                    <a:pt x="141339" y="141383"/>
                  </a:lnTo>
                  <a:lnTo>
                    <a:pt x="141339" y="204525"/>
                  </a:lnTo>
                  <a:lnTo>
                    <a:pt x="99456" y="204525"/>
                  </a:lnTo>
                  <a:lnTo>
                    <a:pt x="99456" y="141383"/>
                  </a:lnTo>
                  <a:lnTo>
                    <a:pt x="36272" y="141383"/>
                  </a:lnTo>
                  <a:lnTo>
                    <a:pt x="36272" y="99628"/>
                  </a:lnTo>
                  <a:lnTo>
                    <a:pt x="99456" y="99628"/>
                  </a:lnTo>
                  <a:lnTo>
                    <a:pt x="99456" y="36317"/>
                  </a:lnTo>
                  <a:lnTo>
                    <a:pt x="141339" y="36317"/>
                  </a:lnTo>
                  <a:lnTo>
                    <a:pt x="141339" y="99628"/>
                  </a:lnTo>
                  <a:lnTo>
                    <a:pt x="204523" y="99628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9" name="Freihandform: Form 408">
              <a:extLst>
                <a:ext uri="{FF2B5EF4-FFF2-40B4-BE49-F238E27FC236}">
                  <a16:creationId xmlns:a16="http://schemas.microsoft.com/office/drawing/2014/main" id="{567A03C2-C5ED-41A6-89F3-68133732F6D1}"/>
                </a:ext>
              </a:extLst>
            </p:cNvPr>
            <p:cNvSpPr/>
            <p:nvPr/>
          </p:nvSpPr>
          <p:spPr>
            <a:xfrm>
              <a:off x="4710333" y="2637738"/>
              <a:ext cx="240855" cy="240855"/>
            </a:xfrm>
            <a:custGeom>
              <a:avLst/>
              <a:gdLst>
                <a:gd name="connsiteX0" fmla="*/ 240804 w 240855"/>
                <a:gd name="connsiteY0" fmla="*/ 120421 h 240855"/>
                <a:gd name="connsiteX1" fmla="*/ 120419 w 240855"/>
                <a:gd name="connsiteY1" fmla="*/ -49 h 240855"/>
                <a:gd name="connsiteX2" fmla="*/ -51 w 240855"/>
                <a:gd name="connsiteY2" fmla="*/ 120336 h 240855"/>
                <a:gd name="connsiteX3" fmla="*/ 120334 w 240855"/>
                <a:gd name="connsiteY3" fmla="*/ 240806 h 240855"/>
                <a:gd name="connsiteX4" fmla="*/ 120376 w 240855"/>
                <a:gd name="connsiteY4" fmla="*/ 240806 h 240855"/>
                <a:gd name="connsiteX5" fmla="*/ 240804 w 240855"/>
                <a:gd name="connsiteY5" fmla="*/ 120421 h 240855"/>
                <a:gd name="connsiteX6" fmla="*/ 204523 w 240855"/>
                <a:gd name="connsiteY6" fmla="*/ 141383 h 240855"/>
                <a:gd name="connsiteX7" fmla="*/ 141339 w 240855"/>
                <a:gd name="connsiteY7" fmla="*/ 141383 h 240855"/>
                <a:gd name="connsiteX8" fmla="*/ 141339 w 240855"/>
                <a:gd name="connsiteY8" fmla="*/ 204525 h 240855"/>
                <a:gd name="connsiteX9" fmla="*/ 99456 w 240855"/>
                <a:gd name="connsiteY9" fmla="*/ 204525 h 240855"/>
                <a:gd name="connsiteX10" fmla="*/ 99456 w 240855"/>
                <a:gd name="connsiteY10" fmla="*/ 141383 h 240855"/>
                <a:gd name="connsiteX11" fmla="*/ 36272 w 240855"/>
                <a:gd name="connsiteY11" fmla="*/ 141383 h 240855"/>
                <a:gd name="connsiteX12" fmla="*/ 36272 w 240855"/>
                <a:gd name="connsiteY12" fmla="*/ 99628 h 240855"/>
                <a:gd name="connsiteX13" fmla="*/ 99456 w 240855"/>
                <a:gd name="connsiteY13" fmla="*/ 99628 h 240855"/>
                <a:gd name="connsiteX14" fmla="*/ 99456 w 240855"/>
                <a:gd name="connsiteY14" fmla="*/ 36317 h 240855"/>
                <a:gd name="connsiteX15" fmla="*/ 141339 w 240855"/>
                <a:gd name="connsiteY15" fmla="*/ 36317 h 240855"/>
                <a:gd name="connsiteX16" fmla="*/ 141339 w 240855"/>
                <a:gd name="connsiteY16" fmla="*/ 99628 h 240855"/>
                <a:gd name="connsiteX17" fmla="*/ 204523 w 240855"/>
                <a:gd name="connsiteY17" fmla="*/ 99628 h 240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0855" h="240855">
                  <a:moveTo>
                    <a:pt x="240804" y="120421"/>
                  </a:moveTo>
                  <a:cubicBezTo>
                    <a:pt x="240827" y="53911"/>
                    <a:pt x="186929" y="-26"/>
                    <a:pt x="120419" y="-49"/>
                  </a:cubicBezTo>
                  <a:cubicBezTo>
                    <a:pt x="53908" y="-73"/>
                    <a:pt x="-28" y="53826"/>
                    <a:pt x="-51" y="120336"/>
                  </a:cubicBezTo>
                  <a:cubicBezTo>
                    <a:pt x="-75" y="186846"/>
                    <a:pt x="53824" y="240783"/>
                    <a:pt x="120334" y="240806"/>
                  </a:cubicBezTo>
                  <a:cubicBezTo>
                    <a:pt x="120348" y="240806"/>
                    <a:pt x="120362" y="240806"/>
                    <a:pt x="120376" y="240806"/>
                  </a:cubicBezTo>
                  <a:cubicBezTo>
                    <a:pt x="186870" y="240806"/>
                    <a:pt x="240781" y="186915"/>
                    <a:pt x="240804" y="120421"/>
                  </a:cubicBezTo>
                  <a:close/>
                  <a:moveTo>
                    <a:pt x="204523" y="141383"/>
                  </a:moveTo>
                  <a:lnTo>
                    <a:pt x="141339" y="141383"/>
                  </a:lnTo>
                  <a:lnTo>
                    <a:pt x="141339" y="204525"/>
                  </a:lnTo>
                  <a:lnTo>
                    <a:pt x="99456" y="204525"/>
                  </a:lnTo>
                  <a:lnTo>
                    <a:pt x="99456" y="141383"/>
                  </a:lnTo>
                  <a:lnTo>
                    <a:pt x="36272" y="141383"/>
                  </a:lnTo>
                  <a:lnTo>
                    <a:pt x="36272" y="99628"/>
                  </a:lnTo>
                  <a:lnTo>
                    <a:pt x="99456" y="99628"/>
                  </a:lnTo>
                  <a:lnTo>
                    <a:pt x="99456" y="36317"/>
                  </a:lnTo>
                  <a:lnTo>
                    <a:pt x="141339" y="36317"/>
                  </a:lnTo>
                  <a:lnTo>
                    <a:pt x="141339" y="99628"/>
                  </a:lnTo>
                  <a:lnTo>
                    <a:pt x="204523" y="99628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14" name="Gruppieren 413">
            <a:extLst>
              <a:ext uri="{FF2B5EF4-FFF2-40B4-BE49-F238E27FC236}">
                <a16:creationId xmlns:a16="http://schemas.microsoft.com/office/drawing/2014/main" id="{F39816A2-8779-4BAD-94D6-188A205A281B}"/>
              </a:ext>
            </a:extLst>
          </p:cNvPr>
          <p:cNvGrpSpPr/>
          <p:nvPr/>
        </p:nvGrpSpPr>
        <p:grpSpPr>
          <a:xfrm>
            <a:off x="7083134" y="5093733"/>
            <a:ext cx="567866" cy="567976"/>
            <a:chOff x="6989152" y="2500122"/>
            <a:chExt cx="755830" cy="755976"/>
          </a:xfrm>
          <a:solidFill>
            <a:schemeClr val="bg1"/>
          </a:solidFill>
          <a:effectLst>
            <a:outerShdw blurRad="12700" dist="127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415" name="Grafik 82">
              <a:extLst>
                <a:ext uri="{FF2B5EF4-FFF2-40B4-BE49-F238E27FC236}">
                  <a16:creationId xmlns:a16="http://schemas.microsoft.com/office/drawing/2014/main" id="{BF6ACDD3-7B94-4332-99AC-526E4BF64C8B}"/>
                </a:ext>
              </a:extLst>
            </p:cNvPr>
            <p:cNvGrpSpPr/>
            <p:nvPr/>
          </p:nvGrpSpPr>
          <p:grpSpPr>
            <a:xfrm>
              <a:off x="6989152" y="2500122"/>
              <a:ext cx="755830" cy="755976"/>
              <a:chOff x="6989152" y="2500122"/>
              <a:chExt cx="755830" cy="755976"/>
            </a:xfrm>
            <a:grpFill/>
          </p:grpSpPr>
          <p:sp>
            <p:nvSpPr>
              <p:cNvPr id="456" name="Freihandform: Form 455">
                <a:extLst>
                  <a:ext uri="{FF2B5EF4-FFF2-40B4-BE49-F238E27FC236}">
                    <a16:creationId xmlns:a16="http://schemas.microsoft.com/office/drawing/2014/main" id="{6E5C97EC-BA36-43B9-B49B-F3DBF3E356EB}"/>
                  </a:ext>
                </a:extLst>
              </p:cNvPr>
              <p:cNvSpPr/>
              <p:nvPr/>
            </p:nvSpPr>
            <p:spPr>
              <a:xfrm>
                <a:off x="6989152" y="2500122"/>
                <a:ext cx="683436" cy="466182"/>
              </a:xfrm>
              <a:custGeom>
                <a:avLst/>
                <a:gdLst>
                  <a:gd name="connsiteX0" fmla="*/ 10556 w 683436"/>
                  <a:gd name="connsiteY0" fmla="*/ 466133 h 466182"/>
                  <a:gd name="connsiteX1" fmla="*/ 289200 w 683436"/>
                  <a:gd name="connsiteY1" fmla="*/ 10485 h 466182"/>
                  <a:gd name="connsiteX2" fmla="*/ 683389 w 683436"/>
                  <a:gd name="connsiteY2" fmla="*/ 155856 h 466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36" h="466182">
                    <a:moveTo>
                      <a:pt x="10556" y="466133"/>
                    </a:moveTo>
                    <a:cubicBezTo>
                      <a:pt x="-38322" y="263364"/>
                      <a:pt x="86431" y="59364"/>
                      <a:pt x="289200" y="10485"/>
                    </a:cubicBezTo>
                    <a:cubicBezTo>
                      <a:pt x="437911" y="-25362"/>
                      <a:pt x="593560" y="32039"/>
                      <a:pt x="683389" y="155856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457" name="Freihandform: Form 456">
                <a:extLst>
                  <a:ext uri="{FF2B5EF4-FFF2-40B4-BE49-F238E27FC236}">
                    <a16:creationId xmlns:a16="http://schemas.microsoft.com/office/drawing/2014/main" id="{B54EEEAE-1A4E-4A4E-B238-1B57FA339A5F}"/>
                  </a:ext>
                </a:extLst>
              </p:cNvPr>
              <p:cNvSpPr/>
              <p:nvPr/>
            </p:nvSpPr>
            <p:spPr>
              <a:xfrm>
                <a:off x="7620522" y="2617539"/>
                <a:ext cx="89068" cy="101502"/>
              </a:xfrm>
              <a:custGeom>
                <a:avLst/>
                <a:gdLst>
                  <a:gd name="connsiteX0" fmla="*/ 0 w 89068"/>
                  <a:gd name="connsiteY0" fmla="*/ 52788 h 101502"/>
                  <a:gd name="connsiteX1" fmla="*/ 89069 w 89068"/>
                  <a:gd name="connsiteY1" fmla="*/ 101502 h 101502"/>
                  <a:gd name="connsiteX2" fmla="*/ 86735 w 89068"/>
                  <a:gd name="connsiteY2" fmla="*/ 0 h 101502"/>
                  <a:gd name="connsiteX3" fmla="*/ 0 w 89068"/>
                  <a:gd name="connsiteY3" fmla="*/ 52788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0" y="52788"/>
                    </a:moveTo>
                    <a:lnTo>
                      <a:pt x="89069" y="101502"/>
                    </a:lnTo>
                    <a:lnTo>
                      <a:pt x="86735" y="0"/>
                    </a:lnTo>
                    <a:lnTo>
                      <a:pt x="0" y="52788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58" name="Freihandform: Form 457">
                <a:extLst>
                  <a:ext uri="{FF2B5EF4-FFF2-40B4-BE49-F238E27FC236}">
                    <a16:creationId xmlns:a16="http://schemas.microsoft.com/office/drawing/2014/main" id="{17FEDF8B-7B16-4F32-8028-0339A5775731}"/>
                  </a:ext>
                </a:extLst>
              </p:cNvPr>
              <p:cNvSpPr/>
              <p:nvPr/>
            </p:nvSpPr>
            <p:spPr>
              <a:xfrm>
                <a:off x="7061539" y="2790415"/>
                <a:ext cx="683443" cy="465683"/>
              </a:xfrm>
              <a:custGeom>
                <a:avLst/>
                <a:gdLst>
                  <a:gd name="connsiteX0" fmla="*/ 672913 w 683443"/>
                  <a:gd name="connsiteY0" fmla="*/ -49 h 465683"/>
                  <a:gd name="connsiteX1" fmla="*/ 393650 w 683443"/>
                  <a:gd name="connsiteY1" fmla="*/ 455220 h 465683"/>
                  <a:gd name="connsiteX2" fmla="*/ -47 w 683443"/>
                  <a:gd name="connsiteY2" fmla="*/ 309719 h 465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43" h="465683">
                    <a:moveTo>
                      <a:pt x="672913" y="-49"/>
                    </a:moveTo>
                    <a:cubicBezTo>
                      <a:pt x="721516" y="202786"/>
                      <a:pt x="596485" y="406617"/>
                      <a:pt x="393650" y="455220"/>
                    </a:cubicBezTo>
                    <a:cubicBezTo>
                      <a:pt x="245067" y="490822"/>
                      <a:pt x="89671" y="433392"/>
                      <a:pt x="-47" y="309719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459" name="Freihandform: Form 458">
                <a:extLst>
                  <a:ext uri="{FF2B5EF4-FFF2-40B4-BE49-F238E27FC236}">
                    <a16:creationId xmlns:a16="http://schemas.microsoft.com/office/drawing/2014/main" id="{70532A5E-6D98-42A0-B8B5-875C9E711B4F}"/>
                  </a:ext>
                </a:extLst>
              </p:cNvPr>
              <p:cNvSpPr/>
              <p:nvPr/>
            </p:nvSpPr>
            <p:spPr>
              <a:xfrm>
                <a:off x="7024579" y="3037254"/>
                <a:ext cx="89068" cy="101502"/>
              </a:xfrm>
              <a:custGeom>
                <a:avLst/>
                <a:gdLst>
                  <a:gd name="connsiteX0" fmla="*/ 89069 w 89068"/>
                  <a:gd name="connsiteY0" fmla="*/ 48714 h 101502"/>
                  <a:gd name="connsiteX1" fmla="*/ 0 w 89068"/>
                  <a:gd name="connsiteY1" fmla="*/ 0 h 101502"/>
                  <a:gd name="connsiteX2" fmla="*/ 2334 w 89068"/>
                  <a:gd name="connsiteY2" fmla="*/ 101502 h 101502"/>
                  <a:gd name="connsiteX3" fmla="*/ 89069 w 89068"/>
                  <a:gd name="connsiteY3" fmla="*/ 48714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89069" y="48714"/>
                    </a:moveTo>
                    <a:lnTo>
                      <a:pt x="0" y="0"/>
                    </a:lnTo>
                    <a:lnTo>
                      <a:pt x="2334" y="101502"/>
                    </a:lnTo>
                    <a:lnTo>
                      <a:pt x="89069" y="48714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416" name="Freihandform: Form 415">
              <a:extLst>
                <a:ext uri="{FF2B5EF4-FFF2-40B4-BE49-F238E27FC236}">
                  <a16:creationId xmlns:a16="http://schemas.microsoft.com/office/drawing/2014/main" id="{794EDAFB-FBD8-44DE-9FD0-DADD766B267A}"/>
                </a:ext>
              </a:extLst>
            </p:cNvPr>
            <p:cNvSpPr/>
            <p:nvPr/>
          </p:nvSpPr>
          <p:spPr>
            <a:xfrm>
              <a:off x="7620522" y="2617539"/>
              <a:ext cx="89068" cy="101502"/>
            </a:xfrm>
            <a:custGeom>
              <a:avLst/>
              <a:gdLst>
                <a:gd name="connsiteX0" fmla="*/ 0 w 89068"/>
                <a:gd name="connsiteY0" fmla="*/ 52788 h 101502"/>
                <a:gd name="connsiteX1" fmla="*/ 89069 w 89068"/>
                <a:gd name="connsiteY1" fmla="*/ 101502 h 101502"/>
                <a:gd name="connsiteX2" fmla="*/ 86735 w 89068"/>
                <a:gd name="connsiteY2" fmla="*/ 0 h 101502"/>
                <a:gd name="connsiteX3" fmla="*/ 0 w 89068"/>
                <a:gd name="connsiteY3" fmla="*/ 52788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0" y="52788"/>
                  </a:moveTo>
                  <a:lnTo>
                    <a:pt x="89069" y="101502"/>
                  </a:lnTo>
                  <a:lnTo>
                    <a:pt x="86735" y="0"/>
                  </a:lnTo>
                  <a:lnTo>
                    <a:pt x="0" y="52788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7" name="Freihandform: Form 416">
              <a:extLst>
                <a:ext uri="{FF2B5EF4-FFF2-40B4-BE49-F238E27FC236}">
                  <a16:creationId xmlns:a16="http://schemas.microsoft.com/office/drawing/2014/main" id="{51243304-2D6F-4DEF-A7B9-C1EB6AF8D033}"/>
                </a:ext>
              </a:extLst>
            </p:cNvPr>
            <p:cNvSpPr/>
            <p:nvPr/>
          </p:nvSpPr>
          <p:spPr>
            <a:xfrm>
              <a:off x="7024579" y="3037254"/>
              <a:ext cx="89068" cy="101502"/>
            </a:xfrm>
            <a:custGeom>
              <a:avLst/>
              <a:gdLst>
                <a:gd name="connsiteX0" fmla="*/ 89069 w 89068"/>
                <a:gd name="connsiteY0" fmla="*/ 48714 h 101502"/>
                <a:gd name="connsiteX1" fmla="*/ 0 w 89068"/>
                <a:gd name="connsiteY1" fmla="*/ 0 h 101502"/>
                <a:gd name="connsiteX2" fmla="*/ 2334 w 89068"/>
                <a:gd name="connsiteY2" fmla="*/ 101502 h 101502"/>
                <a:gd name="connsiteX3" fmla="*/ 89069 w 89068"/>
                <a:gd name="connsiteY3" fmla="*/ 48714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89069" y="48714"/>
                  </a:moveTo>
                  <a:lnTo>
                    <a:pt x="0" y="0"/>
                  </a:lnTo>
                  <a:lnTo>
                    <a:pt x="2334" y="101502"/>
                  </a:lnTo>
                  <a:lnTo>
                    <a:pt x="89069" y="48714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6" name="Freihandform: Form 425">
              <a:extLst>
                <a:ext uri="{FF2B5EF4-FFF2-40B4-BE49-F238E27FC236}">
                  <a16:creationId xmlns:a16="http://schemas.microsoft.com/office/drawing/2014/main" id="{7D703D24-F8BA-4044-8D44-7DC858D876F0}"/>
                </a:ext>
              </a:extLst>
            </p:cNvPr>
            <p:cNvSpPr/>
            <p:nvPr/>
          </p:nvSpPr>
          <p:spPr>
            <a:xfrm>
              <a:off x="7269251" y="3067594"/>
              <a:ext cx="70399" cy="70016"/>
            </a:xfrm>
            <a:custGeom>
              <a:avLst/>
              <a:gdLst>
                <a:gd name="connsiteX0" fmla="*/ 35090 w 70399"/>
                <a:gd name="connsiteY0" fmla="*/ -49 h 70016"/>
                <a:gd name="connsiteX1" fmla="*/ 35090 w 70399"/>
                <a:gd name="connsiteY1" fmla="*/ -49 h 70016"/>
                <a:gd name="connsiteX2" fmla="*/ 9969 w 70399"/>
                <a:gd name="connsiteY2" fmla="*/ 10475 h 70016"/>
                <a:gd name="connsiteX3" fmla="*/ -45 w 70399"/>
                <a:gd name="connsiteY3" fmla="*/ 35087 h 70016"/>
                <a:gd name="connsiteX4" fmla="*/ 35302 w 70399"/>
                <a:gd name="connsiteY4" fmla="*/ 69967 h 70016"/>
                <a:gd name="connsiteX5" fmla="*/ 35302 w 70399"/>
                <a:gd name="connsiteY5" fmla="*/ 69967 h 70016"/>
                <a:gd name="connsiteX6" fmla="*/ 70353 w 70399"/>
                <a:gd name="connsiteY6" fmla="*/ 34790 h 70016"/>
                <a:gd name="connsiteX7" fmla="*/ 60126 w 70399"/>
                <a:gd name="connsiteY7" fmla="*/ 10220 h 70016"/>
                <a:gd name="connsiteX8" fmla="*/ 35090 w 70399"/>
                <a:gd name="connsiteY8" fmla="*/ -49 h 70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399" h="70016">
                  <a:moveTo>
                    <a:pt x="35090" y="-49"/>
                  </a:moveTo>
                  <a:lnTo>
                    <a:pt x="35090" y="-49"/>
                  </a:lnTo>
                  <a:cubicBezTo>
                    <a:pt x="25646" y="-42"/>
                    <a:pt x="16598" y="3748"/>
                    <a:pt x="9969" y="10475"/>
                  </a:cubicBezTo>
                  <a:cubicBezTo>
                    <a:pt x="3467" y="17005"/>
                    <a:pt x="-141" y="25872"/>
                    <a:pt x="-45" y="35087"/>
                  </a:cubicBezTo>
                  <a:cubicBezTo>
                    <a:pt x="233" y="54416"/>
                    <a:pt x="15970" y="69946"/>
                    <a:pt x="35302" y="69967"/>
                  </a:cubicBezTo>
                  <a:lnTo>
                    <a:pt x="35302" y="69967"/>
                  </a:lnTo>
                  <a:cubicBezTo>
                    <a:pt x="54661" y="69851"/>
                    <a:pt x="70306" y="54149"/>
                    <a:pt x="70353" y="34790"/>
                  </a:cubicBezTo>
                  <a:cubicBezTo>
                    <a:pt x="70353" y="25565"/>
                    <a:pt x="66672" y="16721"/>
                    <a:pt x="60126" y="10220"/>
                  </a:cubicBezTo>
                  <a:cubicBezTo>
                    <a:pt x="53481" y="3600"/>
                    <a:pt x="44470" y="-96"/>
                    <a:pt x="35090" y="-49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7" name="Freihandform: Form 426">
              <a:extLst>
                <a:ext uri="{FF2B5EF4-FFF2-40B4-BE49-F238E27FC236}">
                  <a16:creationId xmlns:a16="http://schemas.microsoft.com/office/drawing/2014/main" id="{2BBD8342-502D-4208-A8DD-9AD66830A9CE}"/>
                </a:ext>
              </a:extLst>
            </p:cNvPr>
            <p:cNvSpPr/>
            <p:nvPr/>
          </p:nvSpPr>
          <p:spPr>
            <a:xfrm>
              <a:off x="7464488" y="3067521"/>
              <a:ext cx="71307" cy="70016"/>
            </a:xfrm>
            <a:custGeom>
              <a:avLst/>
              <a:gdLst>
                <a:gd name="connsiteX0" fmla="*/ 36662 w 71307"/>
                <a:gd name="connsiteY0" fmla="*/ -19 h 70016"/>
                <a:gd name="connsiteX1" fmla="*/ 36408 w 71307"/>
                <a:gd name="connsiteY1" fmla="*/ -19 h 70016"/>
                <a:gd name="connsiteX2" fmla="*/ -17 w 71307"/>
                <a:gd name="connsiteY2" fmla="*/ 33513 h 70016"/>
                <a:gd name="connsiteX3" fmla="*/ 33515 w 71307"/>
                <a:gd name="connsiteY3" fmla="*/ 69938 h 70016"/>
                <a:gd name="connsiteX4" fmla="*/ 35898 w 71307"/>
                <a:gd name="connsiteY4" fmla="*/ 69955 h 70016"/>
                <a:gd name="connsiteX5" fmla="*/ 36238 w 71307"/>
                <a:gd name="connsiteY5" fmla="*/ 69955 h 70016"/>
                <a:gd name="connsiteX6" fmla="*/ 61062 w 71307"/>
                <a:gd name="connsiteY6" fmla="*/ 59983 h 70016"/>
                <a:gd name="connsiteX7" fmla="*/ 60827 w 71307"/>
                <a:gd name="connsiteY7" fmla="*/ 10175 h 70016"/>
                <a:gd name="connsiteX8" fmla="*/ 36662 w 71307"/>
                <a:gd name="connsiteY8" fmla="*/ -19 h 70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307" h="70016">
                  <a:moveTo>
                    <a:pt x="36662" y="-19"/>
                  </a:moveTo>
                  <a:lnTo>
                    <a:pt x="36408" y="-19"/>
                  </a:lnTo>
                  <a:cubicBezTo>
                    <a:pt x="17090" y="-817"/>
                    <a:pt x="782" y="14195"/>
                    <a:pt x="-17" y="33513"/>
                  </a:cubicBezTo>
                  <a:cubicBezTo>
                    <a:pt x="-816" y="52831"/>
                    <a:pt x="14197" y="69139"/>
                    <a:pt x="33515" y="69938"/>
                  </a:cubicBezTo>
                  <a:cubicBezTo>
                    <a:pt x="34309" y="69970"/>
                    <a:pt x="35104" y="69976"/>
                    <a:pt x="35898" y="69955"/>
                  </a:cubicBezTo>
                  <a:lnTo>
                    <a:pt x="36238" y="69955"/>
                  </a:lnTo>
                  <a:cubicBezTo>
                    <a:pt x="45506" y="70044"/>
                    <a:pt x="54431" y="66458"/>
                    <a:pt x="61062" y="59983"/>
                  </a:cubicBezTo>
                  <a:cubicBezTo>
                    <a:pt x="74751" y="46164"/>
                    <a:pt x="74646" y="23864"/>
                    <a:pt x="60827" y="10175"/>
                  </a:cubicBezTo>
                  <a:cubicBezTo>
                    <a:pt x="54385" y="3793"/>
                    <a:pt x="45729" y="141"/>
                    <a:pt x="36662" y="-19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8" name="Freihandform: Form 427">
              <a:extLst>
                <a:ext uri="{FF2B5EF4-FFF2-40B4-BE49-F238E27FC236}">
                  <a16:creationId xmlns:a16="http://schemas.microsoft.com/office/drawing/2014/main" id="{1441E2D3-EF45-4CDD-B703-FB38E2DB402A}"/>
                </a:ext>
              </a:extLst>
            </p:cNvPr>
            <p:cNvSpPr/>
            <p:nvPr/>
          </p:nvSpPr>
          <p:spPr>
            <a:xfrm>
              <a:off x="7111300" y="2720583"/>
              <a:ext cx="477625" cy="333314"/>
            </a:xfrm>
            <a:custGeom>
              <a:avLst/>
              <a:gdLst>
                <a:gd name="connsiteX0" fmla="*/ 406060 w 477625"/>
                <a:gd name="connsiteY0" fmla="*/ 260481 h 333314"/>
                <a:gd name="connsiteX1" fmla="*/ 422524 w 477625"/>
                <a:gd name="connsiteY1" fmla="*/ 248854 h 333314"/>
                <a:gd name="connsiteX2" fmla="*/ 476203 w 477625"/>
                <a:gd name="connsiteY2" fmla="*/ 99869 h 333314"/>
                <a:gd name="connsiteX3" fmla="*/ 475566 w 477625"/>
                <a:gd name="connsiteY3" fmla="*/ 86163 h 333314"/>
                <a:gd name="connsiteX4" fmla="*/ 462539 w 477625"/>
                <a:gd name="connsiteY4" fmla="*/ 80689 h 333314"/>
                <a:gd name="connsiteX5" fmla="*/ 421633 w 477625"/>
                <a:gd name="connsiteY5" fmla="*/ 80689 h 333314"/>
                <a:gd name="connsiteX6" fmla="*/ 429865 w 477625"/>
                <a:gd name="connsiteY6" fmla="*/ 60702 h 333314"/>
                <a:gd name="connsiteX7" fmla="*/ 391887 w 477625"/>
                <a:gd name="connsiteY7" fmla="*/ 47463 h 333314"/>
                <a:gd name="connsiteX8" fmla="*/ 369906 w 477625"/>
                <a:gd name="connsiteY8" fmla="*/ 72923 h 333314"/>
                <a:gd name="connsiteX9" fmla="*/ 392014 w 477625"/>
                <a:gd name="connsiteY9" fmla="*/ 80646 h 333314"/>
                <a:gd name="connsiteX10" fmla="*/ 342196 w 477625"/>
                <a:gd name="connsiteY10" fmla="*/ 80646 h 333314"/>
                <a:gd name="connsiteX11" fmla="*/ 355436 w 477625"/>
                <a:gd name="connsiteY11" fmla="*/ 65285 h 333314"/>
                <a:gd name="connsiteX12" fmla="*/ 332776 w 477625"/>
                <a:gd name="connsiteY12" fmla="*/ 19414 h 333314"/>
                <a:gd name="connsiteX13" fmla="*/ 330103 w 477625"/>
                <a:gd name="connsiteY13" fmla="*/ 21536 h 333314"/>
                <a:gd name="connsiteX14" fmla="*/ 315803 w 477625"/>
                <a:gd name="connsiteY14" fmla="*/ 35199 h 333314"/>
                <a:gd name="connsiteX15" fmla="*/ 307952 w 477625"/>
                <a:gd name="connsiteY15" fmla="*/ 45426 h 333314"/>
                <a:gd name="connsiteX16" fmla="*/ 325223 w 477625"/>
                <a:gd name="connsiteY16" fmla="*/ 80392 h 333314"/>
                <a:gd name="connsiteX17" fmla="*/ 325223 w 477625"/>
                <a:gd name="connsiteY17" fmla="*/ 80646 h 333314"/>
                <a:gd name="connsiteX18" fmla="*/ 308249 w 477625"/>
                <a:gd name="connsiteY18" fmla="*/ 80646 h 333314"/>
                <a:gd name="connsiteX19" fmla="*/ 298914 w 477625"/>
                <a:gd name="connsiteY19" fmla="*/ 61763 h 333314"/>
                <a:gd name="connsiteX20" fmla="*/ 292888 w 477625"/>
                <a:gd name="connsiteY20" fmla="*/ 80646 h 333314"/>
                <a:gd name="connsiteX21" fmla="*/ 277357 w 477625"/>
                <a:gd name="connsiteY21" fmla="*/ 80646 h 333314"/>
                <a:gd name="connsiteX22" fmla="*/ 318264 w 477625"/>
                <a:gd name="connsiteY22" fmla="*/ 14322 h 333314"/>
                <a:gd name="connsiteX23" fmla="*/ 292124 w 477625"/>
                <a:gd name="connsiteY23" fmla="*/ 6175 h 333314"/>
                <a:gd name="connsiteX24" fmla="*/ 245963 w 477625"/>
                <a:gd name="connsiteY24" fmla="*/ 51753 h 333314"/>
                <a:gd name="connsiteX25" fmla="*/ 255971 w 477625"/>
                <a:gd name="connsiteY25" fmla="*/ 80646 h 333314"/>
                <a:gd name="connsiteX26" fmla="*/ 218841 w 477625"/>
                <a:gd name="connsiteY26" fmla="*/ 80646 h 333314"/>
                <a:gd name="connsiteX27" fmla="*/ 228898 w 477625"/>
                <a:gd name="connsiteY27" fmla="*/ 60532 h 333314"/>
                <a:gd name="connsiteX28" fmla="*/ 217483 w 477625"/>
                <a:gd name="connsiteY28" fmla="*/ 43559 h 333314"/>
                <a:gd name="connsiteX29" fmla="*/ 212603 w 477625"/>
                <a:gd name="connsiteY29" fmla="*/ 38552 h 333314"/>
                <a:gd name="connsiteX30" fmla="*/ 195163 w 477625"/>
                <a:gd name="connsiteY30" fmla="*/ 72966 h 333314"/>
                <a:gd name="connsiteX31" fmla="*/ 202037 w 477625"/>
                <a:gd name="connsiteY31" fmla="*/ 80604 h 333314"/>
                <a:gd name="connsiteX32" fmla="*/ 184427 w 477625"/>
                <a:gd name="connsiteY32" fmla="*/ 80604 h 333314"/>
                <a:gd name="connsiteX33" fmla="*/ 178911 w 477625"/>
                <a:gd name="connsiteY33" fmla="*/ 74493 h 333314"/>
                <a:gd name="connsiteX34" fmla="*/ 161216 w 477625"/>
                <a:gd name="connsiteY34" fmla="*/ 80434 h 333314"/>
                <a:gd name="connsiteX35" fmla="*/ 104269 w 477625"/>
                <a:gd name="connsiteY35" fmla="*/ 80434 h 333314"/>
                <a:gd name="connsiteX36" fmla="*/ 80336 w 477625"/>
                <a:gd name="connsiteY36" fmla="*/ 10588 h 333314"/>
                <a:gd name="connsiteX37" fmla="*/ 68455 w 477625"/>
                <a:gd name="connsiteY37" fmla="*/ 64 h 333314"/>
                <a:gd name="connsiteX38" fmla="*/ 11296 w 477625"/>
                <a:gd name="connsiteY38" fmla="*/ 64 h 333314"/>
                <a:gd name="connsiteX39" fmla="*/ -34 w 477625"/>
                <a:gd name="connsiteY39" fmla="*/ 12540 h 333314"/>
                <a:gd name="connsiteX40" fmla="*/ 10532 w 477625"/>
                <a:gd name="connsiteY40" fmla="*/ 25270 h 333314"/>
                <a:gd name="connsiteX41" fmla="*/ 57931 w 477625"/>
                <a:gd name="connsiteY41" fmla="*/ 25482 h 333314"/>
                <a:gd name="connsiteX42" fmla="*/ 159136 w 477625"/>
                <a:gd name="connsiteY42" fmla="*/ 321756 h 333314"/>
                <a:gd name="connsiteX43" fmla="*/ 175601 w 477625"/>
                <a:gd name="connsiteY43" fmla="*/ 333256 h 333314"/>
                <a:gd name="connsiteX44" fmla="*/ 416074 w 477625"/>
                <a:gd name="connsiteY44" fmla="*/ 333256 h 333314"/>
                <a:gd name="connsiteX45" fmla="*/ 420699 w 477625"/>
                <a:gd name="connsiteY45" fmla="*/ 332959 h 333314"/>
                <a:gd name="connsiteX46" fmla="*/ 431478 w 477625"/>
                <a:gd name="connsiteY46" fmla="*/ 320228 h 333314"/>
                <a:gd name="connsiteX47" fmla="*/ 420572 w 477625"/>
                <a:gd name="connsiteY47" fmla="*/ 307710 h 333314"/>
                <a:gd name="connsiteX48" fmla="*/ 416329 w 477625"/>
                <a:gd name="connsiteY48" fmla="*/ 307710 h 333314"/>
                <a:gd name="connsiteX49" fmla="*/ 181499 w 477625"/>
                <a:gd name="connsiteY49" fmla="*/ 307710 h 333314"/>
                <a:gd name="connsiteX50" fmla="*/ 165459 w 477625"/>
                <a:gd name="connsiteY50" fmla="*/ 260481 h 333314"/>
                <a:gd name="connsiteX51" fmla="*/ 406060 w 477625"/>
                <a:gd name="connsiteY51" fmla="*/ 260481 h 333314"/>
                <a:gd name="connsiteX52" fmla="*/ 291488 w 477625"/>
                <a:gd name="connsiteY52" fmla="*/ 106658 h 333314"/>
                <a:gd name="connsiteX53" fmla="*/ 360019 w 477625"/>
                <a:gd name="connsiteY53" fmla="*/ 106658 h 333314"/>
                <a:gd name="connsiteX54" fmla="*/ 346695 w 477625"/>
                <a:gd name="connsiteY54" fmla="*/ 157579 h 333314"/>
                <a:gd name="connsiteX55" fmla="*/ 291530 w 477625"/>
                <a:gd name="connsiteY55" fmla="*/ 157579 h 333314"/>
                <a:gd name="connsiteX56" fmla="*/ 400458 w 477625"/>
                <a:gd name="connsiteY56" fmla="*/ 234597 h 333314"/>
                <a:gd name="connsiteX57" fmla="*/ 352932 w 477625"/>
                <a:gd name="connsiteY57" fmla="*/ 234597 h 333314"/>
                <a:gd name="connsiteX58" fmla="*/ 365662 w 477625"/>
                <a:gd name="connsiteY58" fmla="*/ 183930 h 333314"/>
                <a:gd name="connsiteX59" fmla="*/ 418578 w 477625"/>
                <a:gd name="connsiteY59" fmla="*/ 183930 h 333314"/>
                <a:gd name="connsiteX60" fmla="*/ 428210 w 477625"/>
                <a:gd name="connsiteY60" fmla="*/ 157494 h 333314"/>
                <a:gd name="connsiteX61" fmla="*/ 373385 w 477625"/>
                <a:gd name="connsiteY61" fmla="*/ 157494 h 333314"/>
                <a:gd name="connsiteX62" fmla="*/ 386752 w 477625"/>
                <a:gd name="connsiteY62" fmla="*/ 106573 h 333314"/>
                <a:gd name="connsiteX63" fmla="*/ 446796 w 477625"/>
                <a:gd name="connsiteY63" fmla="*/ 106573 h 333314"/>
                <a:gd name="connsiteX64" fmla="*/ 113011 w 477625"/>
                <a:gd name="connsiteY64" fmla="*/ 106786 h 333314"/>
                <a:gd name="connsiteX65" fmla="*/ 170127 w 477625"/>
                <a:gd name="connsiteY65" fmla="*/ 106786 h 333314"/>
                <a:gd name="connsiteX66" fmla="*/ 183409 w 477625"/>
                <a:gd name="connsiteY66" fmla="*/ 157409 h 333314"/>
                <a:gd name="connsiteX67" fmla="*/ 130324 w 477625"/>
                <a:gd name="connsiteY67" fmla="*/ 157409 h 333314"/>
                <a:gd name="connsiteX68" fmla="*/ 156505 w 477625"/>
                <a:gd name="connsiteY68" fmla="*/ 234639 h 333314"/>
                <a:gd name="connsiteX69" fmla="*/ 139532 w 477625"/>
                <a:gd name="connsiteY69" fmla="*/ 184100 h 333314"/>
                <a:gd name="connsiteX70" fmla="*/ 190453 w 477625"/>
                <a:gd name="connsiteY70" fmla="*/ 184100 h 333314"/>
                <a:gd name="connsiteX71" fmla="*/ 204159 w 477625"/>
                <a:gd name="connsiteY71" fmla="*/ 234639 h 333314"/>
                <a:gd name="connsiteX72" fmla="*/ 196563 w 477625"/>
                <a:gd name="connsiteY72" fmla="*/ 106828 h 333314"/>
                <a:gd name="connsiteX73" fmla="*/ 265179 w 477625"/>
                <a:gd name="connsiteY73" fmla="*/ 106828 h 333314"/>
                <a:gd name="connsiteX74" fmla="*/ 265179 w 477625"/>
                <a:gd name="connsiteY74" fmla="*/ 157367 h 333314"/>
                <a:gd name="connsiteX75" fmla="*/ 210015 w 477625"/>
                <a:gd name="connsiteY75" fmla="*/ 157367 h 333314"/>
                <a:gd name="connsiteX76" fmla="*/ 265433 w 477625"/>
                <a:gd name="connsiteY76" fmla="*/ 234512 h 333314"/>
                <a:gd name="connsiteX77" fmla="*/ 230128 w 477625"/>
                <a:gd name="connsiteY77" fmla="*/ 234512 h 333314"/>
                <a:gd name="connsiteX78" fmla="*/ 216889 w 477625"/>
                <a:gd name="connsiteY78" fmla="*/ 183888 h 333314"/>
                <a:gd name="connsiteX79" fmla="*/ 265433 w 477625"/>
                <a:gd name="connsiteY79" fmla="*/ 183888 h 333314"/>
                <a:gd name="connsiteX80" fmla="*/ 291233 w 477625"/>
                <a:gd name="connsiteY80" fmla="*/ 183803 h 333314"/>
                <a:gd name="connsiteX81" fmla="*/ 339778 w 477625"/>
                <a:gd name="connsiteY81" fmla="*/ 183803 h 333314"/>
                <a:gd name="connsiteX82" fmla="*/ 326411 w 477625"/>
                <a:gd name="connsiteY82" fmla="*/ 234724 h 333314"/>
                <a:gd name="connsiteX83" fmla="*/ 291233 w 477625"/>
                <a:gd name="connsiteY83" fmla="*/ 234724 h 333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477625" h="333314">
                  <a:moveTo>
                    <a:pt x="406060" y="260481"/>
                  </a:moveTo>
                  <a:cubicBezTo>
                    <a:pt x="416117" y="260481"/>
                    <a:pt x="419044" y="258360"/>
                    <a:pt x="422524" y="248854"/>
                  </a:cubicBezTo>
                  <a:cubicBezTo>
                    <a:pt x="424306" y="243975"/>
                    <a:pt x="471238" y="113999"/>
                    <a:pt x="476203" y="99869"/>
                  </a:cubicBezTo>
                  <a:cubicBezTo>
                    <a:pt x="478240" y="95470"/>
                    <a:pt x="478003" y="90354"/>
                    <a:pt x="475566" y="86163"/>
                  </a:cubicBezTo>
                  <a:cubicBezTo>
                    <a:pt x="472380" y="82318"/>
                    <a:pt x="467515" y="80275"/>
                    <a:pt x="462539" y="80689"/>
                  </a:cubicBezTo>
                  <a:lnTo>
                    <a:pt x="421633" y="80689"/>
                  </a:lnTo>
                  <a:cubicBezTo>
                    <a:pt x="424853" y="74232"/>
                    <a:pt x="427604" y="67553"/>
                    <a:pt x="429865" y="60702"/>
                  </a:cubicBezTo>
                  <a:lnTo>
                    <a:pt x="391887" y="47463"/>
                  </a:lnTo>
                  <a:lnTo>
                    <a:pt x="369906" y="72923"/>
                  </a:lnTo>
                  <a:lnTo>
                    <a:pt x="392014" y="80646"/>
                  </a:lnTo>
                  <a:lnTo>
                    <a:pt x="342196" y="80646"/>
                  </a:lnTo>
                  <a:lnTo>
                    <a:pt x="355436" y="65285"/>
                  </a:lnTo>
                  <a:lnTo>
                    <a:pt x="332776" y="19414"/>
                  </a:lnTo>
                  <a:cubicBezTo>
                    <a:pt x="331843" y="20093"/>
                    <a:pt x="330951" y="20814"/>
                    <a:pt x="330103" y="21536"/>
                  </a:cubicBezTo>
                  <a:cubicBezTo>
                    <a:pt x="324955" y="25674"/>
                    <a:pt x="320170" y="30245"/>
                    <a:pt x="315803" y="35199"/>
                  </a:cubicBezTo>
                  <a:cubicBezTo>
                    <a:pt x="312969" y="38436"/>
                    <a:pt x="310347" y="41852"/>
                    <a:pt x="307952" y="45426"/>
                  </a:cubicBezTo>
                  <a:lnTo>
                    <a:pt x="325223" y="80392"/>
                  </a:lnTo>
                  <a:lnTo>
                    <a:pt x="325223" y="80646"/>
                  </a:lnTo>
                  <a:lnTo>
                    <a:pt x="308249" y="80646"/>
                  </a:lnTo>
                  <a:lnTo>
                    <a:pt x="298914" y="61763"/>
                  </a:lnTo>
                  <a:cubicBezTo>
                    <a:pt x="296317" y="67854"/>
                    <a:pt x="294299" y="74177"/>
                    <a:pt x="292888" y="80646"/>
                  </a:cubicBezTo>
                  <a:lnTo>
                    <a:pt x="277357" y="80646"/>
                  </a:lnTo>
                  <a:cubicBezTo>
                    <a:pt x="282534" y="60745"/>
                    <a:pt x="291912" y="35454"/>
                    <a:pt x="318264" y="14322"/>
                  </a:cubicBezTo>
                  <a:cubicBezTo>
                    <a:pt x="310590" y="8994"/>
                    <a:pt x="301466" y="6150"/>
                    <a:pt x="292124" y="6175"/>
                  </a:cubicBezTo>
                  <a:cubicBezTo>
                    <a:pt x="266791" y="6014"/>
                    <a:pt x="246124" y="26420"/>
                    <a:pt x="245963" y="51753"/>
                  </a:cubicBezTo>
                  <a:cubicBezTo>
                    <a:pt x="245896" y="62246"/>
                    <a:pt x="249429" y="72443"/>
                    <a:pt x="255971" y="80646"/>
                  </a:cubicBezTo>
                  <a:lnTo>
                    <a:pt x="218841" y="80646"/>
                  </a:lnTo>
                  <a:lnTo>
                    <a:pt x="228898" y="60532"/>
                  </a:lnTo>
                  <a:cubicBezTo>
                    <a:pt x="225844" y="54404"/>
                    <a:pt x="222007" y="48699"/>
                    <a:pt x="217483" y="43559"/>
                  </a:cubicBezTo>
                  <a:cubicBezTo>
                    <a:pt x="215955" y="41862"/>
                    <a:pt x="214385" y="40207"/>
                    <a:pt x="212603" y="38552"/>
                  </a:cubicBezTo>
                  <a:lnTo>
                    <a:pt x="195163" y="72966"/>
                  </a:lnTo>
                  <a:lnTo>
                    <a:pt x="202037" y="80604"/>
                  </a:lnTo>
                  <a:lnTo>
                    <a:pt x="184427" y="80604"/>
                  </a:lnTo>
                  <a:lnTo>
                    <a:pt x="178911" y="74493"/>
                  </a:lnTo>
                  <a:lnTo>
                    <a:pt x="161216" y="80434"/>
                  </a:lnTo>
                  <a:lnTo>
                    <a:pt x="104269" y="80434"/>
                  </a:lnTo>
                  <a:cubicBezTo>
                    <a:pt x="104269" y="80434"/>
                    <a:pt x="85895" y="27094"/>
                    <a:pt x="80336" y="10588"/>
                  </a:cubicBezTo>
                  <a:cubicBezTo>
                    <a:pt x="78809" y="6090"/>
                    <a:pt x="76093" y="106"/>
                    <a:pt x="68455" y="64"/>
                  </a:cubicBezTo>
                  <a:cubicBezTo>
                    <a:pt x="46219" y="64"/>
                    <a:pt x="28058" y="-191"/>
                    <a:pt x="11296" y="64"/>
                  </a:cubicBezTo>
                  <a:cubicBezTo>
                    <a:pt x="4724" y="384"/>
                    <a:pt x="-346" y="5967"/>
                    <a:pt x="-34" y="12540"/>
                  </a:cubicBezTo>
                  <a:cubicBezTo>
                    <a:pt x="-125" y="18805"/>
                    <a:pt x="4357" y="24205"/>
                    <a:pt x="10532" y="25270"/>
                  </a:cubicBezTo>
                  <a:cubicBezTo>
                    <a:pt x="12315" y="25524"/>
                    <a:pt x="57931" y="25482"/>
                    <a:pt x="57931" y="25482"/>
                  </a:cubicBezTo>
                  <a:cubicBezTo>
                    <a:pt x="57931" y="25482"/>
                    <a:pt x="142799" y="274527"/>
                    <a:pt x="159136" y="321756"/>
                  </a:cubicBezTo>
                  <a:cubicBezTo>
                    <a:pt x="162319" y="331092"/>
                    <a:pt x="165417" y="333256"/>
                    <a:pt x="175601" y="333256"/>
                  </a:cubicBezTo>
                  <a:lnTo>
                    <a:pt x="416074" y="333256"/>
                  </a:lnTo>
                  <a:cubicBezTo>
                    <a:pt x="417622" y="333297"/>
                    <a:pt x="419170" y="333198"/>
                    <a:pt x="420699" y="332959"/>
                  </a:cubicBezTo>
                  <a:cubicBezTo>
                    <a:pt x="426959" y="331988"/>
                    <a:pt x="431552" y="326562"/>
                    <a:pt x="431478" y="320228"/>
                  </a:cubicBezTo>
                  <a:cubicBezTo>
                    <a:pt x="431438" y="313933"/>
                    <a:pt x="426802" y="308613"/>
                    <a:pt x="420572" y="307710"/>
                  </a:cubicBezTo>
                  <a:cubicBezTo>
                    <a:pt x="419160" y="307603"/>
                    <a:pt x="417741" y="307603"/>
                    <a:pt x="416329" y="307710"/>
                  </a:cubicBezTo>
                  <a:lnTo>
                    <a:pt x="181499" y="307710"/>
                  </a:lnTo>
                  <a:lnTo>
                    <a:pt x="165459" y="260481"/>
                  </a:lnTo>
                  <a:cubicBezTo>
                    <a:pt x="165459" y="260481"/>
                    <a:pt x="363413" y="260566"/>
                    <a:pt x="406060" y="260481"/>
                  </a:cubicBezTo>
                  <a:close/>
                  <a:moveTo>
                    <a:pt x="291488" y="106658"/>
                  </a:moveTo>
                  <a:lnTo>
                    <a:pt x="360019" y="106658"/>
                  </a:lnTo>
                  <a:lnTo>
                    <a:pt x="346695" y="157579"/>
                  </a:lnTo>
                  <a:lnTo>
                    <a:pt x="291530" y="157579"/>
                  </a:lnTo>
                  <a:close/>
                  <a:moveTo>
                    <a:pt x="400458" y="234597"/>
                  </a:moveTo>
                  <a:lnTo>
                    <a:pt x="352932" y="234597"/>
                  </a:lnTo>
                  <a:lnTo>
                    <a:pt x="365662" y="183930"/>
                  </a:lnTo>
                  <a:lnTo>
                    <a:pt x="418578" y="183930"/>
                  </a:lnTo>
                  <a:close/>
                  <a:moveTo>
                    <a:pt x="428210" y="157494"/>
                  </a:moveTo>
                  <a:lnTo>
                    <a:pt x="373385" y="157494"/>
                  </a:lnTo>
                  <a:lnTo>
                    <a:pt x="386752" y="106573"/>
                  </a:lnTo>
                  <a:lnTo>
                    <a:pt x="446796" y="106573"/>
                  </a:lnTo>
                  <a:close/>
                  <a:moveTo>
                    <a:pt x="113011" y="106786"/>
                  </a:moveTo>
                  <a:lnTo>
                    <a:pt x="170127" y="106786"/>
                  </a:lnTo>
                  <a:lnTo>
                    <a:pt x="183409" y="157409"/>
                  </a:lnTo>
                  <a:lnTo>
                    <a:pt x="130324" y="157409"/>
                  </a:lnTo>
                  <a:close/>
                  <a:moveTo>
                    <a:pt x="156505" y="234639"/>
                  </a:moveTo>
                  <a:lnTo>
                    <a:pt x="139532" y="184100"/>
                  </a:lnTo>
                  <a:lnTo>
                    <a:pt x="190453" y="184100"/>
                  </a:lnTo>
                  <a:lnTo>
                    <a:pt x="204159" y="234639"/>
                  </a:lnTo>
                  <a:close/>
                  <a:moveTo>
                    <a:pt x="196563" y="106828"/>
                  </a:moveTo>
                  <a:lnTo>
                    <a:pt x="265179" y="106828"/>
                  </a:lnTo>
                  <a:lnTo>
                    <a:pt x="265179" y="157367"/>
                  </a:lnTo>
                  <a:lnTo>
                    <a:pt x="210015" y="157367"/>
                  </a:lnTo>
                  <a:close/>
                  <a:moveTo>
                    <a:pt x="265433" y="234512"/>
                  </a:moveTo>
                  <a:lnTo>
                    <a:pt x="230128" y="234512"/>
                  </a:lnTo>
                  <a:lnTo>
                    <a:pt x="216889" y="183888"/>
                  </a:lnTo>
                  <a:lnTo>
                    <a:pt x="265433" y="183888"/>
                  </a:lnTo>
                  <a:close/>
                  <a:moveTo>
                    <a:pt x="291233" y="183803"/>
                  </a:moveTo>
                  <a:lnTo>
                    <a:pt x="339778" y="183803"/>
                  </a:lnTo>
                  <a:lnTo>
                    <a:pt x="326411" y="234724"/>
                  </a:lnTo>
                  <a:lnTo>
                    <a:pt x="291233" y="234724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9" name="Freihandform: Form 428">
              <a:extLst>
                <a:ext uri="{FF2B5EF4-FFF2-40B4-BE49-F238E27FC236}">
                  <a16:creationId xmlns:a16="http://schemas.microsoft.com/office/drawing/2014/main" id="{F90D6E3C-D75D-4F72-BAE1-D0B02FD71FE7}"/>
                </a:ext>
              </a:extLst>
            </p:cNvPr>
            <p:cNvSpPr/>
            <p:nvPr/>
          </p:nvSpPr>
          <p:spPr>
            <a:xfrm>
              <a:off x="7456896" y="2717556"/>
              <a:ext cx="43367" cy="55673"/>
            </a:xfrm>
            <a:custGeom>
              <a:avLst/>
              <a:gdLst>
                <a:gd name="connsiteX0" fmla="*/ 43320 w 43367"/>
                <a:gd name="connsiteY0" fmla="*/ 29400 h 55673"/>
                <a:gd name="connsiteX1" fmla="*/ 28765 w 43367"/>
                <a:gd name="connsiteY1" fmla="*/ -49 h 55673"/>
                <a:gd name="connsiteX2" fmla="*/ -47 w 43367"/>
                <a:gd name="connsiteY2" fmla="*/ 13657 h 55673"/>
                <a:gd name="connsiteX3" fmla="*/ 20745 w 43367"/>
                <a:gd name="connsiteY3" fmla="*/ 55624 h 55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367" h="55673">
                  <a:moveTo>
                    <a:pt x="43320" y="29400"/>
                  </a:moveTo>
                  <a:lnTo>
                    <a:pt x="28765" y="-49"/>
                  </a:lnTo>
                  <a:cubicBezTo>
                    <a:pt x="18750" y="3600"/>
                    <a:pt x="9103" y="8189"/>
                    <a:pt x="-47" y="13657"/>
                  </a:cubicBezTo>
                  <a:lnTo>
                    <a:pt x="20745" y="55624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0" name="Freihandform: Form 429">
              <a:extLst>
                <a:ext uri="{FF2B5EF4-FFF2-40B4-BE49-F238E27FC236}">
                  <a16:creationId xmlns:a16="http://schemas.microsoft.com/office/drawing/2014/main" id="{39267524-5B2E-4760-BD67-9EC582B05B20}"/>
                </a:ext>
              </a:extLst>
            </p:cNvPr>
            <p:cNvSpPr/>
            <p:nvPr/>
          </p:nvSpPr>
          <p:spPr>
            <a:xfrm>
              <a:off x="7281644" y="2739834"/>
              <a:ext cx="32207" cy="43579"/>
            </a:xfrm>
            <a:custGeom>
              <a:avLst/>
              <a:gdLst>
                <a:gd name="connsiteX0" fmla="*/ 15823 w 32207"/>
                <a:gd name="connsiteY0" fmla="*/ 43531 h 43579"/>
                <a:gd name="connsiteX1" fmla="*/ 32160 w 32207"/>
                <a:gd name="connsiteY1" fmla="*/ 10899 h 43579"/>
                <a:gd name="connsiteX2" fmla="*/ 12938 w 32207"/>
                <a:gd name="connsiteY2" fmla="*/ -49 h 43579"/>
                <a:gd name="connsiteX3" fmla="*/ -47 w 32207"/>
                <a:gd name="connsiteY3" fmla="*/ 25793 h 43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207" h="43579">
                  <a:moveTo>
                    <a:pt x="15823" y="43531"/>
                  </a:moveTo>
                  <a:lnTo>
                    <a:pt x="32160" y="10899"/>
                  </a:lnTo>
                  <a:cubicBezTo>
                    <a:pt x="26135" y="6616"/>
                    <a:pt x="19695" y="2949"/>
                    <a:pt x="12938" y="-49"/>
                  </a:cubicBezTo>
                  <a:lnTo>
                    <a:pt x="-47" y="25793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1" name="Freihandform: Form 430">
              <a:extLst>
                <a:ext uri="{FF2B5EF4-FFF2-40B4-BE49-F238E27FC236}">
                  <a16:creationId xmlns:a16="http://schemas.microsoft.com/office/drawing/2014/main" id="{533A70E0-2406-43F7-8691-5115576CAEC5}"/>
                </a:ext>
              </a:extLst>
            </p:cNvPr>
            <p:cNvSpPr/>
            <p:nvPr/>
          </p:nvSpPr>
          <p:spPr>
            <a:xfrm>
              <a:off x="7500518" y="2705590"/>
              <a:ext cx="35389" cy="28727"/>
            </a:xfrm>
            <a:custGeom>
              <a:avLst/>
              <a:gdLst>
                <a:gd name="connsiteX0" fmla="*/ 35343 w 35389"/>
                <a:gd name="connsiteY0" fmla="*/ -49 h 28727"/>
                <a:gd name="connsiteX1" fmla="*/ 21679 w 35389"/>
                <a:gd name="connsiteY1" fmla="*/ 2030 h 28727"/>
                <a:gd name="connsiteX2" fmla="*/ -47 w 35389"/>
                <a:gd name="connsiteY2" fmla="*/ 7080 h 28727"/>
                <a:gd name="connsiteX3" fmla="*/ 10604 w 35389"/>
                <a:gd name="connsiteY3" fmla="*/ 28679 h 28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389" h="28727">
                  <a:moveTo>
                    <a:pt x="35343" y="-49"/>
                  </a:moveTo>
                  <a:cubicBezTo>
                    <a:pt x="31566" y="418"/>
                    <a:pt x="26856" y="1054"/>
                    <a:pt x="21679" y="2030"/>
                  </a:cubicBezTo>
                  <a:cubicBezTo>
                    <a:pt x="14357" y="3347"/>
                    <a:pt x="7105" y="5032"/>
                    <a:pt x="-47" y="7080"/>
                  </a:cubicBezTo>
                  <a:lnTo>
                    <a:pt x="10604" y="28679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2" name="Freihandform: Form 431">
              <a:extLst>
                <a:ext uri="{FF2B5EF4-FFF2-40B4-BE49-F238E27FC236}">
                  <a16:creationId xmlns:a16="http://schemas.microsoft.com/office/drawing/2014/main" id="{F722D90E-C8CE-41FA-A7B2-DBD03AD67E06}"/>
                </a:ext>
              </a:extLst>
            </p:cNvPr>
            <p:cNvSpPr/>
            <p:nvPr/>
          </p:nvSpPr>
          <p:spPr>
            <a:xfrm>
              <a:off x="7513885" y="2714374"/>
              <a:ext cx="35508" cy="51811"/>
            </a:xfrm>
            <a:custGeom>
              <a:avLst/>
              <a:gdLst>
                <a:gd name="connsiteX0" fmla="*/ 31099 w 35508"/>
                <a:gd name="connsiteY0" fmla="*/ 51763 h 51811"/>
                <a:gd name="connsiteX1" fmla="*/ 35343 w 35508"/>
                <a:gd name="connsiteY1" fmla="*/ -49 h 51811"/>
                <a:gd name="connsiteX2" fmla="*/ -47 w 35508"/>
                <a:gd name="connsiteY2" fmla="*/ 40985 h 51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5508" h="51811">
                  <a:moveTo>
                    <a:pt x="31099" y="51763"/>
                  </a:moveTo>
                  <a:cubicBezTo>
                    <a:pt x="34478" y="34709"/>
                    <a:pt x="35901" y="17327"/>
                    <a:pt x="35343" y="-49"/>
                  </a:cubicBezTo>
                  <a:lnTo>
                    <a:pt x="-47" y="40985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1" name="Freihandform: Form 440">
              <a:extLst>
                <a:ext uri="{FF2B5EF4-FFF2-40B4-BE49-F238E27FC236}">
                  <a16:creationId xmlns:a16="http://schemas.microsoft.com/office/drawing/2014/main" id="{5F97A8F5-562C-4908-9600-B26AC55ABA69}"/>
                </a:ext>
              </a:extLst>
            </p:cNvPr>
            <p:cNvSpPr/>
            <p:nvPr/>
          </p:nvSpPr>
          <p:spPr>
            <a:xfrm>
              <a:off x="7247230" y="2727274"/>
              <a:ext cx="35474" cy="28218"/>
            </a:xfrm>
            <a:custGeom>
              <a:avLst/>
              <a:gdLst>
                <a:gd name="connsiteX0" fmla="*/ 35428 w 35474"/>
                <a:gd name="connsiteY0" fmla="*/ 7801 h 28218"/>
                <a:gd name="connsiteX1" fmla="*/ -47 w 35474"/>
                <a:gd name="connsiteY1" fmla="*/ -49 h 28218"/>
                <a:gd name="connsiteX2" fmla="*/ 25413 w 35474"/>
                <a:gd name="connsiteY2" fmla="*/ 28169 h 28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5474" h="28218">
                  <a:moveTo>
                    <a:pt x="35428" y="7801"/>
                  </a:moveTo>
                  <a:cubicBezTo>
                    <a:pt x="23921" y="3911"/>
                    <a:pt x="12026" y="1279"/>
                    <a:pt x="-47" y="-49"/>
                  </a:cubicBezTo>
                  <a:lnTo>
                    <a:pt x="25413" y="28169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0" name="Freihandform: Form 449">
              <a:extLst>
                <a:ext uri="{FF2B5EF4-FFF2-40B4-BE49-F238E27FC236}">
                  <a16:creationId xmlns:a16="http://schemas.microsoft.com/office/drawing/2014/main" id="{344E61BD-063B-4944-8D8C-B5B4C0664254}"/>
                </a:ext>
              </a:extLst>
            </p:cNvPr>
            <p:cNvSpPr/>
            <p:nvPr/>
          </p:nvSpPr>
          <p:spPr>
            <a:xfrm>
              <a:off x="7242859" y="2766440"/>
              <a:ext cx="38572" cy="29067"/>
            </a:xfrm>
            <a:custGeom>
              <a:avLst/>
              <a:gdLst>
                <a:gd name="connsiteX0" fmla="*/ -47 w 38572"/>
                <a:gd name="connsiteY0" fmla="*/ 7801 h 29067"/>
                <a:gd name="connsiteX1" fmla="*/ 6954 w 38572"/>
                <a:gd name="connsiteY1" fmla="*/ 29018 h 29067"/>
                <a:gd name="connsiteX2" fmla="*/ 38525 w 38572"/>
                <a:gd name="connsiteY2" fmla="*/ 18197 h 29067"/>
                <a:gd name="connsiteX3" fmla="*/ 22188 w 38572"/>
                <a:gd name="connsiteY3" fmla="*/ -49 h 29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572" h="29067">
                  <a:moveTo>
                    <a:pt x="-47" y="7801"/>
                  </a:moveTo>
                  <a:cubicBezTo>
                    <a:pt x="1651" y="15068"/>
                    <a:pt x="3994" y="22168"/>
                    <a:pt x="6954" y="29018"/>
                  </a:cubicBezTo>
                  <a:lnTo>
                    <a:pt x="38525" y="18197"/>
                  </a:lnTo>
                  <a:lnTo>
                    <a:pt x="22188" y="-49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5" name="Freihandform: Form 454">
              <a:extLst>
                <a:ext uri="{FF2B5EF4-FFF2-40B4-BE49-F238E27FC236}">
                  <a16:creationId xmlns:a16="http://schemas.microsoft.com/office/drawing/2014/main" id="{12AC8A89-0AF6-45F0-9766-09FB98B16230}"/>
                </a:ext>
              </a:extLst>
            </p:cNvPr>
            <p:cNvSpPr/>
            <p:nvPr/>
          </p:nvSpPr>
          <p:spPr>
            <a:xfrm>
              <a:off x="7238616" y="2737415"/>
              <a:ext cx="17100" cy="24314"/>
            </a:xfrm>
            <a:custGeom>
              <a:avLst/>
              <a:gdLst>
                <a:gd name="connsiteX0" fmla="*/ 1650 w 17100"/>
                <a:gd name="connsiteY0" fmla="*/ 24266 h 24314"/>
                <a:gd name="connsiteX1" fmla="*/ 17054 w 17100"/>
                <a:gd name="connsiteY1" fmla="*/ 18961 h 24314"/>
                <a:gd name="connsiteX2" fmla="*/ -47 w 17100"/>
                <a:gd name="connsiteY2" fmla="*/ -49 h 24314"/>
                <a:gd name="connsiteX3" fmla="*/ 207 w 17100"/>
                <a:gd name="connsiteY3" fmla="*/ 8692 h 24314"/>
                <a:gd name="connsiteX4" fmla="*/ 1650 w 17100"/>
                <a:gd name="connsiteY4" fmla="*/ 24266 h 24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00" h="24314">
                  <a:moveTo>
                    <a:pt x="1650" y="24266"/>
                  </a:moveTo>
                  <a:lnTo>
                    <a:pt x="17054" y="18961"/>
                  </a:lnTo>
                  <a:lnTo>
                    <a:pt x="-47" y="-49"/>
                  </a:lnTo>
                  <a:cubicBezTo>
                    <a:pt x="-47" y="2454"/>
                    <a:pt x="-47" y="5425"/>
                    <a:pt x="207" y="8692"/>
                  </a:cubicBezTo>
                  <a:cubicBezTo>
                    <a:pt x="377" y="13742"/>
                    <a:pt x="886" y="19046"/>
                    <a:pt x="1650" y="24266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60" name="Gruppieren 459">
            <a:extLst>
              <a:ext uri="{FF2B5EF4-FFF2-40B4-BE49-F238E27FC236}">
                <a16:creationId xmlns:a16="http://schemas.microsoft.com/office/drawing/2014/main" id="{CFDE75E7-1391-42F0-819A-C4C4DF827016}"/>
              </a:ext>
            </a:extLst>
          </p:cNvPr>
          <p:cNvGrpSpPr/>
          <p:nvPr/>
        </p:nvGrpSpPr>
        <p:grpSpPr>
          <a:xfrm>
            <a:off x="3275816" y="5093733"/>
            <a:ext cx="567866" cy="567976"/>
            <a:chOff x="3181834" y="2500122"/>
            <a:chExt cx="755830" cy="755976"/>
          </a:xfrm>
          <a:solidFill>
            <a:schemeClr val="bg1"/>
          </a:solidFill>
          <a:effectLst>
            <a:outerShdw blurRad="12700" dist="127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461" name="Grafik 89">
              <a:extLst>
                <a:ext uri="{FF2B5EF4-FFF2-40B4-BE49-F238E27FC236}">
                  <a16:creationId xmlns:a16="http://schemas.microsoft.com/office/drawing/2014/main" id="{9692A98A-F5D2-4693-B543-F5ACD5E221EE}"/>
                </a:ext>
              </a:extLst>
            </p:cNvPr>
            <p:cNvGrpSpPr/>
            <p:nvPr/>
          </p:nvGrpSpPr>
          <p:grpSpPr>
            <a:xfrm>
              <a:off x="3181834" y="2500122"/>
              <a:ext cx="755830" cy="755976"/>
              <a:chOff x="3181834" y="2500122"/>
              <a:chExt cx="755830" cy="755976"/>
            </a:xfrm>
            <a:grpFill/>
          </p:grpSpPr>
          <p:sp>
            <p:nvSpPr>
              <p:cNvPr id="473" name="Freihandform: Form 472">
                <a:extLst>
                  <a:ext uri="{FF2B5EF4-FFF2-40B4-BE49-F238E27FC236}">
                    <a16:creationId xmlns:a16="http://schemas.microsoft.com/office/drawing/2014/main" id="{7E2EA73B-784E-457A-B84B-70306FCF5DE9}"/>
                  </a:ext>
                </a:extLst>
              </p:cNvPr>
              <p:cNvSpPr/>
              <p:nvPr/>
            </p:nvSpPr>
            <p:spPr>
              <a:xfrm>
                <a:off x="3181834" y="2500122"/>
                <a:ext cx="683436" cy="466182"/>
              </a:xfrm>
              <a:custGeom>
                <a:avLst/>
                <a:gdLst>
                  <a:gd name="connsiteX0" fmla="*/ 10556 w 683436"/>
                  <a:gd name="connsiteY0" fmla="*/ 466133 h 466182"/>
                  <a:gd name="connsiteX1" fmla="*/ 289200 w 683436"/>
                  <a:gd name="connsiteY1" fmla="*/ 10485 h 466182"/>
                  <a:gd name="connsiteX2" fmla="*/ 683389 w 683436"/>
                  <a:gd name="connsiteY2" fmla="*/ 155856 h 466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36" h="466182">
                    <a:moveTo>
                      <a:pt x="10556" y="466133"/>
                    </a:moveTo>
                    <a:cubicBezTo>
                      <a:pt x="-38322" y="263364"/>
                      <a:pt x="86431" y="59364"/>
                      <a:pt x="289200" y="10485"/>
                    </a:cubicBezTo>
                    <a:cubicBezTo>
                      <a:pt x="437911" y="-25362"/>
                      <a:pt x="593560" y="32039"/>
                      <a:pt x="683389" y="155856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474" name="Freihandform: Form 473">
                <a:extLst>
                  <a:ext uri="{FF2B5EF4-FFF2-40B4-BE49-F238E27FC236}">
                    <a16:creationId xmlns:a16="http://schemas.microsoft.com/office/drawing/2014/main" id="{F53BED66-4DE4-4E6F-8011-FAD41655E7C3}"/>
                  </a:ext>
                </a:extLst>
              </p:cNvPr>
              <p:cNvSpPr/>
              <p:nvPr/>
            </p:nvSpPr>
            <p:spPr>
              <a:xfrm>
                <a:off x="3813204" y="2617539"/>
                <a:ext cx="89068" cy="101502"/>
              </a:xfrm>
              <a:custGeom>
                <a:avLst/>
                <a:gdLst>
                  <a:gd name="connsiteX0" fmla="*/ 0 w 89068"/>
                  <a:gd name="connsiteY0" fmla="*/ 52788 h 101502"/>
                  <a:gd name="connsiteX1" fmla="*/ 89069 w 89068"/>
                  <a:gd name="connsiteY1" fmla="*/ 101502 h 101502"/>
                  <a:gd name="connsiteX2" fmla="*/ 86735 w 89068"/>
                  <a:gd name="connsiteY2" fmla="*/ 0 h 101502"/>
                  <a:gd name="connsiteX3" fmla="*/ 0 w 89068"/>
                  <a:gd name="connsiteY3" fmla="*/ 52788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0" y="52788"/>
                    </a:moveTo>
                    <a:lnTo>
                      <a:pt x="89069" y="101502"/>
                    </a:lnTo>
                    <a:lnTo>
                      <a:pt x="86735" y="0"/>
                    </a:lnTo>
                    <a:lnTo>
                      <a:pt x="0" y="52788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75" name="Freihandform: Form 474">
                <a:extLst>
                  <a:ext uri="{FF2B5EF4-FFF2-40B4-BE49-F238E27FC236}">
                    <a16:creationId xmlns:a16="http://schemas.microsoft.com/office/drawing/2014/main" id="{7B049BA1-C863-48F3-92A5-67BDC00C3E9E}"/>
                  </a:ext>
                </a:extLst>
              </p:cNvPr>
              <p:cNvSpPr/>
              <p:nvPr/>
            </p:nvSpPr>
            <p:spPr>
              <a:xfrm>
                <a:off x="3254221" y="2790415"/>
                <a:ext cx="683443" cy="465683"/>
              </a:xfrm>
              <a:custGeom>
                <a:avLst/>
                <a:gdLst>
                  <a:gd name="connsiteX0" fmla="*/ 672913 w 683443"/>
                  <a:gd name="connsiteY0" fmla="*/ -49 h 465683"/>
                  <a:gd name="connsiteX1" fmla="*/ 393650 w 683443"/>
                  <a:gd name="connsiteY1" fmla="*/ 455220 h 465683"/>
                  <a:gd name="connsiteX2" fmla="*/ -47 w 683443"/>
                  <a:gd name="connsiteY2" fmla="*/ 309719 h 465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43" h="465683">
                    <a:moveTo>
                      <a:pt x="672913" y="-49"/>
                    </a:moveTo>
                    <a:cubicBezTo>
                      <a:pt x="721516" y="202786"/>
                      <a:pt x="596485" y="406617"/>
                      <a:pt x="393650" y="455220"/>
                    </a:cubicBezTo>
                    <a:cubicBezTo>
                      <a:pt x="245067" y="490822"/>
                      <a:pt x="89671" y="433392"/>
                      <a:pt x="-47" y="309719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476" name="Freihandform: Form 475">
                <a:extLst>
                  <a:ext uri="{FF2B5EF4-FFF2-40B4-BE49-F238E27FC236}">
                    <a16:creationId xmlns:a16="http://schemas.microsoft.com/office/drawing/2014/main" id="{89E7DEF0-B26D-4A05-B091-A9744E55A401}"/>
                  </a:ext>
                </a:extLst>
              </p:cNvPr>
              <p:cNvSpPr/>
              <p:nvPr/>
            </p:nvSpPr>
            <p:spPr>
              <a:xfrm>
                <a:off x="3217261" y="3037254"/>
                <a:ext cx="89068" cy="101502"/>
              </a:xfrm>
              <a:custGeom>
                <a:avLst/>
                <a:gdLst>
                  <a:gd name="connsiteX0" fmla="*/ 89069 w 89068"/>
                  <a:gd name="connsiteY0" fmla="*/ 48714 h 101502"/>
                  <a:gd name="connsiteX1" fmla="*/ 0 w 89068"/>
                  <a:gd name="connsiteY1" fmla="*/ 0 h 101502"/>
                  <a:gd name="connsiteX2" fmla="*/ 2334 w 89068"/>
                  <a:gd name="connsiteY2" fmla="*/ 101502 h 101502"/>
                  <a:gd name="connsiteX3" fmla="*/ 89069 w 89068"/>
                  <a:gd name="connsiteY3" fmla="*/ 48714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89069" y="48714"/>
                    </a:moveTo>
                    <a:lnTo>
                      <a:pt x="0" y="0"/>
                    </a:lnTo>
                    <a:lnTo>
                      <a:pt x="2334" y="101502"/>
                    </a:lnTo>
                    <a:lnTo>
                      <a:pt x="89069" y="48714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462" name="Freihandform: Form 461">
              <a:extLst>
                <a:ext uri="{FF2B5EF4-FFF2-40B4-BE49-F238E27FC236}">
                  <a16:creationId xmlns:a16="http://schemas.microsoft.com/office/drawing/2014/main" id="{C535B1F2-C6D2-4F79-9E57-95BDE68CA1FF}"/>
                </a:ext>
              </a:extLst>
            </p:cNvPr>
            <p:cNvSpPr/>
            <p:nvPr/>
          </p:nvSpPr>
          <p:spPr>
            <a:xfrm>
              <a:off x="3813204" y="2617539"/>
              <a:ext cx="89068" cy="101502"/>
            </a:xfrm>
            <a:custGeom>
              <a:avLst/>
              <a:gdLst>
                <a:gd name="connsiteX0" fmla="*/ 0 w 89068"/>
                <a:gd name="connsiteY0" fmla="*/ 52788 h 101502"/>
                <a:gd name="connsiteX1" fmla="*/ 89069 w 89068"/>
                <a:gd name="connsiteY1" fmla="*/ 101502 h 101502"/>
                <a:gd name="connsiteX2" fmla="*/ 86735 w 89068"/>
                <a:gd name="connsiteY2" fmla="*/ 0 h 101502"/>
                <a:gd name="connsiteX3" fmla="*/ 0 w 89068"/>
                <a:gd name="connsiteY3" fmla="*/ 52788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0" y="52788"/>
                  </a:moveTo>
                  <a:lnTo>
                    <a:pt x="89069" y="101502"/>
                  </a:lnTo>
                  <a:lnTo>
                    <a:pt x="86735" y="0"/>
                  </a:lnTo>
                  <a:lnTo>
                    <a:pt x="0" y="52788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4" name="Freihandform: Form 463">
              <a:extLst>
                <a:ext uri="{FF2B5EF4-FFF2-40B4-BE49-F238E27FC236}">
                  <a16:creationId xmlns:a16="http://schemas.microsoft.com/office/drawing/2014/main" id="{39536CC7-36DB-4BB2-964B-DC9A417FE593}"/>
                </a:ext>
              </a:extLst>
            </p:cNvPr>
            <p:cNvSpPr/>
            <p:nvPr/>
          </p:nvSpPr>
          <p:spPr>
            <a:xfrm>
              <a:off x="3217261" y="3037254"/>
              <a:ext cx="89068" cy="101502"/>
            </a:xfrm>
            <a:custGeom>
              <a:avLst/>
              <a:gdLst>
                <a:gd name="connsiteX0" fmla="*/ 89069 w 89068"/>
                <a:gd name="connsiteY0" fmla="*/ 48714 h 101502"/>
                <a:gd name="connsiteX1" fmla="*/ 0 w 89068"/>
                <a:gd name="connsiteY1" fmla="*/ 0 h 101502"/>
                <a:gd name="connsiteX2" fmla="*/ 2334 w 89068"/>
                <a:gd name="connsiteY2" fmla="*/ 101502 h 101502"/>
                <a:gd name="connsiteX3" fmla="*/ 89069 w 89068"/>
                <a:gd name="connsiteY3" fmla="*/ 48714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89069" y="48714"/>
                  </a:moveTo>
                  <a:lnTo>
                    <a:pt x="0" y="0"/>
                  </a:lnTo>
                  <a:lnTo>
                    <a:pt x="2334" y="101502"/>
                  </a:lnTo>
                  <a:lnTo>
                    <a:pt x="89069" y="48714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5" name="Freihandform: Form 464">
              <a:extLst>
                <a:ext uri="{FF2B5EF4-FFF2-40B4-BE49-F238E27FC236}">
                  <a16:creationId xmlns:a16="http://schemas.microsoft.com/office/drawing/2014/main" id="{3CD25728-6101-4E38-BD88-4E7682C66100}"/>
                </a:ext>
              </a:extLst>
            </p:cNvPr>
            <p:cNvSpPr/>
            <p:nvPr/>
          </p:nvSpPr>
          <p:spPr>
            <a:xfrm>
              <a:off x="3467057" y="2774927"/>
              <a:ext cx="327800" cy="326904"/>
            </a:xfrm>
            <a:custGeom>
              <a:avLst/>
              <a:gdLst>
                <a:gd name="connsiteX0" fmla="*/ 182728 w 327800"/>
                <a:gd name="connsiteY0" fmla="*/ 121439 h 326904"/>
                <a:gd name="connsiteX1" fmla="*/ 121848 w 327800"/>
                <a:gd name="connsiteY1" fmla="*/ 4291 h 326904"/>
                <a:gd name="connsiteX2" fmla="*/ 93617 w 327800"/>
                <a:gd name="connsiteY2" fmla="*/ -49 h 326904"/>
                <a:gd name="connsiteX3" fmla="*/ 90137 w 327800"/>
                <a:gd name="connsiteY3" fmla="*/ -49 h 326904"/>
                <a:gd name="connsiteX4" fmla="*/ 78095 w 327800"/>
                <a:gd name="connsiteY4" fmla="*/ 13333 h 326904"/>
                <a:gd name="connsiteX5" fmla="*/ 81651 w 327800"/>
                <a:gd name="connsiteY5" fmla="*/ 21507 h 326904"/>
                <a:gd name="connsiteX6" fmla="*/ 123533 w 327800"/>
                <a:gd name="connsiteY6" fmla="*/ 62923 h 326904"/>
                <a:gd name="connsiteX7" fmla="*/ 63744 w 327800"/>
                <a:gd name="connsiteY7" fmla="*/ 123349 h 326904"/>
                <a:gd name="connsiteX8" fmla="*/ 21607 w 327800"/>
                <a:gd name="connsiteY8" fmla="*/ 81636 h 326904"/>
                <a:gd name="connsiteX9" fmla="*/ 12738 w 327800"/>
                <a:gd name="connsiteY9" fmla="*/ 77987 h 326904"/>
                <a:gd name="connsiteX10" fmla="*/ 8 w 327800"/>
                <a:gd name="connsiteY10" fmla="*/ 90166 h 326904"/>
                <a:gd name="connsiteX11" fmla="*/ 90136 w 327800"/>
                <a:gd name="connsiteY11" fmla="*/ 186638 h 326904"/>
                <a:gd name="connsiteX12" fmla="*/ 122812 w 327800"/>
                <a:gd name="connsiteY12" fmla="*/ 181908 h 326904"/>
                <a:gd name="connsiteX13" fmla="*/ 259916 w 327800"/>
                <a:gd name="connsiteY13" fmla="*/ 318885 h 326904"/>
                <a:gd name="connsiteX14" fmla="*/ 298531 w 327800"/>
                <a:gd name="connsiteY14" fmla="*/ 318885 h 326904"/>
                <a:gd name="connsiteX15" fmla="*/ 319748 w 327800"/>
                <a:gd name="connsiteY15" fmla="*/ 297286 h 326904"/>
                <a:gd name="connsiteX16" fmla="*/ 319776 w 327800"/>
                <a:gd name="connsiteY16" fmla="*/ 258699 h 326904"/>
                <a:gd name="connsiteX17" fmla="*/ 319748 w 327800"/>
                <a:gd name="connsiteY17" fmla="*/ 258671 h 326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27800" h="326904">
                  <a:moveTo>
                    <a:pt x="182728" y="121439"/>
                  </a:moveTo>
                  <a:cubicBezTo>
                    <a:pt x="198266" y="72278"/>
                    <a:pt x="171009" y="19829"/>
                    <a:pt x="121848" y="4291"/>
                  </a:cubicBezTo>
                  <a:cubicBezTo>
                    <a:pt x="112716" y="1405"/>
                    <a:pt x="103194" y="-59"/>
                    <a:pt x="93617" y="-49"/>
                  </a:cubicBezTo>
                  <a:lnTo>
                    <a:pt x="90137" y="-49"/>
                  </a:lnTo>
                  <a:cubicBezTo>
                    <a:pt x="83116" y="321"/>
                    <a:pt x="77725" y="6312"/>
                    <a:pt x="78095" y="13333"/>
                  </a:cubicBezTo>
                  <a:cubicBezTo>
                    <a:pt x="78256" y="16397"/>
                    <a:pt x="79519" y="19300"/>
                    <a:pt x="81651" y="21507"/>
                  </a:cubicBezTo>
                  <a:lnTo>
                    <a:pt x="123533" y="62923"/>
                  </a:lnTo>
                  <a:lnTo>
                    <a:pt x="63744" y="123349"/>
                  </a:lnTo>
                  <a:lnTo>
                    <a:pt x="21607" y="81636"/>
                  </a:lnTo>
                  <a:cubicBezTo>
                    <a:pt x="19239" y="79310"/>
                    <a:pt x="16057" y="78001"/>
                    <a:pt x="12738" y="77987"/>
                  </a:cubicBezTo>
                  <a:cubicBezTo>
                    <a:pt x="5917" y="77981"/>
                    <a:pt x="303" y="83351"/>
                    <a:pt x="8" y="90166"/>
                  </a:cubicBezTo>
                  <a:cubicBezTo>
                    <a:pt x="-1744" y="141694"/>
                    <a:pt x="38608" y="184887"/>
                    <a:pt x="90136" y="186638"/>
                  </a:cubicBezTo>
                  <a:cubicBezTo>
                    <a:pt x="101223" y="187015"/>
                    <a:pt x="112287" y="185413"/>
                    <a:pt x="122812" y="181908"/>
                  </a:cubicBezTo>
                  <a:lnTo>
                    <a:pt x="259916" y="318885"/>
                  </a:lnTo>
                  <a:cubicBezTo>
                    <a:pt x="270594" y="329512"/>
                    <a:pt x="287853" y="329512"/>
                    <a:pt x="298531" y="318885"/>
                  </a:cubicBezTo>
                  <a:lnTo>
                    <a:pt x="319748" y="297286"/>
                  </a:lnTo>
                  <a:cubicBezTo>
                    <a:pt x="330411" y="286638"/>
                    <a:pt x="330423" y="269362"/>
                    <a:pt x="319776" y="258699"/>
                  </a:cubicBezTo>
                  <a:cubicBezTo>
                    <a:pt x="319766" y="258690"/>
                    <a:pt x="319757" y="258680"/>
                    <a:pt x="319748" y="258671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6" name="Freihandform: Form 465">
              <a:extLst>
                <a:ext uri="{FF2B5EF4-FFF2-40B4-BE49-F238E27FC236}">
                  <a16:creationId xmlns:a16="http://schemas.microsoft.com/office/drawing/2014/main" id="{BD29D597-03A2-4077-A304-D9AF50079F3B}"/>
                </a:ext>
              </a:extLst>
            </p:cNvPr>
            <p:cNvSpPr/>
            <p:nvPr/>
          </p:nvSpPr>
          <p:spPr>
            <a:xfrm>
              <a:off x="3467057" y="2774927"/>
              <a:ext cx="327800" cy="326904"/>
            </a:xfrm>
            <a:custGeom>
              <a:avLst/>
              <a:gdLst>
                <a:gd name="connsiteX0" fmla="*/ 182728 w 327800"/>
                <a:gd name="connsiteY0" fmla="*/ 121439 h 326904"/>
                <a:gd name="connsiteX1" fmla="*/ 121848 w 327800"/>
                <a:gd name="connsiteY1" fmla="*/ 4291 h 326904"/>
                <a:gd name="connsiteX2" fmla="*/ 93617 w 327800"/>
                <a:gd name="connsiteY2" fmla="*/ -49 h 326904"/>
                <a:gd name="connsiteX3" fmla="*/ 90137 w 327800"/>
                <a:gd name="connsiteY3" fmla="*/ -49 h 326904"/>
                <a:gd name="connsiteX4" fmla="*/ 78095 w 327800"/>
                <a:gd name="connsiteY4" fmla="*/ 13333 h 326904"/>
                <a:gd name="connsiteX5" fmla="*/ 81651 w 327800"/>
                <a:gd name="connsiteY5" fmla="*/ 21507 h 326904"/>
                <a:gd name="connsiteX6" fmla="*/ 123533 w 327800"/>
                <a:gd name="connsiteY6" fmla="*/ 62923 h 326904"/>
                <a:gd name="connsiteX7" fmla="*/ 63744 w 327800"/>
                <a:gd name="connsiteY7" fmla="*/ 123349 h 326904"/>
                <a:gd name="connsiteX8" fmla="*/ 21607 w 327800"/>
                <a:gd name="connsiteY8" fmla="*/ 81636 h 326904"/>
                <a:gd name="connsiteX9" fmla="*/ 12738 w 327800"/>
                <a:gd name="connsiteY9" fmla="*/ 77987 h 326904"/>
                <a:gd name="connsiteX10" fmla="*/ 8 w 327800"/>
                <a:gd name="connsiteY10" fmla="*/ 90166 h 326904"/>
                <a:gd name="connsiteX11" fmla="*/ 90136 w 327800"/>
                <a:gd name="connsiteY11" fmla="*/ 186638 h 326904"/>
                <a:gd name="connsiteX12" fmla="*/ 122812 w 327800"/>
                <a:gd name="connsiteY12" fmla="*/ 181908 h 326904"/>
                <a:gd name="connsiteX13" fmla="*/ 259916 w 327800"/>
                <a:gd name="connsiteY13" fmla="*/ 318885 h 326904"/>
                <a:gd name="connsiteX14" fmla="*/ 298531 w 327800"/>
                <a:gd name="connsiteY14" fmla="*/ 318885 h 326904"/>
                <a:gd name="connsiteX15" fmla="*/ 319748 w 327800"/>
                <a:gd name="connsiteY15" fmla="*/ 297286 h 326904"/>
                <a:gd name="connsiteX16" fmla="*/ 319776 w 327800"/>
                <a:gd name="connsiteY16" fmla="*/ 258699 h 326904"/>
                <a:gd name="connsiteX17" fmla="*/ 319748 w 327800"/>
                <a:gd name="connsiteY17" fmla="*/ 258671 h 326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27800" h="326904">
                  <a:moveTo>
                    <a:pt x="182728" y="121439"/>
                  </a:moveTo>
                  <a:cubicBezTo>
                    <a:pt x="198266" y="72278"/>
                    <a:pt x="171009" y="19829"/>
                    <a:pt x="121848" y="4291"/>
                  </a:cubicBezTo>
                  <a:cubicBezTo>
                    <a:pt x="112716" y="1405"/>
                    <a:pt x="103194" y="-59"/>
                    <a:pt x="93617" y="-49"/>
                  </a:cubicBezTo>
                  <a:lnTo>
                    <a:pt x="90137" y="-49"/>
                  </a:lnTo>
                  <a:cubicBezTo>
                    <a:pt x="83116" y="321"/>
                    <a:pt x="77725" y="6312"/>
                    <a:pt x="78095" y="13333"/>
                  </a:cubicBezTo>
                  <a:cubicBezTo>
                    <a:pt x="78256" y="16397"/>
                    <a:pt x="79519" y="19300"/>
                    <a:pt x="81651" y="21507"/>
                  </a:cubicBezTo>
                  <a:lnTo>
                    <a:pt x="123533" y="62923"/>
                  </a:lnTo>
                  <a:lnTo>
                    <a:pt x="63744" y="123349"/>
                  </a:lnTo>
                  <a:lnTo>
                    <a:pt x="21607" y="81636"/>
                  </a:lnTo>
                  <a:cubicBezTo>
                    <a:pt x="19239" y="79310"/>
                    <a:pt x="16057" y="78001"/>
                    <a:pt x="12738" y="77987"/>
                  </a:cubicBezTo>
                  <a:cubicBezTo>
                    <a:pt x="5917" y="77981"/>
                    <a:pt x="303" y="83351"/>
                    <a:pt x="8" y="90166"/>
                  </a:cubicBezTo>
                  <a:cubicBezTo>
                    <a:pt x="-1744" y="141694"/>
                    <a:pt x="38608" y="184887"/>
                    <a:pt x="90136" y="186638"/>
                  </a:cubicBezTo>
                  <a:cubicBezTo>
                    <a:pt x="101223" y="187015"/>
                    <a:pt x="112287" y="185413"/>
                    <a:pt x="122812" y="181908"/>
                  </a:cubicBezTo>
                  <a:lnTo>
                    <a:pt x="259916" y="318885"/>
                  </a:lnTo>
                  <a:cubicBezTo>
                    <a:pt x="270594" y="329512"/>
                    <a:pt x="287853" y="329512"/>
                    <a:pt x="298531" y="318885"/>
                  </a:cubicBezTo>
                  <a:lnTo>
                    <a:pt x="319748" y="297286"/>
                  </a:lnTo>
                  <a:cubicBezTo>
                    <a:pt x="330411" y="286638"/>
                    <a:pt x="330423" y="269362"/>
                    <a:pt x="319776" y="258699"/>
                  </a:cubicBezTo>
                  <a:cubicBezTo>
                    <a:pt x="319766" y="258690"/>
                    <a:pt x="319757" y="258680"/>
                    <a:pt x="319748" y="258671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7" name="Freihandform: Form 466">
              <a:extLst>
                <a:ext uri="{FF2B5EF4-FFF2-40B4-BE49-F238E27FC236}">
                  <a16:creationId xmlns:a16="http://schemas.microsoft.com/office/drawing/2014/main" id="{886F4131-FBB6-497C-9CED-5AAC74D1353E}"/>
                </a:ext>
              </a:extLst>
            </p:cNvPr>
            <p:cNvSpPr/>
            <p:nvPr/>
          </p:nvSpPr>
          <p:spPr>
            <a:xfrm>
              <a:off x="3300601" y="2615162"/>
              <a:ext cx="518288" cy="518501"/>
            </a:xfrm>
            <a:custGeom>
              <a:avLst/>
              <a:gdLst>
                <a:gd name="connsiteX0" fmla="*/ 506530 w 518288"/>
                <a:gd name="connsiteY0" fmla="*/ 221499 h 518501"/>
                <a:gd name="connsiteX1" fmla="*/ 484634 w 518288"/>
                <a:gd name="connsiteY1" fmla="*/ 221499 h 518501"/>
                <a:gd name="connsiteX2" fmla="*/ 469273 w 518288"/>
                <a:gd name="connsiteY2" fmla="*/ 210042 h 518501"/>
                <a:gd name="connsiteX3" fmla="*/ 439569 w 518288"/>
                <a:gd name="connsiteY3" fmla="*/ 140535 h 518501"/>
                <a:gd name="connsiteX4" fmla="*/ 442030 w 518288"/>
                <a:gd name="connsiteY4" fmla="*/ 121780 h 518501"/>
                <a:gd name="connsiteX5" fmla="*/ 456882 w 518288"/>
                <a:gd name="connsiteY5" fmla="*/ 106970 h 518501"/>
                <a:gd name="connsiteX6" fmla="*/ 456993 w 518288"/>
                <a:gd name="connsiteY6" fmla="*/ 90107 h 518501"/>
                <a:gd name="connsiteX7" fmla="*/ 456882 w 518288"/>
                <a:gd name="connsiteY7" fmla="*/ 89996 h 518501"/>
                <a:gd name="connsiteX8" fmla="*/ 421195 w 518288"/>
                <a:gd name="connsiteY8" fmla="*/ 54309 h 518501"/>
                <a:gd name="connsiteX9" fmla="*/ 404221 w 518288"/>
                <a:gd name="connsiteY9" fmla="*/ 54309 h 518501"/>
                <a:gd name="connsiteX10" fmla="*/ 388181 w 518288"/>
                <a:gd name="connsiteY10" fmla="*/ 70434 h 518501"/>
                <a:gd name="connsiteX11" fmla="*/ 369128 w 518288"/>
                <a:gd name="connsiteY11" fmla="*/ 73320 h 518501"/>
                <a:gd name="connsiteX12" fmla="*/ 308872 w 518288"/>
                <a:gd name="connsiteY12" fmla="*/ 49302 h 518501"/>
                <a:gd name="connsiteX13" fmla="*/ 297373 w 518288"/>
                <a:gd name="connsiteY13" fmla="*/ 34068 h 518501"/>
                <a:gd name="connsiteX14" fmla="*/ 297373 w 518288"/>
                <a:gd name="connsiteY14" fmla="*/ 11875 h 518501"/>
                <a:gd name="connsiteX15" fmla="*/ 285491 w 518288"/>
                <a:gd name="connsiteY15" fmla="*/ -48 h 518501"/>
                <a:gd name="connsiteX16" fmla="*/ 234995 w 518288"/>
                <a:gd name="connsiteY16" fmla="*/ -48 h 518501"/>
                <a:gd name="connsiteX17" fmla="*/ 222859 w 518288"/>
                <a:gd name="connsiteY17" fmla="*/ 11832 h 518501"/>
                <a:gd name="connsiteX18" fmla="*/ 222859 w 518288"/>
                <a:gd name="connsiteY18" fmla="*/ 11876 h 518501"/>
                <a:gd name="connsiteX19" fmla="*/ 222859 w 518288"/>
                <a:gd name="connsiteY19" fmla="*/ 34281 h 518501"/>
                <a:gd name="connsiteX20" fmla="*/ 211486 w 518288"/>
                <a:gd name="connsiteY20" fmla="*/ 49727 h 518501"/>
                <a:gd name="connsiteX21" fmla="*/ 141343 w 518288"/>
                <a:gd name="connsiteY21" fmla="*/ 79727 h 518501"/>
                <a:gd name="connsiteX22" fmla="*/ 122672 w 518288"/>
                <a:gd name="connsiteY22" fmla="*/ 77309 h 518501"/>
                <a:gd name="connsiteX23" fmla="*/ 106929 w 518288"/>
                <a:gd name="connsiteY23" fmla="*/ 61566 h 518501"/>
                <a:gd name="connsiteX24" fmla="*/ 89955 w 518288"/>
                <a:gd name="connsiteY24" fmla="*/ 61566 h 518501"/>
                <a:gd name="connsiteX25" fmla="*/ 54268 w 518288"/>
                <a:gd name="connsiteY25" fmla="*/ 97040 h 518501"/>
                <a:gd name="connsiteX26" fmla="*/ 54097 w 518288"/>
                <a:gd name="connsiteY26" fmla="*/ 113843 h 518501"/>
                <a:gd name="connsiteX27" fmla="*/ 54268 w 518288"/>
                <a:gd name="connsiteY27" fmla="*/ 114014 h 518501"/>
                <a:gd name="connsiteX28" fmla="*/ 71242 w 518288"/>
                <a:gd name="connsiteY28" fmla="*/ 130988 h 518501"/>
                <a:gd name="connsiteX29" fmla="*/ 74170 w 518288"/>
                <a:gd name="connsiteY29" fmla="*/ 149998 h 518501"/>
                <a:gd name="connsiteX30" fmla="*/ 50322 w 518288"/>
                <a:gd name="connsiteY30" fmla="*/ 209872 h 518501"/>
                <a:gd name="connsiteX31" fmla="*/ 35131 w 518288"/>
                <a:gd name="connsiteY31" fmla="*/ 221415 h 518501"/>
                <a:gd name="connsiteX32" fmla="*/ 11834 w 518288"/>
                <a:gd name="connsiteY32" fmla="*/ 221415 h 518501"/>
                <a:gd name="connsiteX33" fmla="*/ -47 w 518288"/>
                <a:gd name="connsiteY33" fmla="*/ 233296 h 518501"/>
                <a:gd name="connsiteX34" fmla="*/ -47 w 518288"/>
                <a:gd name="connsiteY34" fmla="*/ 283750 h 518501"/>
                <a:gd name="connsiteX35" fmla="*/ 11834 w 518288"/>
                <a:gd name="connsiteY35" fmla="*/ 295716 h 518501"/>
                <a:gd name="connsiteX36" fmla="*/ 11834 w 518288"/>
                <a:gd name="connsiteY36" fmla="*/ 295716 h 518501"/>
                <a:gd name="connsiteX37" fmla="*/ 35597 w 518288"/>
                <a:gd name="connsiteY37" fmla="*/ 295716 h 518501"/>
                <a:gd name="connsiteX38" fmla="*/ 51043 w 518288"/>
                <a:gd name="connsiteY38" fmla="*/ 307089 h 518501"/>
                <a:gd name="connsiteX39" fmla="*/ 80280 w 518288"/>
                <a:gd name="connsiteY39" fmla="*/ 376086 h 518501"/>
                <a:gd name="connsiteX40" fmla="*/ 77946 w 518288"/>
                <a:gd name="connsiteY40" fmla="*/ 394842 h 518501"/>
                <a:gd name="connsiteX41" fmla="*/ 61482 w 518288"/>
                <a:gd name="connsiteY41" fmla="*/ 411179 h 518501"/>
                <a:gd name="connsiteX42" fmla="*/ 61431 w 518288"/>
                <a:gd name="connsiteY42" fmla="*/ 428102 h 518501"/>
                <a:gd name="connsiteX43" fmla="*/ 61482 w 518288"/>
                <a:gd name="connsiteY43" fmla="*/ 428153 h 518501"/>
                <a:gd name="connsiteX44" fmla="*/ 97212 w 518288"/>
                <a:gd name="connsiteY44" fmla="*/ 463755 h 518501"/>
                <a:gd name="connsiteX45" fmla="*/ 113831 w 518288"/>
                <a:gd name="connsiteY45" fmla="*/ 464109 h 518501"/>
                <a:gd name="connsiteX46" fmla="*/ 114185 w 518288"/>
                <a:gd name="connsiteY46" fmla="*/ 463755 h 518501"/>
                <a:gd name="connsiteX47" fmla="*/ 131753 w 518288"/>
                <a:gd name="connsiteY47" fmla="*/ 446399 h 518501"/>
                <a:gd name="connsiteX48" fmla="*/ 150636 w 518288"/>
                <a:gd name="connsiteY48" fmla="*/ 443599 h 518501"/>
                <a:gd name="connsiteX49" fmla="*/ 211826 w 518288"/>
                <a:gd name="connsiteY49" fmla="*/ 467998 h 518501"/>
                <a:gd name="connsiteX50" fmla="*/ 223198 w 518288"/>
                <a:gd name="connsiteY50" fmla="*/ 483190 h 518501"/>
                <a:gd name="connsiteX51" fmla="*/ 223198 w 518288"/>
                <a:gd name="connsiteY51" fmla="*/ 506571 h 518501"/>
                <a:gd name="connsiteX52" fmla="*/ 235122 w 518288"/>
                <a:gd name="connsiteY52" fmla="*/ 518452 h 518501"/>
                <a:gd name="connsiteX53" fmla="*/ 285618 w 518288"/>
                <a:gd name="connsiteY53" fmla="*/ 518452 h 518501"/>
                <a:gd name="connsiteX54" fmla="*/ 297500 w 518288"/>
                <a:gd name="connsiteY54" fmla="*/ 506571 h 518501"/>
                <a:gd name="connsiteX55" fmla="*/ 297500 w 518288"/>
                <a:gd name="connsiteY55" fmla="*/ 483190 h 518501"/>
                <a:gd name="connsiteX56" fmla="*/ 309000 w 518288"/>
                <a:gd name="connsiteY56" fmla="*/ 467871 h 518501"/>
                <a:gd name="connsiteX57" fmla="*/ 324445 w 518288"/>
                <a:gd name="connsiteY57" fmla="*/ 461336 h 518501"/>
                <a:gd name="connsiteX58" fmla="*/ 271021 w 518288"/>
                <a:gd name="connsiteY58" fmla="*/ 408209 h 518501"/>
                <a:gd name="connsiteX59" fmla="*/ 269154 w 518288"/>
                <a:gd name="connsiteY59" fmla="*/ 408209 h 518501"/>
                <a:gd name="connsiteX60" fmla="*/ 262492 w 518288"/>
                <a:gd name="connsiteY60" fmla="*/ 408463 h 518501"/>
                <a:gd name="connsiteX61" fmla="*/ 259946 w 518288"/>
                <a:gd name="connsiteY61" fmla="*/ 408463 h 518501"/>
                <a:gd name="connsiteX62" fmla="*/ 155516 w 518288"/>
                <a:gd name="connsiteY62" fmla="*/ 365520 h 518501"/>
                <a:gd name="connsiteX63" fmla="*/ 143677 w 518288"/>
                <a:gd name="connsiteY63" fmla="*/ 352238 h 518501"/>
                <a:gd name="connsiteX64" fmla="*/ 140537 w 518288"/>
                <a:gd name="connsiteY64" fmla="*/ 347995 h 518501"/>
                <a:gd name="connsiteX65" fmla="*/ 140155 w 518288"/>
                <a:gd name="connsiteY65" fmla="*/ 347486 h 518501"/>
                <a:gd name="connsiteX66" fmla="*/ 171783 w 518288"/>
                <a:gd name="connsiteY66" fmla="*/ 139843 h 518501"/>
                <a:gd name="connsiteX67" fmla="*/ 322196 w 518288"/>
                <a:gd name="connsiteY67" fmla="*/ 124707 h 518501"/>
                <a:gd name="connsiteX68" fmla="*/ 323512 w 518288"/>
                <a:gd name="connsiteY68" fmla="*/ 125302 h 518501"/>
                <a:gd name="connsiteX69" fmla="*/ 327755 w 518288"/>
                <a:gd name="connsiteY69" fmla="*/ 127466 h 518501"/>
                <a:gd name="connsiteX70" fmla="*/ 330004 w 518288"/>
                <a:gd name="connsiteY70" fmla="*/ 128654 h 518501"/>
                <a:gd name="connsiteX71" fmla="*/ 333526 w 518288"/>
                <a:gd name="connsiteY71" fmla="*/ 130606 h 518501"/>
                <a:gd name="connsiteX72" fmla="*/ 336412 w 518288"/>
                <a:gd name="connsiteY72" fmla="*/ 132261 h 518501"/>
                <a:gd name="connsiteX73" fmla="*/ 339382 w 518288"/>
                <a:gd name="connsiteY73" fmla="*/ 134128 h 518501"/>
                <a:gd name="connsiteX74" fmla="*/ 342480 w 518288"/>
                <a:gd name="connsiteY74" fmla="*/ 136122 h 518501"/>
                <a:gd name="connsiteX75" fmla="*/ 345323 w 518288"/>
                <a:gd name="connsiteY75" fmla="*/ 138117 h 518501"/>
                <a:gd name="connsiteX76" fmla="*/ 348378 w 518288"/>
                <a:gd name="connsiteY76" fmla="*/ 140281 h 518501"/>
                <a:gd name="connsiteX77" fmla="*/ 351221 w 518288"/>
                <a:gd name="connsiteY77" fmla="*/ 142487 h 518501"/>
                <a:gd name="connsiteX78" fmla="*/ 354022 w 518288"/>
                <a:gd name="connsiteY78" fmla="*/ 144694 h 518501"/>
                <a:gd name="connsiteX79" fmla="*/ 357035 w 518288"/>
                <a:gd name="connsiteY79" fmla="*/ 147282 h 518501"/>
                <a:gd name="connsiteX80" fmla="*/ 359454 w 518288"/>
                <a:gd name="connsiteY80" fmla="*/ 149362 h 518501"/>
                <a:gd name="connsiteX81" fmla="*/ 362551 w 518288"/>
                <a:gd name="connsiteY81" fmla="*/ 152247 h 518501"/>
                <a:gd name="connsiteX82" fmla="*/ 364503 w 518288"/>
                <a:gd name="connsiteY82" fmla="*/ 154114 h 518501"/>
                <a:gd name="connsiteX83" fmla="*/ 364715 w 518288"/>
                <a:gd name="connsiteY83" fmla="*/ 154369 h 518501"/>
                <a:gd name="connsiteX84" fmla="*/ 369935 w 518288"/>
                <a:gd name="connsiteY84" fmla="*/ 159758 h 518501"/>
                <a:gd name="connsiteX85" fmla="*/ 372608 w 518288"/>
                <a:gd name="connsiteY85" fmla="*/ 162898 h 518501"/>
                <a:gd name="connsiteX86" fmla="*/ 374772 w 518288"/>
                <a:gd name="connsiteY86" fmla="*/ 165359 h 518501"/>
                <a:gd name="connsiteX87" fmla="*/ 377997 w 518288"/>
                <a:gd name="connsiteY87" fmla="*/ 169603 h 518501"/>
                <a:gd name="connsiteX88" fmla="*/ 379228 w 518288"/>
                <a:gd name="connsiteY88" fmla="*/ 171258 h 518501"/>
                <a:gd name="connsiteX89" fmla="*/ 382580 w 518288"/>
                <a:gd name="connsiteY89" fmla="*/ 175925 h 518501"/>
                <a:gd name="connsiteX90" fmla="*/ 383386 w 518288"/>
                <a:gd name="connsiteY90" fmla="*/ 177113 h 518501"/>
                <a:gd name="connsiteX91" fmla="*/ 386739 w 518288"/>
                <a:gd name="connsiteY91" fmla="*/ 182333 h 518501"/>
                <a:gd name="connsiteX92" fmla="*/ 387205 w 518288"/>
                <a:gd name="connsiteY92" fmla="*/ 183097 h 518501"/>
                <a:gd name="connsiteX93" fmla="*/ 390515 w 518288"/>
                <a:gd name="connsiteY93" fmla="*/ 188868 h 518501"/>
                <a:gd name="connsiteX94" fmla="*/ 390515 w 518288"/>
                <a:gd name="connsiteY94" fmla="*/ 188868 h 518501"/>
                <a:gd name="connsiteX95" fmla="*/ 408168 w 518288"/>
                <a:gd name="connsiteY95" fmla="*/ 268983 h 518501"/>
                <a:gd name="connsiteX96" fmla="*/ 462483 w 518288"/>
                <a:gd name="connsiteY96" fmla="*/ 323298 h 518501"/>
                <a:gd name="connsiteX97" fmla="*/ 469103 w 518288"/>
                <a:gd name="connsiteY97" fmla="*/ 306834 h 518501"/>
                <a:gd name="connsiteX98" fmla="*/ 484422 w 518288"/>
                <a:gd name="connsiteY98" fmla="*/ 295334 h 518501"/>
                <a:gd name="connsiteX99" fmla="*/ 506318 w 518288"/>
                <a:gd name="connsiteY99" fmla="*/ 295334 h 518501"/>
                <a:gd name="connsiteX100" fmla="*/ 518241 w 518288"/>
                <a:gd name="connsiteY100" fmla="*/ 283411 h 518501"/>
                <a:gd name="connsiteX101" fmla="*/ 518241 w 518288"/>
                <a:gd name="connsiteY101" fmla="*/ 233381 h 518501"/>
                <a:gd name="connsiteX102" fmla="*/ 506530 w 518288"/>
                <a:gd name="connsiteY102" fmla="*/ 221499 h 518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518288" h="518501">
                  <a:moveTo>
                    <a:pt x="506530" y="221499"/>
                  </a:moveTo>
                  <a:lnTo>
                    <a:pt x="484634" y="221499"/>
                  </a:lnTo>
                  <a:cubicBezTo>
                    <a:pt x="477641" y="221212"/>
                    <a:pt x="471541" y="216663"/>
                    <a:pt x="469273" y="210042"/>
                  </a:cubicBezTo>
                  <a:lnTo>
                    <a:pt x="439569" y="140535"/>
                  </a:lnTo>
                  <a:cubicBezTo>
                    <a:pt x="436434" y="134376"/>
                    <a:pt x="437412" y="126922"/>
                    <a:pt x="442030" y="121780"/>
                  </a:cubicBezTo>
                  <a:lnTo>
                    <a:pt x="456882" y="106970"/>
                  </a:lnTo>
                  <a:cubicBezTo>
                    <a:pt x="461569" y="102344"/>
                    <a:pt x="461619" y="94795"/>
                    <a:pt x="456993" y="90107"/>
                  </a:cubicBezTo>
                  <a:cubicBezTo>
                    <a:pt x="456956" y="90070"/>
                    <a:pt x="456919" y="90033"/>
                    <a:pt x="456882" y="89996"/>
                  </a:cubicBezTo>
                  <a:lnTo>
                    <a:pt x="421195" y="54309"/>
                  </a:lnTo>
                  <a:cubicBezTo>
                    <a:pt x="416497" y="49649"/>
                    <a:pt x="408920" y="49649"/>
                    <a:pt x="404221" y="54309"/>
                  </a:cubicBezTo>
                  <a:lnTo>
                    <a:pt x="388181" y="70434"/>
                  </a:lnTo>
                  <a:cubicBezTo>
                    <a:pt x="382987" y="75136"/>
                    <a:pt x="375482" y="76273"/>
                    <a:pt x="369128" y="73320"/>
                  </a:cubicBezTo>
                  <a:lnTo>
                    <a:pt x="308872" y="49302"/>
                  </a:lnTo>
                  <a:cubicBezTo>
                    <a:pt x="302277" y="47065"/>
                    <a:pt x="297717" y="41025"/>
                    <a:pt x="297373" y="34068"/>
                  </a:cubicBezTo>
                  <a:lnTo>
                    <a:pt x="297373" y="11875"/>
                  </a:lnTo>
                  <a:cubicBezTo>
                    <a:pt x="297349" y="5316"/>
                    <a:pt x="292050" y="-2"/>
                    <a:pt x="285491" y="-48"/>
                  </a:cubicBezTo>
                  <a:lnTo>
                    <a:pt x="234995" y="-48"/>
                  </a:lnTo>
                  <a:cubicBezTo>
                    <a:pt x="228363" y="-119"/>
                    <a:pt x="222929" y="5200"/>
                    <a:pt x="222859" y="11832"/>
                  </a:cubicBezTo>
                  <a:cubicBezTo>
                    <a:pt x="222859" y="11847"/>
                    <a:pt x="222859" y="11861"/>
                    <a:pt x="222859" y="11876"/>
                  </a:cubicBezTo>
                  <a:lnTo>
                    <a:pt x="222859" y="34281"/>
                  </a:lnTo>
                  <a:cubicBezTo>
                    <a:pt x="222516" y="41247"/>
                    <a:pt x="218036" y="47331"/>
                    <a:pt x="211486" y="49727"/>
                  </a:cubicBezTo>
                  <a:lnTo>
                    <a:pt x="141343" y="79727"/>
                  </a:lnTo>
                  <a:cubicBezTo>
                    <a:pt x="135229" y="82923"/>
                    <a:pt x="127770" y="81957"/>
                    <a:pt x="122672" y="77309"/>
                  </a:cubicBezTo>
                  <a:lnTo>
                    <a:pt x="106929" y="61566"/>
                  </a:lnTo>
                  <a:cubicBezTo>
                    <a:pt x="102240" y="56882"/>
                    <a:pt x="94644" y="56882"/>
                    <a:pt x="89955" y="61566"/>
                  </a:cubicBezTo>
                  <a:lnTo>
                    <a:pt x="54268" y="97040"/>
                  </a:lnTo>
                  <a:cubicBezTo>
                    <a:pt x="49581" y="101633"/>
                    <a:pt x="49504" y="109155"/>
                    <a:pt x="54097" y="113843"/>
                  </a:cubicBezTo>
                  <a:cubicBezTo>
                    <a:pt x="54153" y="113900"/>
                    <a:pt x="54211" y="113958"/>
                    <a:pt x="54268" y="114014"/>
                  </a:cubicBezTo>
                  <a:lnTo>
                    <a:pt x="71242" y="130988"/>
                  </a:lnTo>
                  <a:cubicBezTo>
                    <a:pt x="75972" y="136150"/>
                    <a:pt x="77128" y="143652"/>
                    <a:pt x="74170" y="149998"/>
                  </a:cubicBezTo>
                  <a:lnTo>
                    <a:pt x="50322" y="209872"/>
                  </a:lnTo>
                  <a:cubicBezTo>
                    <a:pt x="48219" y="216553"/>
                    <a:pt x="42130" y="221179"/>
                    <a:pt x="35131" y="221415"/>
                  </a:cubicBezTo>
                  <a:lnTo>
                    <a:pt x="11834" y="221415"/>
                  </a:lnTo>
                  <a:cubicBezTo>
                    <a:pt x="5272" y="221415"/>
                    <a:pt x="-47" y="226734"/>
                    <a:pt x="-47" y="233296"/>
                  </a:cubicBezTo>
                  <a:lnTo>
                    <a:pt x="-47" y="283750"/>
                  </a:lnTo>
                  <a:cubicBezTo>
                    <a:pt x="-71" y="290335"/>
                    <a:pt x="5249" y="295693"/>
                    <a:pt x="11834" y="295716"/>
                  </a:cubicBezTo>
                  <a:cubicBezTo>
                    <a:pt x="11834" y="295716"/>
                    <a:pt x="11834" y="295716"/>
                    <a:pt x="11834" y="295716"/>
                  </a:cubicBezTo>
                  <a:lnTo>
                    <a:pt x="35597" y="295716"/>
                  </a:lnTo>
                  <a:cubicBezTo>
                    <a:pt x="42600" y="295956"/>
                    <a:pt x="48735" y="300473"/>
                    <a:pt x="51043" y="307089"/>
                  </a:cubicBezTo>
                  <a:lnTo>
                    <a:pt x="80280" y="376086"/>
                  </a:lnTo>
                  <a:cubicBezTo>
                    <a:pt x="83500" y="382211"/>
                    <a:pt x="82569" y="389693"/>
                    <a:pt x="77946" y="394842"/>
                  </a:cubicBezTo>
                  <a:lnTo>
                    <a:pt x="61482" y="411179"/>
                  </a:lnTo>
                  <a:cubicBezTo>
                    <a:pt x="56795" y="415838"/>
                    <a:pt x="56772" y="423415"/>
                    <a:pt x="61431" y="428102"/>
                  </a:cubicBezTo>
                  <a:cubicBezTo>
                    <a:pt x="61448" y="428119"/>
                    <a:pt x="61465" y="428136"/>
                    <a:pt x="61482" y="428153"/>
                  </a:cubicBezTo>
                  <a:lnTo>
                    <a:pt x="97212" y="463755"/>
                  </a:lnTo>
                  <a:cubicBezTo>
                    <a:pt x="101703" y="468442"/>
                    <a:pt x="109144" y="468601"/>
                    <a:pt x="113831" y="464109"/>
                  </a:cubicBezTo>
                  <a:cubicBezTo>
                    <a:pt x="113951" y="463994"/>
                    <a:pt x="114070" y="463876"/>
                    <a:pt x="114185" y="463755"/>
                  </a:cubicBezTo>
                  <a:lnTo>
                    <a:pt x="131753" y="446399"/>
                  </a:lnTo>
                  <a:cubicBezTo>
                    <a:pt x="136876" y="441679"/>
                    <a:pt x="144363" y="440569"/>
                    <a:pt x="150636" y="443599"/>
                  </a:cubicBezTo>
                  <a:lnTo>
                    <a:pt x="211826" y="467998"/>
                  </a:lnTo>
                  <a:cubicBezTo>
                    <a:pt x="218357" y="470272"/>
                    <a:pt x="222856" y="476282"/>
                    <a:pt x="223198" y="483190"/>
                  </a:cubicBezTo>
                  <a:lnTo>
                    <a:pt x="223198" y="506571"/>
                  </a:lnTo>
                  <a:cubicBezTo>
                    <a:pt x="223244" y="513130"/>
                    <a:pt x="228563" y="518429"/>
                    <a:pt x="235122" y="518452"/>
                  </a:cubicBezTo>
                  <a:lnTo>
                    <a:pt x="285618" y="518452"/>
                  </a:lnTo>
                  <a:cubicBezTo>
                    <a:pt x="292171" y="518429"/>
                    <a:pt x="297477" y="513123"/>
                    <a:pt x="297500" y="506571"/>
                  </a:cubicBezTo>
                  <a:lnTo>
                    <a:pt x="297500" y="483190"/>
                  </a:lnTo>
                  <a:cubicBezTo>
                    <a:pt x="297811" y="476202"/>
                    <a:pt x="302376" y="470120"/>
                    <a:pt x="309000" y="467871"/>
                  </a:cubicBezTo>
                  <a:lnTo>
                    <a:pt x="324445" y="461336"/>
                  </a:lnTo>
                  <a:lnTo>
                    <a:pt x="271021" y="408209"/>
                  </a:lnTo>
                  <a:lnTo>
                    <a:pt x="269154" y="408209"/>
                  </a:lnTo>
                  <a:cubicBezTo>
                    <a:pt x="266947" y="408209"/>
                    <a:pt x="264911" y="408421"/>
                    <a:pt x="262492" y="408463"/>
                  </a:cubicBezTo>
                  <a:lnTo>
                    <a:pt x="259946" y="408463"/>
                  </a:lnTo>
                  <a:cubicBezTo>
                    <a:pt x="220816" y="408576"/>
                    <a:pt x="183247" y="393127"/>
                    <a:pt x="155516" y="365520"/>
                  </a:cubicBezTo>
                  <a:cubicBezTo>
                    <a:pt x="151302" y="361339"/>
                    <a:pt x="147348" y="356903"/>
                    <a:pt x="143677" y="352238"/>
                  </a:cubicBezTo>
                  <a:cubicBezTo>
                    <a:pt x="142616" y="350923"/>
                    <a:pt x="141555" y="349565"/>
                    <a:pt x="140537" y="347995"/>
                  </a:cubicBezTo>
                  <a:lnTo>
                    <a:pt x="140155" y="347486"/>
                  </a:lnTo>
                  <a:cubicBezTo>
                    <a:pt x="91550" y="281413"/>
                    <a:pt x="105710" y="188448"/>
                    <a:pt x="171783" y="139843"/>
                  </a:cubicBezTo>
                  <a:cubicBezTo>
                    <a:pt x="215411" y="107750"/>
                    <a:pt x="273049" y="101950"/>
                    <a:pt x="322196" y="124707"/>
                  </a:cubicBezTo>
                  <a:lnTo>
                    <a:pt x="323512" y="125302"/>
                  </a:lnTo>
                  <a:cubicBezTo>
                    <a:pt x="324955" y="125980"/>
                    <a:pt x="326397" y="126744"/>
                    <a:pt x="327755" y="127466"/>
                  </a:cubicBezTo>
                  <a:cubicBezTo>
                    <a:pt x="328519" y="127848"/>
                    <a:pt x="329283" y="128229"/>
                    <a:pt x="330004" y="128654"/>
                  </a:cubicBezTo>
                  <a:cubicBezTo>
                    <a:pt x="330726" y="129078"/>
                    <a:pt x="332381" y="129927"/>
                    <a:pt x="333526" y="130606"/>
                  </a:cubicBezTo>
                  <a:lnTo>
                    <a:pt x="336412" y="132261"/>
                  </a:lnTo>
                  <a:lnTo>
                    <a:pt x="339382" y="134128"/>
                  </a:lnTo>
                  <a:lnTo>
                    <a:pt x="342480" y="136122"/>
                  </a:lnTo>
                  <a:cubicBezTo>
                    <a:pt x="343456" y="136759"/>
                    <a:pt x="344389" y="137438"/>
                    <a:pt x="345323" y="138117"/>
                  </a:cubicBezTo>
                  <a:cubicBezTo>
                    <a:pt x="346257" y="138796"/>
                    <a:pt x="347360" y="139517"/>
                    <a:pt x="348378" y="140281"/>
                  </a:cubicBezTo>
                  <a:lnTo>
                    <a:pt x="351221" y="142487"/>
                  </a:lnTo>
                  <a:lnTo>
                    <a:pt x="354022" y="144694"/>
                  </a:lnTo>
                  <a:cubicBezTo>
                    <a:pt x="355040" y="145500"/>
                    <a:pt x="356059" y="146391"/>
                    <a:pt x="357035" y="147282"/>
                  </a:cubicBezTo>
                  <a:cubicBezTo>
                    <a:pt x="358011" y="148173"/>
                    <a:pt x="358690" y="148640"/>
                    <a:pt x="359454" y="149362"/>
                  </a:cubicBezTo>
                  <a:cubicBezTo>
                    <a:pt x="360217" y="150083"/>
                    <a:pt x="361533" y="151271"/>
                    <a:pt x="362551" y="152247"/>
                  </a:cubicBezTo>
                  <a:lnTo>
                    <a:pt x="364503" y="154114"/>
                  </a:lnTo>
                  <a:lnTo>
                    <a:pt x="364715" y="154369"/>
                  </a:lnTo>
                  <a:cubicBezTo>
                    <a:pt x="366498" y="156109"/>
                    <a:pt x="368237" y="157933"/>
                    <a:pt x="369935" y="159758"/>
                  </a:cubicBezTo>
                  <a:cubicBezTo>
                    <a:pt x="370868" y="160776"/>
                    <a:pt x="371717" y="161837"/>
                    <a:pt x="372608" y="162898"/>
                  </a:cubicBezTo>
                  <a:lnTo>
                    <a:pt x="374772" y="165359"/>
                  </a:lnTo>
                  <a:cubicBezTo>
                    <a:pt x="375875" y="166717"/>
                    <a:pt x="376936" y="168117"/>
                    <a:pt x="377997" y="169603"/>
                  </a:cubicBezTo>
                  <a:lnTo>
                    <a:pt x="379228" y="171258"/>
                  </a:lnTo>
                  <a:cubicBezTo>
                    <a:pt x="380373" y="172785"/>
                    <a:pt x="381477" y="174355"/>
                    <a:pt x="382580" y="175925"/>
                  </a:cubicBezTo>
                  <a:cubicBezTo>
                    <a:pt x="382835" y="176350"/>
                    <a:pt x="383132" y="176731"/>
                    <a:pt x="383386" y="177113"/>
                  </a:cubicBezTo>
                  <a:cubicBezTo>
                    <a:pt x="384532" y="178853"/>
                    <a:pt x="385678" y="180593"/>
                    <a:pt x="386739" y="182333"/>
                  </a:cubicBezTo>
                  <a:lnTo>
                    <a:pt x="387205" y="183097"/>
                  </a:lnTo>
                  <a:cubicBezTo>
                    <a:pt x="388351" y="185006"/>
                    <a:pt x="389454" y="186916"/>
                    <a:pt x="390515" y="188868"/>
                  </a:cubicBezTo>
                  <a:lnTo>
                    <a:pt x="390515" y="188868"/>
                  </a:lnTo>
                  <a:cubicBezTo>
                    <a:pt x="403835" y="213374"/>
                    <a:pt x="409955" y="241148"/>
                    <a:pt x="408168" y="268983"/>
                  </a:cubicBezTo>
                  <a:lnTo>
                    <a:pt x="462483" y="323298"/>
                  </a:lnTo>
                  <a:lnTo>
                    <a:pt x="469103" y="306834"/>
                  </a:lnTo>
                  <a:cubicBezTo>
                    <a:pt x="471352" y="300211"/>
                    <a:pt x="477434" y="295645"/>
                    <a:pt x="484422" y="295334"/>
                  </a:cubicBezTo>
                  <a:lnTo>
                    <a:pt x="506318" y="295334"/>
                  </a:lnTo>
                  <a:cubicBezTo>
                    <a:pt x="512884" y="295288"/>
                    <a:pt x="518195" y="289977"/>
                    <a:pt x="518241" y="283411"/>
                  </a:cubicBezTo>
                  <a:lnTo>
                    <a:pt x="518241" y="233381"/>
                  </a:lnTo>
                  <a:cubicBezTo>
                    <a:pt x="518197" y="226903"/>
                    <a:pt x="513006" y="221637"/>
                    <a:pt x="506530" y="221499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8" name="Freihandform: Form 467">
              <a:extLst>
                <a:ext uri="{FF2B5EF4-FFF2-40B4-BE49-F238E27FC236}">
                  <a16:creationId xmlns:a16="http://schemas.microsoft.com/office/drawing/2014/main" id="{E184D1BA-A2BD-413B-9A53-3A6A57AB5174}"/>
                </a:ext>
              </a:extLst>
            </p:cNvPr>
            <p:cNvSpPr/>
            <p:nvPr/>
          </p:nvSpPr>
          <p:spPr>
            <a:xfrm>
              <a:off x="3300601" y="2615162"/>
              <a:ext cx="518288" cy="518501"/>
            </a:xfrm>
            <a:custGeom>
              <a:avLst/>
              <a:gdLst>
                <a:gd name="connsiteX0" fmla="*/ 506530 w 518288"/>
                <a:gd name="connsiteY0" fmla="*/ 221499 h 518501"/>
                <a:gd name="connsiteX1" fmla="*/ 484634 w 518288"/>
                <a:gd name="connsiteY1" fmla="*/ 221499 h 518501"/>
                <a:gd name="connsiteX2" fmla="*/ 469273 w 518288"/>
                <a:gd name="connsiteY2" fmla="*/ 210042 h 518501"/>
                <a:gd name="connsiteX3" fmla="*/ 439569 w 518288"/>
                <a:gd name="connsiteY3" fmla="*/ 140535 h 518501"/>
                <a:gd name="connsiteX4" fmla="*/ 442030 w 518288"/>
                <a:gd name="connsiteY4" fmla="*/ 121780 h 518501"/>
                <a:gd name="connsiteX5" fmla="*/ 456882 w 518288"/>
                <a:gd name="connsiteY5" fmla="*/ 106970 h 518501"/>
                <a:gd name="connsiteX6" fmla="*/ 456993 w 518288"/>
                <a:gd name="connsiteY6" fmla="*/ 90107 h 518501"/>
                <a:gd name="connsiteX7" fmla="*/ 456882 w 518288"/>
                <a:gd name="connsiteY7" fmla="*/ 89996 h 518501"/>
                <a:gd name="connsiteX8" fmla="*/ 421195 w 518288"/>
                <a:gd name="connsiteY8" fmla="*/ 54309 h 518501"/>
                <a:gd name="connsiteX9" fmla="*/ 404221 w 518288"/>
                <a:gd name="connsiteY9" fmla="*/ 54309 h 518501"/>
                <a:gd name="connsiteX10" fmla="*/ 388181 w 518288"/>
                <a:gd name="connsiteY10" fmla="*/ 70434 h 518501"/>
                <a:gd name="connsiteX11" fmla="*/ 369128 w 518288"/>
                <a:gd name="connsiteY11" fmla="*/ 73320 h 518501"/>
                <a:gd name="connsiteX12" fmla="*/ 308872 w 518288"/>
                <a:gd name="connsiteY12" fmla="*/ 49302 h 518501"/>
                <a:gd name="connsiteX13" fmla="*/ 297373 w 518288"/>
                <a:gd name="connsiteY13" fmla="*/ 34068 h 518501"/>
                <a:gd name="connsiteX14" fmla="*/ 297373 w 518288"/>
                <a:gd name="connsiteY14" fmla="*/ 11875 h 518501"/>
                <a:gd name="connsiteX15" fmla="*/ 285491 w 518288"/>
                <a:gd name="connsiteY15" fmla="*/ -48 h 518501"/>
                <a:gd name="connsiteX16" fmla="*/ 234995 w 518288"/>
                <a:gd name="connsiteY16" fmla="*/ -48 h 518501"/>
                <a:gd name="connsiteX17" fmla="*/ 222859 w 518288"/>
                <a:gd name="connsiteY17" fmla="*/ 11832 h 518501"/>
                <a:gd name="connsiteX18" fmla="*/ 222859 w 518288"/>
                <a:gd name="connsiteY18" fmla="*/ 11876 h 518501"/>
                <a:gd name="connsiteX19" fmla="*/ 222859 w 518288"/>
                <a:gd name="connsiteY19" fmla="*/ 34281 h 518501"/>
                <a:gd name="connsiteX20" fmla="*/ 211486 w 518288"/>
                <a:gd name="connsiteY20" fmla="*/ 49727 h 518501"/>
                <a:gd name="connsiteX21" fmla="*/ 141343 w 518288"/>
                <a:gd name="connsiteY21" fmla="*/ 79727 h 518501"/>
                <a:gd name="connsiteX22" fmla="*/ 122672 w 518288"/>
                <a:gd name="connsiteY22" fmla="*/ 77309 h 518501"/>
                <a:gd name="connsiteX23" fmla="*/ 106929 w 518288"/>
                <a:gd name="connsiteY23" fmla="*/ 61566 h 518501"/>
                <a:gd name="connsiteX24" fmla="*/ 89955 w 518288"/>
                <a:gd name="connsiteY24" fmla="*/ 61566 h 518501"/>
                <a:gd name="connsiteX25" fmla="*/ 54268 w 518288"/>
                <a:gd name="connsiteY25" fmla="*/ 97040 h 518501"/>
                <a:gd name="connsiteX26" fmla="*/ 54097 w 518288"/>
                <a:gd name="connsiteY26" fmla="*/ 113843 h 518501"/>
                <a:gd name="connsiteX27" fmla="*/ 54268 w 518288"/>
                <a:gd name="connsiteY27" fmla="*/ 114014 h 518501"/>
                <a:gd name="connsiteX28" fmla="*/ 71242 w 518288"/>
                <a:gd name="connsiteY28" fmla="*/ 130988 h 518501"/>
                <a:gd name="connsiteX29" fmla="*/ 74170 w 518288"/>
                <a:gd name="connsiteY29" fmla="*/ 149998 h 518501"/>
                <a:gd name="connsiteX30" fmla="*/ 50322 w 518288"/>
                <a:gd name="connsiteY30" fmla="*/ 209872 h 518501"/>
                <a:gd name="connsiteX31" fmla="*/ 35131 w 518288"/>
                <a:gd name="connsiteY31" fmla="*/ 221415 h 518501"/>
                <a:gd name="connsiteX32" fmla="*/ 11834 w 518288"/>
                <a:gd name="connsiteY32" fmla="*/ 221415 h 518501"/>
                <a:gd name="connsiteX33" fmla="*/ -47 w 518288"/>
                <a:gd name="connsiteY33" fmla="*/ 233296 h 518501"/>
                <a:gd name="connsiteX34" fmla="*/ -47 w 518288"/>
                <a:gd name="connsiteY34" fmla="*/ 283750 h 518501"/>
                <a:gd name="connsiteX35" fmla="*/ 11834 w 518288"/>
                <a:gd name="connsiteY35" fmla="*/ 295716 h 518501"/>
                <a:gd name="connsiteX36" fmla="*/ 11834 w 518288"/>
                <a:gd name="connsiteY36" fmla="*/ 295716 h 518501"/>
                <a:gd name="connsiteX37" fmla="*/ 35597 w 518288"/>
                <a:gd name="connsiteY37" fmla="*/ 295716 h 518501"/>
                <a:gd name="connsiteX38" fmla="*/ 51043 w 518288"/>
                <a:gd name="connsiteY38" fmla="*/ 307089 h 518501"/>
                <a:gd name="connsiteX39" fmla="*/ 80280 w 518288"/>
                <a:gd name="connsiteY39" fmla="*/ 376086 h 518501"/>
                <a:gd name="connsiteX40" fmla="*/ 77946 w 518288"/>
                <a:gd name="connsiteY40" fmla="*/ 394842 h 518501"/>
                <a:gd name="connsiteX41" fmla="*/ 61482 w 518288"/>
                <a:gd name="connsiteY41" fmla="*/ 411179 h 518501"/>
                <a:gd name="connsiteX42" fmla="*/ 61431 w 518288"/>
                <a:gd name="connsiteY42" fmla="*/ 428102 h 518501"/>
                <a:gd name="connsiteX43" fmla="*/ 61482 w 518288"/>
                <a:gd name="connsiteY43" fmla="*/ 428153 h 518501"/>
                <a:gd name="connsiteX44" fmla="*/ 97212 w 518288"/>
                <a:gd name="connsiteY44" fmla="*/ 463755 h 518501"/>
                <a:gd name="connsiteX45" fmla="*/ 113831 w 518288"/>
                <a:gd name="connsiteY45" fmla="*/ 464109 h 518501"/>
                <a:gd name="connsiteX46" fmla="*/ 114185 w 518288"/>
                <a:gd name="connsiteY46" fmla="*/ 463755 h 518501"/>
                <a:gd name="connsiteX47" fmla="*/ 131753 w 518288"/>
                <a:gd name="connsiteY47" fmla="*/ 446399 h 518501"/>
                <a:gd name="connsiteX48" fmla="*/ 150636 w 518288"/>
                <a:gd name="connsiteY48" fmla="*/ 443599 h 518501"/>
                <a:gd name="connsiteX49" fmla="*/ 211826 w 518288"/>
                <a:gd name="connsiteY49" fmla="*/ 467998 h 518501"/>
                <a:gd name="connsiteX50" fmla="*/ 223198 w 518288"/>
                <a:gd name="connsiteY50" fmla="*/ 483190 h 518501"/>
                <a:gd name="connsiteX51" fmla="*/ 223198 w 518288"/>
                <a:gd name="connsiteY51" fmla="*/ 506571 h 518501"/>
                <a:gd name="connsiteX52" fmla="*/ 235122 w 518288"/>
                <a:gd name="connsiteY52" fmla="*/ 518452 h 518501"/>
                <a:gd name="connsiteX53" fmla="*/ 285618 w 518288"/>
                <a:gd name="connsiteY53" fmla="*/ 518452 h 518501"/>
                <a:gd name="connsiteX54" fmla="*/ 297500 w 518288"/>
                <a:gd name="connsiteY54" fmla="*/ 506571 h 518501"/>
                <a:gd name="connsiteX55" fmla="*/ 297500 w 518288"/>
                <a:gd name="connsiteY55" fmla="*/ 483190 h 518501"/>
                <a:gd name="connsiteX56" fmla="*/ 309000 w 518288"/>
                <a:gd name="connsiteY56" fmla="*/ 467871 h 518501"/>
                <a:gd name="connsiteX57" fmla="*/ 324445 w 518288"/>
                <a:gd name="connsiteY57" fmla="*/ 461336 h 518501"/>
                <a:gd name="connsiteX58" fmla="*/ 271021 w 518288"/>
                <a:gd name="connsiteY58" fmla="*/ 408209 h 518501"/>
                <a:gd name="connsiteX59" fmla="*/ 269154 w 518288"/>
                <a:gd name="connsiteY59" fmla="*/ 408209 h 518501"/>
                <a:gd name="connsiteX60" fmla="*/ 262492 w 518288"/>
                <a:gd name="connsiteY60" fmla="*/ 408463 h 518501"/>
                <a:gd name="connsiteX61" fmla="*/ 259946 w 518288"/>
                <a:gd name="connsiteY61" fmla="*/ 408463 h 518501"/>
                <a:gd name="connsiteX62" fmla="*/ 155516 w 518288"/>
                <a:gd name="connsiteY62" fmla="*/ 365520 h 518501"/>
                <a:gd name="connsiteX63" fmla="*/ 143677 w 518288"/>
                <a:gd name="connsiteY63" fmla="*/ 352238 h 518501"/>
                <a:gd name="connsiteX64" fmla="*/ 140537 w 518288"/>
                <a:gd name="connsiteY64" fmla="*/ 347995 h 518501"/>
                <a:gd name="connsiteX65" fmla="*/ 140155 w 518288"/>
                <a:gd name="connsiteY65" fmla="*/ 347486 h 518501"/>
                <a:gd name="connsiteX66" fmla="*/ 171783 w 518288"/>
                <a:gd name="connsiteY66" fmla="*/ 139843 h 518501"/>
                <a:gd name="connsiteX67" fmla="*/ 322196 w 518288"/>
                <a:gd name="connsiteY67" fmla="*/ 124707 h 518501"/>
                <a:gd name="connsiteX68" fmla="*/ 323512 w 518288"/>
                <a:gd name="connsiteY68" fmla="*/ 125302 h 518501"/>
                <a:gd name="connsiteX69" fmla="*/ 327755 w 518288"/>
                <a:gd name="connsiteY69" fmla="*/ 127466 h 518501"/>
                <a:gd name="connsiteX70" fmla="*/ 330004 w 518288"/>
                <a:gd name="connsiteY70" fmla="*/ 128654 h 518501"/>
                <a:gd name="connsiteX71" fmla="*/ 333526 w 518288"/>
                <a:gd name="connsiteY71" fmla="*/ 130606 h 518501"/>
                <a:gd name="connsiteX72" fmla="*/ 336412 w 518288"/>
                <a:gd name="connsiteY72" fmla="*/ 132261 h 518501"/>
                <a:gd name="connsiteX73" fmla="*/ 339382 w 518288"/>
                <a:gd name="connsiteY73" fmla="*/ 134128 h 518501"/>
                <a:gd name="connsiteX74" fmla="*/ 342480 w 518288"/>
                <a:gd name="connsiteY74" fmla="*/ 136122 h 518501"/>
                <a:gd name="connsiteX75" fmla="*/ 345323 w 518288"/>
                <a:gd name="connsiteY75" fmla="*/ 138117 h 518501"/>
                <a:gd name="connsiteX76" fmla="*/ 348378 w 518288"/>
                <a:gd name="connsiteY76" fmla="*/ 140281 h 518501"/>
                <a:gd name="connsiteX77" fmla="*/ 351221 w 518288"/>
                <a:gd name="connsiteY77" fmla="*/ 142487 h 518501"/>
                <a:gd name="connsiteX78" fmla="*/ 354022 w 518288"/>
                <a:gd name="connsiteY78" fmla="*/ 144694 h 518501"/>
                <a:gd name="connsiteX79" fmla="*/ 357035 w 518288"/>
                <a:gd name="connsiteY79" fmla="*/ 147282 h 518501"/>
                <a:gd name="connsiteX80" fmla="*/ 359454 w 518288"/>
                <a:gd name="connsiteY80" fmla="*/ 149362 h 518501"/>
                <a:gd name="connsiteX81" fmla="*/ 362551 w 518288"/>
                <a:gd name="connsiteY81" fmla="*/ 152247 h 518501"/>
                <a:gd name="connsiteX82" fmla="*/ 364503 w 518288"/>
                <a:gd name="connsiteY82" fmla="*/ 154114 h 518501"/>
                <a:gd name="connsiteX83" fmla="*/ 364715 w 518288"/>
                <a:gd name="connsiteY83" fmla="*/ 154369 h 518501"/>
                <a:gd name="connsiteX84" fmla="*/ 369935 w 518288"/>
                <a:gd name="connsiteY84" fmla="*/ 159758 h 518501"/>
                <a:gd name="connsiteX85" fmla="*/ 372608 w 518288"/>
                <a:gd name="connsiteY85" fmla="*/ 162898 h 518501"/>
                <a:gd name="connsiteX86" fmla="*/ 374772 w 518288"/>
                <a:gd name="connsiteY86" fmla="*/ 165359 h 518501"/>
                <a:gd name="connsiteX87" fmla="*/ 377997 w 518288"/>
                <a:gd name="connsiteY87" fmla="*/ 169603 h 518501"/>
                <a:gd name="connsiteX88" fmla="*/ 379228 w 518288"/>
                <a:gd name="connsiteY88" fmla="*/ 171258 h 518501"/>
                <a:gd name="connsiteX89" fmla="*/ 382580 w 518288"/>
                <a:gd name="connsiteY89" fmla="*/ 175925 h 518501"/>
                <a:gd name="connsiteX90" fmla="*/ 383386 w 518288"/>
                <a:gd name="connsiteY90" fmla="*/ 177113 h 518501"/>
                <a:gd name="connsiteX91" fmla="*/ 386739 w 518288"/>
                <a:gd name="connsiteY91" fmla="*/ 182333 h 518501"/>
                <a:gd name="connsiteX92" fmla="*/ 387205 w 518288"/>
                <a:gd name="connsiteY92" fmla="*/ 183097 h 518501"/>
                <a:gd name="connsiteX93" fmla="*/ 390515 w 518288"/>
                <a:gd name="connsiteY93" fmla="*/ 188868 h 518501"/>
                <a:gd name="connsiteX94" fmla="*/ 390515 w 518288"/>
                <a:gd name="connsiteY94" fmla="*/ 188868 h 518501"/>
                <a:gd name="connsiteX95" fmla="*/ 408168 w 518288"/>
                <a:gd name="connsiteY95" fmla="*/ 268983 h 518501"/>
                <a:gd name="connsiteX96" fmla="*/ 462483 w 518288"/>
                <a:gd name="connsiteY96" fmla="*/ 323298 h 518501"/>
                <a:gd name="connsiteX97" fmla="*/ 469103 w 518288"/>
                <a:gd name="connsiteY97" fmla="*/ 306834 h 518501"/>
                <a:gd name="connsiteX98" fmla="*/ 484422 w 518288"/>
                <a:gd name="connsiteY98" fmla="*/ 295334 h 518501"/>
                <a:gd name="connsiteX99" fmla="*/ 506318 w 518288"/>
                <a:gd name="connsiteY99" fmla="*/ 295334 h 518501"/>
                <a:gd name="connsiteX100" fmla="*/ 518241 w 518288"/>
                <a:gd name="connsiteY100" fmla="*/ 283411 h 518501"/>
                <a:gd name="connsiteX101" fmla="*/ 518241 w 518288"/>
                <a:gd name="connsiteY101" fmla="*/ 233381 h 518501"/>
                <a:gd name="connsiteX102" fmla="*/ 506530 w 518288"/>
                <a:gd name="connsiteY102" fmla="*/ 221499 h 518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518288" h="518501">
                  <a:moveTo>
                    <a:pt x="506530" y="221499"/>
                  </a:moveTo>
                  <a:lnTo>
                    <a:pt x="484634" y="221499"/>
                  </a:lnTo>
                  <a:cubicBezTo>
                    <a:pt x="477641" y="221212"/>
                    <a:pt x="471541" y="216663"/>
                    <a:pt x="469273" y="210042"/>
                  </a:cubicBezTo>
                  <a:lnTo>
                    <a:pt x="439569" y="140535"/>
                  </a:lnTo>
                  <a:cubicBezTo>
                    <a:pt x="436434" y="134376"/>
                    <a:pt x="437412" y="126922"/>
                    <a:pt x="442030" y="121780"/>
                  </a:cubicBezTo>
                  <a:lnTo>
                    <a:pt x="456882" y="106970"/>
                  </a:lnTo>
                  <a:cubicBezTo>
                    <a:pt x="461569" y="102344"/>
                    <a:pt x="461619" y="94795"/>
                    <a:pt x="456993" y="90107"/>
                  </a:cubicBezTo>
                  <a:cubicBezTo>
                    <a:pt x="456956" y="90070"/>
                    <a:pt x="456919" y="90033"/>
                    <a:pt x="456882" y="89996"/>
                  </a:cubicBezTo>
                  <a:lnTo>
                    <a:pt x="421195" y="54309"/>
                  </a:lnTo>
                  <a:cubicBezTo>
                    <a:pt x="416497" y="49649"/>
                    <a:pt x="408920" y="49649"/>
                    <a:pt x="404221" y="54309"/>
                  </a:cubicBezTo>
                  <a:lnTo>
                    <a:pt x="388181" y="70434"/>
                  </a:lnTo>
                  <a:cubicBezTo>
                    <a:pt x="382987" y="75136"/>
                    <a:pt x="375482" y="76273"/>
                    <a:pt x="369128" y="73320"/>
                  </a:cubicBezTo>
                  <a:lnTo>
                    <a:pt x="308872" y="49302"/>
                  </a:lnTo>
                  <a:cubicBezTo>
                    <a:pt x="302277" y="47065"/>
                    <a:pt x="297717" y="41025"/>
                    <a:pt x="297373" y="34068"/>
                  </a:cubicBezTo>
                  <a:lnTo>
                    <a:pt x="297373" y="11875"/>
                  </a:lnTo>
                  <a:cubicBezTo>
                    <a:pt x="297349" y="5316"/>
                    <a:pt x="292050" y="-2"/>
                    <a:pt x="285491" y="-48"/>
                  </a:cubicBezTo>
                  <a:lnTo>
                    <a:pt x="234995" y="-48"/>
                  </a:lnTo>
                  <a:cubicBezTo>
                    <a:pt x="228363" y="-119"/>
                    <a:pt x="222929" y="5200"/>
                    <a:pt x="222859" y="11832"/>
                  </a:cubicBezTo>
                  <a:cubicBezTo>
                    <a:pt x="222859" y="11847"/>
                    <a:pt x="222859" y="11861"/>
                    <a:pt x="222859" y="11876"/>
                  </a:cubicBezTo>
                  <a:lnTo>
                    <a:pt x="222859" y="34281"/>
                  </a:lnTo>
                  <a:cubicBezTo>
                    <a:pt x="222516" y="41247"/>
                    <a:pt x="218036" y="47331"/>
                    <a:pt x="211486" y="49727"/>
                  </a:cubicBezTo>
                  <a:lnTo>
                    <a:pt x="141343" y="79727"/>
                  </a:lnTo>
                  <a:cubicBezTo>
                    <a:pt x="135229" y="82923"/>
                    <a:pt x="127770" y="81957"/>
                    <a:pt x="122672" y="77309"/>
                  </a:cubicBezTo>
                  <a:lnTo>
                    <a:pt x="106929" y="61566"/>
                  </a:lnTo>
                  <a:cubicBezTo>
                    <a:pt x="102240" y="56882"/>
                    <a:pt x="94644" y="56882"/>
                    <a:pt x="89955" y="61566"/>
                  </a:cubicBezTo>
                  <a:lnTo>
                    <a:pt x="54268" y="97040"/>
                  </a:lnTo>
                  <a:cubicBezTo>
                    <a:pt x="49581" y="101633"/>
                    <a:pt x="49504" y="109155"/>
                    <a:pt x="54097" y="113843"/>
                  </a:cubicBezTo>
                  <a:cubicBezTo>
                    <a:pt x="54153" y="113900"/>
                    <a:pt x="54211" y="113958"/>
                    <a:pt x="54268" y="114014"/>
                  </a:cubicBezTo>
                  <a:lnTo>
                    <a:pt x="71242" y="130988"/>
                  </a:lnTo>
                  <a:cubicBezTo>
                    <a:pt x="75972" y="136150"/>
                    <a:pt x="77128" y="143652"/>
                    <a:pt x="74170" y="149998"/>
                  </a:cubicBezTo>
                  <a:lnTo>
                    <a:pt x="50322" y="209872"/>
                  </a:lnTo>
                  <a:cubicBezTo>
                    <a:pt x="48219" y="216553"/>
                    <a:pt x="42130" y="221179"/>
                    <a:pt x="35131" y="221415"/>
                  </a:cubicBezTo>
                  <a:lnTo>
                    <a:pt x="11834" y="221415"/>
                  </a:lnTo>
                  <a:cubicBezTo>
                    <a:pt x="5272" y="221415"/>
                    <a:pt x="-47" y="226734"/>
                    <a:pt x="-47" y="233296"/>
                  </a:cubicBezTo>
                  <a:lnTo>
                    <a:pt x="-47" y="283750"/>
                  </a:lnTo>
                  <a:cubicBezTo>
                    <a:pt x="-71" y="290335"/>
                    <a:pt x="5249" y="295693"/>
                    <a:pt x="11834" y="295716"/>
                  </a:cubicBezTo>
                  <a:cubicBezTo>
                    <a:pt x="11834" y="295716"/>
                    <a:pt x="11834" y="295716"/>
                    <a:pt x="11834" y="295716"/>
                  </a:cubicBezTo>
                  <a:lnTo>
                    <a:pt x="35597" y="295716"/>
                  </a:lnTo>
                  <a:cubicBezTo>
                    <a:pt x="42600" y="295956"/>
                    <a:pt x="48735" y="300473"/>
                    <a:pt x="51043" y="307089"/>
                  </a:cubicBezTo>
                  <a:lnTo>
                    <a:pt x="80280" y="376086"/>
                  </a:lnTo>
                  <a:cubicBezTo>
                    <a:pt x="83500" y="382211"/>
                    <a:pt x="82569" y="389693"/>
                    <a:pt x="77946" y="394842"/>
                  </a:cubicBezTo>
                  <a:lnTo>
                    <a:pt x="61482" y="411179"/>
                  </a:lnTo>
                  <a:cubicBezTo>
                    <a:pt x="56795" y="415838"/>
                    <a:pt x="56772" y="423415"/>
                    <a:pt x="61431" y="428102"/>
                  </a:cubicBezTo>
                  <a:cubicBezTo>
                    <a:pt x="61448" y="428119"/>
                    <a:pt x="61465" y="428136"/>
                    <a:pt x="61482" y="428153"/>
                  </a:cubicBezTo>
                  <a:lnTo>
                    <a:pt x="97212" y="463755"/>
                  </a:lnTo>
                  <a:cubicBezTo>
                    <a:pt x="101703" y="468442"/>
                    <a:pt x="109144" y="468601"/>
                    <a:pt x="113831" y="464109"/>
                  </a:cubicBezTo>
                  <a:cubicBezTo>
                    <a:pt x="113951" y="463994"/>
                    <a:pt x="114070" y="463876"/>
                    <a:pt x="114185" y="463755"/>
                  </a:cubicBezTo>
                  <a:lnTo>
                    <a:pt x="131753" y="446399"/>
                  </a:lnTo>
                  <a:cubicBezTo>
                    <a:pt x="136876" y="441679"/>
                    <a:pt x="144363" y="440569"/>
                    <a:pt x="150636" y="443599"/>
                  </a:cubicBezTo>
                  <a:lnTo>
                    <a:pt x="211826" y="467998"/>
                  </a:lnTo>
                  <a:cubicBezTo>
                    <a:pt x="218357" y="470272"/>
                    <a:pt x="222856" y="476282"/>
                    <a:pt x="223198" y="483190"/>
                  </a:cubicBezTo>
                  <a:lnTo>
                    <a:pt x="223198" y="506571"/>
                  </a:lnTo>
                  <a:cubicBezTo>
                    <a:pt x="223244" y="513130"/>
                    <a:pt x="228563" y="518429"/>
                    <a:pt x="235122" y="518452"/>
                  </a:cubicBezTo>
                  <a:lnTo>
                    <a:pt x="285618" y="518452"/>
                  </a:lnTo>
                  <a:cubicBezTo>
                    <a:pt x="292171" y="518429"/>
                    <a:pt x="297477" y="513123"/>
                    <a:pt x="297500" y="506571"/>
                  </a:cubicBezTo>
                  <a:lnTo>
                    <a:pt x="297500" y="483190"/>
                  </a:lnTo>
                  <a:cubicBezTo>
                    <a:pt x="297811" y="476202"/>
                    <a:pt x="302376" y="470120"/>
                    <a:pt x="309000" y="467871"/>
                  </a:cubicBezTo>
                  <a:lnTo>
                    <a:pt x="324445" y="461336"/>
                  </a:lnTo>
                  <a:lnTo>
                    <a:pt x="271021" y="408209"/>
                  </a:lnTo>
                  <a:lnTo>
                    <a:pt x="269154" y="408209"/>
                  </a:lnTo>
                  <a:cubicBezTo>
                    <a:pt x="266947" y="408209"/>
                    <a:pt x="264911" y="408421"/>
                    <a:pt x="262492" y="408463"/>
                  </a:cubicBezTo>
                  <a:lnTo>
                    <a:pt x="259946" y="408463"/>
                  </a:lnTo>
                  <a:cubicBezTo>
                    <a:pt x="220816" y="408576"/>
                    <a:pt x="183247" y="393127"/>
                    <a:pt x="155516" y="365520"/>
                  </a:cubicBezTo>
                  <a:cubicBezTo>
                    <a:pt x="151302" y="361339"/>
                    <a:pt x="147348" y="356903"/>
                    <a:pt x="143677" y="352238"/>
                  </a:cubicBezTo>
                  <a:cubicBezTo>
                    <a:pt x="142616" y="350923"/>
                    <a:pt x="141555" y="349565"/>
                    <a:pt x="140537" y="347995"/>
                  </a:cubicBezTo>
                  <a:lnTo>
                    <a:pt x="140155" y="347486"/>
                  </a:lnTo>
                  <a:cubicBezTo>
                    <a:pt x="91550" y="281413"/>
                    <a:pt x="105710" y="188448"/>
                    <a:pt x="171783" y="139843"/>
                  </a:cubicBezTo>
                  <a:cubicBezTo>
                    <a:pt x="215411" y="107750"/>
                    <a:pt x="273049" y="101950"/>
                    <a:pt x="322196" y="124707"/>
                  </a:cubicBezTo>
                  <a:lnTo>
                    <a:pt x="323512" y="125302"/>
                  </a:lnTo>
                  <a:cubicBezTo>
                    <a:pt x="324955" y="125980"/>
                    <a:pt x="326397" y="126744"/>
                    <a:pt x="327755" y="127466"/>
                  </a:cubicBezTo>
                  <a:cubicBezTo>
                    <a:pt x="328519" y="127848"/>
                    <a:pt x="329283" y="128229"/>
                    <a:pt x="330004" y="128654"/>
                  </a:cubicBezTo>
                  <a:cubicBezTo>
                    <a:pt x="330726" y="129078"/>
                    <a:pt x="332381" y="129927"/>
                    <a:pt x="333526" y="130606"/>
                  </a:cubicBezTo>
                  <a:lnTo>
                    <a:pt x="336412" y="132261"/>
                  </a:lnTo>
                  <a:lnTo>
                    <a:pt x="339382" y="134128"/>
                  </a:lnTo>
                  <a:lnTo>
                    <a:pt x="342480" y="136122"/>
                  </a:lnTo>
                  <a:cubicBezTo>
                    <a:pt x="343456" y="136759"/>
                    <a:pt x="344389" y="137438"/>
                    <a:pt x="345323" y="138117"/>
                  </a:cubicBezTo>
                  <a:cubicBezTo>
                    <a:pt x="346257" y="138796"/>
                    <a:pt x="347360" y="139517"/>
                    <a:pt x="348378" y="140281"/>
                  </a:cubicBezTo>
                  <a:lnTo>
                    <a:pt x="351221" y="142487"/>
                  </a:lnTo>
                  <a:lnTo>
                    <a:pt x="354022" y="144694"/>
                  </a:lnTo>
                  <a:cubicBezTo>
                    <a:pt x="355040" y="145500"/>
                    <a:pt x="356059" y="146391"/>
                    <a:pt x="357035" y="147282"/>
                  </a:cubicBezTo>
                  <a:cubicBezTo>
                    <a:pt x="358011" y="148173"/>
                    <a:pt x="358690" y="148640"/>
                    <a:pt x="359454" y="149362"/>
                  </a:cubicBezTo>
                  <a:cubicBezTo>
                    <a:pt x="360217" y="150083"/>
                    <a:pt x="361533" y="151271"/>
                    <a:pt x="362551" y="152247"/>
                  </a:cubicBezTo>
                  <a:lnTo>
                    <a:pt x="364503" y="154114"/>
                  </a:lnTo>
                  <a:lnTo>
                    <a:pt x="364715" y="154369"/>
                  </a:lnTo>
                  <a:cubicBezTo>
                    <a:pt x="366498" y="156109"/>
                    <a:pt x="368237" y="157933"/>
                    <a:pt x="369935" y="159758"/>
                  </a:cubicBezTo>
                  <a:cubicBezTo>
                    <a:pt x="370868" y="160776"/>
                    <a:pt x="371717" y="161837"/>
                    <a:pt x="372608" y="162898"/>
                  </a:cubicBezTo>
                  <a:lnTo>
                    <a:pt x="374772" y="165359"/>
                  </a:lnTo>
                  <a:cubicBezTo>
                    <a:pt x="375875" y="166717"/>
                    <a:pt x="376936" y="168117"/>
                    <a:pt x="377997" y="169603"/>
                  </a:cubicBezTo>
                  <a:lnTo>
                    <a:pt x="379228" y="171258"/>
                  </a:lnTo>
                  <a:cubicBezTo>
                    <a:pt x="380373" y="172785"/>
                    <a:pt x="381477" y="174355"/>
                    <a:pt x="382580" y="175925"/>
                  </a:cubicBezTo>
                  <a:cubicBezTo>
                    <a:pt x="382835" y="176350"/>
                    <a:pt x="383132" y="176731"/>
                    <a:pt x="383386" y="177113"/>
                  </a:cubicBezTo>
                  <a:cubicBezTo>
                    <a:pt x="384532" y="178853"/>
                    <a:pt x="385678" y="180593"/>
                    <a:pt x="386739" y="182333"/>
                  </a:cubicBezTo>
                  <a:lnTo>
                    <a:pt x="387205" y="183097"/>
                  </a:lnTo>
                  <a:cubicBezTo>
                    <a:pt x="388351" y="185006"/>
                    <a:pt x="389454" y="186916"/>
                    <a:pt x="390515" y="188868"/>
                  </a:cubicBezTo>
                  <a:lnTo>
                    <a:pt x="390515" y="188868"/>
                  </a:lnTo>
                  <a:cubicBezTo>
                    <a:pt x="403835" y="213374"/>
                    <a:pt x="409955" y="241148"/>
                    <a:pt x="408168" y="268983"/>
                  </a:cubicBezTo>
                  <a:lnTo>
                    <a:pt x="462483" y="323298"/>
                  </a:lnTo>
                  <a:lnTo>
                    <a:pt x="469103" y="306834"/>
                  </a:lnTo>
                  <a:cubicBezTo>
                    <a:pt x="471352" y="300211"/>
                    <a:pt x="477434" y="295645"/>
                    <a:pt x="484422" y="295334"/>
                  </a:cubicBezTo>
                  <a:lnTo>
                    <a:pt x="506318" y="295334"/>
                  </a:lnTo>
                  <a:cubicBezTo>
                    <a:pt x="512884" y="295288"/>
                    <a:pt x="518195" y="289977"/>
                    <a:pt x="518241" y="283411"/>
                  </a:cubicBezTo>
                  <a:lnTo>
                    <a:pt x="518241" y="233381"/>
                  </a:lnTo>
                  <a:cubicBezTo>
                    <a:pt x="518197" y="226903"/>
                    <a:pt x="513006" y="221637"/>
                    <a:pt x="506530" y="221499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77" name="Gruppieren 476">
            <a:extLst>
              <a:ext uri="{FF2B5EF4-FFF2-40B4-BE49-F238E27FC236}">
                <a16:creationId xmlns:a16="http://schemas.microsoft.com/office/drawing/2014/main" id="{3FB2D18C-A528-4D74-A738-E85E791031ED}"/>
              </a:ext>
            </a:extLst>
          </p:cNvPr>
          <p:cNvGrpSpPr/>
          <p:nvPr/>
        </p:nvGrpSpPr>
        <p:grpSpPr>
          <a:xfrm>
            <a:off x="8352221" y="5093700"/>
            <a:ext cx="567882" cy="568042"/>
            <a:chOff x="8258237" y="2500034"/>
            <a:chExt cx="755851" cy="756064"/>
          </a:xfrm>
          <a:solidFill>
            <a:schemeClr val="bg1"/>
          </a:solidFill>
          <a:effectLst>
            <a:outerShdw blurRad="12700" dist="127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478" name="Grafik 91">
              <a:extLst>
                <a:ext uri="{FF2B5EF4-FFF2-40B4-BE49-F238E27FC236}">
                  <a16:creationId xmlns:a16="http://schemas.microsoft.com/office/drawing/2014/main" id="{4936EDBA-1168-422D-ABC9-E5E3CE014A02}"/>
                </a:ext>
              </a:extLst>
            </p:cNvPr>
            <p:cNvGrpSpPr/>
            <p:nvPr/>
          </p:nvGrpSpPr>
          <p:grpSpPr>
            <a:xfrm>
              <a:off x="8258237" y="2500034"/>
              <a:ext cx="755851" cy="756064"/>
              <a:chOff x="8258237" y="2500034"/>
              <a:chExt cx="755851" cy="756064"/>
            </a:xfrm>
            <a:grpFill/>
          </p:grpSpPr>
          <p:sp>
            <p:nvSpPr>
              <p:cNvPr id="487" name="Freihandform: Form 486">
                <a:extLst>
                  <a:ext uri="{FF2B5EF4-FFF2-40B4-BE49-F238E27FC236}">
                    <a16:creationId xmlns:a16="http://schemas.microsoft.com/office/drawing/2014/main" id="{4FF20D8B-DEE0-460A-9567-F9E3740C8893}"/>
                  </a:ext>
                </a:extLst>
              </p:cNvPr>
              <p:cNvSpPr/>
              <p:nvPr/>
            </p:nvSpPr>
            <p:spPr>
              <a:xfrm>
                <a:off x="8258237" y="2500034"/>
                <a:ext cx="683499" cy="466270"/>
              </a:xfrm>
              <a:custGeom>
                <a:avLst/>
                <a:gdLst>
                  <a:gd name="connsiteX0" fmla="*/ 10573 w 683499"/>
                  <a:gd name="connsiteY0" fmla="*/ 466221 h 466270"/>
                  <a:gd name="connsiteX1" fmla="*/ 289109 w 683499"/>
                  <a:gd name="connsiteY1" fmla="*/ 10507 h 466270"/>
                  <a:gd name="connsiteX2" fmla="*/ 683449 w 683499"/>
                  <a:gd name="connsiteY2" fmla="*/ 155944 h 466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99" h="466270">
                    <a:moveTo>
                      <a:pt x="10573" y="466221"/>
                    </a:moveTo>
                    <a:cubicBezTo>
                      <a:pt x="-38354" y="263463"/>
                      <a:pt x="86351" y="59433"/>
                      <a:pt x="289109" y="10507"/>
                    </a:cubicBezTo>
                    <a:cubicBezTo>
                      <a:pt x="437882" y="-25393"/>
                      <a:pt x="593612" y="32042"/>
                      <a:pt x="683449" y="155944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488" name="Freihandform: Form 487">
                <a:extLst>
                  <a:ext uri="{FF2B5EF4-FFF2-40B4-BE49-F238E27FC236}">
                    <a16:creationId xmlns:a16="http://schemas.microsoft.com/office/drawing/2014/main" id="{73773438-A8F0-40FF-BD50-CFD768E9F18C}"/>
                  </a:ext>
                </a:extLst>
              </p:cNvPr>
              <p:cNvSpPr/>
              <p:nvPr/>
            </p:nvSpPr>
            <p:spPr>
              <a:xfrm>
                <a:off x="8889628" y="2617539"/>
                <a:ext cx="89068" cy="101502"/>
              </a:xfrm>
              <a:custGeom>
                <a:avLst/>
                <a:gdLst>
                  <a:gd name="connsiteX0" fmla="*/ 0 w 89068"/>
                  <a:gd name="connsiteY0" fmla="*/ 52788 h 101502"/>
                  <a:gd name="connsiteX1" fmla="*/ 89069 w 89068"/>
                  <a:gd name="connsiteY1" fmla="*/ 101502 h 101502"/>
                  <a:gd name="connsiteX2" fmla="*/ 86735 w 89068"/>
                  <a:gd name="connsiteY2" fmla="*/ 0 h 101502"/>
                  <a:gd name="connsiteX3" fmla="*/ 0 w 89068"/>
                  <a:gd name="connsiteY3" fmla="*/ 52788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0" y="52788"/>
                    </a:moveTo>
                    <a:lnTo>
                      <a:pt x="89069" y="101502"/>
                    </a:lnTo>
                    <a:lnTo>
                      <a:pt x="86735" y="0"/>
                    </a:lnTo>
                    <a:lnTo>
                      <a:pt x="0" y="52788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89" name="Freihandform: Form 488">
                <a:extLst>
                  <a:ext uri="{FF2B5EF4-FFF2-40B4-BE49-F238E27FC236}">
                    <a16:creationId xmlns:a16="http://schemas.microsoft.com/office/drawing/2014/main" id="{61C63A7C-4405-4A10-B33F-A093739D7BC5}"/>
                  </a:ext>
                </a:extLst>
              </p:cNvPr>
              <p:cNvSpPr/>
              <p:nvPr/>
            </p:nvSpPr>
            <p:spPr>
              <a:xfrm>
                <a:off x="8330645" y="2790415"/>
                <a:ext cx="683443" cy="465683"/>
              </a:xfrm>
              <a:custGeom>
                <a:avLst/>
                <a:gdLst>
                  <a:gd name="connsiteX0" fmla="*/ 672909 w 683443"/>
                  <a:gd name="connsiteY0" fmla="*/ -49 h 465683"/>
                  <a:gd name="connsiteX1" fmla="*/ 393646 w 683443"/>
                  <a:gd name="connsiteY1" fmla="*/ 455220 h 465683"/>
                  <a:gd name="connsiteX2" fmla="*/ -51 w 683443"/>
                  <a:gd name="connsiteY2" fmla="*/ 309719 h 465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43" h="465683">
                    <a:moveTo>
                      <a:pt x="672909" y="-49"/>
                    </a:moveTo>
                    <a:cubicBezTo>
                      <a:pt x="721512" y="202786"/>
                      <a:pt x="596481" y="406617"/>
                      <a:pt x="393646" y="455220"/>
                    </a:cubicBezTo>
                    <a:cubicBezTo>
                      <a:pt x="245063" y="490822"/>
                      <a:pt x="89667" y="433392"/>
                      <a:pt x="-51" y="309719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490" name="Freihandform: Form 489">
                <a:extLst>
                  <a:ext uri="{FF2B5EF4-FFF2-40B4-BE49-F238E27FC236}">
                    <a16:creationId xmlns:a16="http://schemas.microsoft.com/office/drawing/2014/main" id="{44195054-126A-4749-AF3F-6C59C24B398B}"/>
                  </a:ext>
                </a:extLst>
              </p:cNvPr>
              <p:cNvSpPr/>
              <p:nvPr/>
            </p:nvSpPr>
            <p:spPr>
              <a:xfrm>
                <a:off x="8293685" y="3037254"/>
                <a:ext cx="89068" cy="101502"/>
              </a:xfrm>
              <a:custGeom>
                <a:avLst/>
                <a:gdLst>
                  <a:gd name="connsiteX0" fmla="*/ 89069 w 89068"/>
                  <a:gd name="connsiteY0" fmla="*/ 48714 h 101502"/>
                  <a:gd name="connsiteX1" fmla="*/ 0 w 89068"/>
                  <a:gd name="connsiteY1" fmla="*/ 0 h 101502"/>
                  <a:gd name="connsiteX2" fmla="*/ 2334 w 89068"/>
                  <a:gd name="connsiteY2" fmla="*/ 101502 h 101502"/>
                  <a:gd name="connsiteX3" fmla="*/ 89069 w 89068"/>
                  <a:gd name="connsiteY3" fmla="*/ 48714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89069" y="48714"/>
                    </a:moveTo>
                    <a:lnTo>
                      <a:pt x="0" y="0"/>
                    </a:lnTo>
                    <a:lnTo>
                      <a:pt x="2334" y="101502"/>
                    </a:lnTo>
                    <a:lnTo>
                      <a:pt x="89069" y="48714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479" name="Freihandform: Form 478">
              <a:extLst>
                <a:ext uri="{FF2B5EF4-FFF2-40B4-BE49-F238E27FC236}">
                  <a16:creationId xmlns:a16="http://schemas.microsoft.com/office/drawing/2014/main" id="{516C94A5-EF7F-4CF4-8503-9D7F97F48D8E}"/>
                </a:ext>
              </a:extLst>
            </p:cNvPr>
            <p:cNvSpPr/>
            <p:nvPr/>
          </p:nvSpPr>
          <p:spPr>
            <a:xfrm>
              <a:off x="8889628" y="2617539"/>
              <a:ext cx="89068" cy="101502"/>
            </a:xfrm>
            <a:custGeom>
              <a:avLst/>
              <a:gdLst>
                <a:gd name="connsiteX0" fmla="*/ 0 w 89068"/>
                <a:gd name="connsiteY0" fmla="*/ 52788 h 101502"/>
                <a:gd name="connsiteX1" fmla="*/ 89069 w 89068"/>
                <a:gd name="connsiteY1" fmla="*/ 101502 h 101502"/>
                <a:gd name="connsiteX2" fmla="*/ 86735 w 89068"/>
                <a:gd name="connsiteY2" fmla="*/ 0 h 101502"/>
                <a:gd name="connsiteX3" fmla="*/ 0 w 89068"/>
                <a:gd name="connsiteY3" fmla="*/ 52788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0" y="52788"/>
                  </a:moveTo>
                  <a:lnTo>
                    <a:pt x="89069" y="101502"/>
                  </a:lnTo>
                  <a:lnTo>
                    <a:pt x="86735" y="0"/>
                  </a:lnTo>
                  <a:lnTo>
                    <a:pt x="0" y="52788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4" name="Freihandform: Form 483">
              <a:extLst>
                <a:ext uri="{FF2B5EF4-FFF2-40B4-BE49-F238E27FC236}">
                  <a16:creationId xmlns:a16="http://schemas.microsoft.com/office/drawing/2014/main" id="{52736A40-D816-4BC5-A635-4C7D69ACE36A}"/>
                </a:ext>
              </a:extLst>
            </p:cNvPr>
            <p:cNvSpPr/>
            <p:nvPr/>
          </p:nvSpPr>
          <p:spPr>
            <a:xfrm>
              <a:off x="8293685" y="3037254"/>
              <a:ext cx="89068" cy="101502"/>
            </a:xfrm>
            <a:custGeom>
              <a:avLst/>
              <a:gdLst>
                <a:gd name="connsiteX0" fmla="*/ 89069 w 89068"/>
                <a:gd name="connsiteY0" fmla="*/ 48714 h 101502"/>
                <a:gd name="connsiteX1" fmla="*/ 0 w 89068"/>
                <a:gd name="connsiteY1" fmla="*/ 0 h 101502"/>
                <a:gd name="connsiteX2" fmla="*/ 2334 w 89068"/>
                <a:gd name="connsiteY2" fmla="*/ 101502 h 101502"/>
                <a:gd name="connsiteX3" fmla="*/ 89069 w 89068"/>
                <a:gd name="connsiteY3" fmla="*/ 48714 h 10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068" h="101502">
                  <a:moveTo>
                    <a:pt x="89069" y="48714"/>
                  </a:moveTo>
                  <a:lnTo>
                    <a:pt x="0" y="0"/>
                  </a:lnTo>
                  <a:lnTo>
                    <a:pt x="2334" y="101502"/>
                  </a:lnTo>
                  <a:lnTo>
                    <a:pt x="89069" y="48714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5" name="Freihandform: Form 484">
              <a:extLst>
                <a:ext uri="{FF2B5EF4-FFF2-40B4-BE49-F238E27FC236}">
                  <a16:creationId xmlns:a16="http://schemas.microsoft.com/office/drawing/2014/main" id="{2F30B55E-575C-4A94-96D0-D41664059FA7}"/>
                </a:ext>
              </a:extLst>
            </p:cNvPr>
            <p:cNvSpPr/>
            <p:nvPr/>
          </p:nvSpPr>
          <p:spPr>
            <a:xfrm>
              <a:off x="8509249" y="2595092"/>
              <a:ext cx="267291" cy="588219"/>
            </a:xfrm>
            <a:custGeom>
              <a:avLst/>
              <a:gdLst>
                <a:gd name="connsiteX0" fmla="*/ 267292 w 267291"/>
                <a:gd name="connsiteY0" fmla="*/ 232750 h 588219"/>
                <a:gd name="connsiteX1" fmla="*/ 138674 w 267291"/>
                <a:gd name="connsiteY1" fmla="*/ 232750 h 588219"/>
                <a:gd name="connsiteX2" fmla="*/ 239370 w 267291"/>
                <a:gd name="connsiteY2" fmla="*/ 0 h 588219"/>
                <a:gd name="connsiteX3" fmla="*/ 99805 w 267291"/>
                <a:gd name="connsiteY3" fmla="*/ 0 h 588219"/>
                <a:gd name="connsiteX4" fmla="*/ 0 w 267291"/>
                <a:gd name="connsiteY4" fmla="*/ 310405 h 588219"/>
                <a:gd name="connsiteX5" fmla="*/ 109946 w 267291"/>
                <a:gd name="connsiteY5" fmla="*/ 310405 h 588219"/>
                <a:gd name="connsiteX6" fmla="*/ 10863 w 267291"/>
                <a:gd name="connsiteY6" fmla="*/ 587414 h 588219"/>
                <a:gd name="connsiteX7" fmla="*/ 11797 w 267291"/>
                <a:gd name="connsiteY7" fmla="*/ 588220 h 588219"/>
                <a:gd name="connsiteX8" fmla="*/ 267292 w 267291"/>
                <a:gd name="connsiteY8" fmla="*/ 232750 h 588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7291" h="588219">
                  <a:moveTo>
                    <a:pt x="267292" y="232750"/>
                  </a:moveTo>
                  <a:lnTo>
                    <a:pt x="138674" y="232750"/>
                  </a:lnTo>
                  <a:lnTo>
                    <a:pt x="239370" y="0"/>
                  </a:lnTo>
                  <a:lnTo>
                    <a:pt x="99805" y="0"/>
                  </a:lnTo>
                  <a:lnTo>
                    <a:pt x="0" y="310405"/>
                  </a:lnTo>
                  <a:lnTo>
                    <a:pt x="109946" y="310405"/>
                  </a:lnTo>
                  <a:lnTo>
                    <a:pt x="10863" y="587414"/>
                  </a:lnTo>
                  <a:lnTo>
                    <a:pt x="11797" y="588220"/>
                  </a:lnTo>
                  <a:lnTo>
                    <a:pt x="267292" y="232750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6" name="Freihandform: Form 485">
              <a:extLst>
                <a:ext uri="{FF2B5EF4-FFF2-40B4-BE49-F238E27FC236}">
                  <a16:creationId xmlns:a16="http://schemas.microsoft.com/office/drawing/2014/main" id="{B03DE9C2-9BB2-4530-8B6B-D0CC040430BA}"/>
                </a:ext>
              </a:extLst>
            </p:cNvPr>
            <p:cNvSpPr/>
            <p:nvPr/>
          </p:nvSpPr>
          <p:spPr>
            <a:xfrm>
              <a:off x="8509249" y="2595092"/>
              <a:ext cx="267291" cy="588219"/>
            </a:xfrm>
            <a:custGeom>
              <a:avLst/>
              <a:gdLst>
                <a:gd name="connsiteX0" fmla="*/ 267292 w 267291"/>
                <a:gd name="connsiteY0" fmla="*/ 232750 h 588219"/>
                <a:gd name="connsiteX1" fmla="*/ 138674 w 267291"/>
                <a:gd name="connsiteY1" fmla="*/ 232750 h 588219"/>
                <a:gd name="connsiteX2" fmla="*/ 239370 w 267291"/>
                <a:gd name="connsiteY2" fmla="*/ 0 h 588219"/>
                <a:gd name="connsiteX3" fmla="*/ 99805 w 267291"/>
                <a:gd name="connsiteY3" fmla="*/ 0 h 588219"/>
                <a:gd name="connsiteX4" fmla="*/ 0 w 267291"/>
                <a:gd name="connsiteY4" fmla="*/ 310405 h 588219"/>
                <a:gd name="connsiteX5" fmla="*/ 109946 w 267291"/>
                <a:gd name="connsiteY5" fmla="*/ 310405 h 588219"/>
                <a:gd name="connsiteX6" fmla="*/ 10863 w 267291"/>
                <a:gd name="connsiteY6" fmla="*/ 587414 h 588219"/>
                <a:gd name="connsiteX7" fmla="*/ 11797 w 267291"/>
                <a:gd name="connsiteY7" fmla="*/ 588220 h 588219"/>
                <a:gd name="connsiteX8" fmla="*/ 267292 w 267291"/>
                <a:gd name="connsiteY8" fmla="*/ 232750 h 588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7291" h="588219">
                  <a:moveTo>
                    <a:pt x="267292" y="232750"/>
                  </a:moveTo>
                  <a:lnTo>
                    <a:pt x="138674" y="232750"/>
                  </a:lnTo>
                  <a:lnTo>
                    <a:pt x="239370" y="0"/>
                  </a:lnTo>
                  <a:lnTo>
                    <a:pt x="99805" y="0"/>
                  </a:lnTo>
                  <a:lnTo>
                    <a:pt x="0" y="310405"/>
                  </a:lnTo>
                  <a:lnTo>
                    <a:pt x="109946" y="310405"/>
                  </a:lnTo>
                  <a:lnTo>
                    <a:pt x="10863" y="587414"/>
                  </a:lnTo>
                  <a:lnTo>
                    <a:pt x="11797" y="588220"/>
                  </a:lnTo>
                  <a:lnTo>
                    <a:pt x="267292" y="232750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91" name="Gruppieren 490">
            <a:extLst>
              <a:ext uri="{FF2B5EF4-FFF2-40B4-BE49-F238E27FC236}">
                <a16:creationId xmlns:a16="http://schemas.microsoft.com/office/drawing/2014/main" id="{B1ED3CA7-1B89-4958-8579-04683A9C8829}"/>
              </a:ext>
            </a:extLst>
          </p:cNvPr>
          <p:cNvGrpSpPr/>
          <p:nvPr/>
        </p:nvGrpSpPr>
        <p:grpSpPr>
          <a:xfrm>
            <a:off x="10890431" y="5093700"/>
            <a:ext cx="567882" cy="568042"/>
            <a:chOff x="10796447" y="2500034"/>
            <a:chExt cx="755851" cy="756064"/>
          </a:xfrm>
          <a:solidFill>
            <a:schemeClr val="bg1"/>
          </a:solidFill>
          <a:effectLst>
            <a:outerShdw blurRad="12700" dist="127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492" name="Grafik 96">
              <a:extLst>
                <a:ext uri="{FF2B5EF4-FFF2-40B4-BE49-F238E27FC236}">
                  <a16:creationId xmlns:a16="http://schemas.microsoft.com/office/drawing/2014/main" id="{B8C449A5-2C2D-41B8-A743-79A65F22287B}"/>
                </a:ext>
              </a:extLst>
            </p:cNvPr>
            <p:cNvGrpSpPr/>
            <p:nvPr/>
          </p:nvGrpSpPr>
          <p:grpSpPr>
            <a:xfrm>
              <a:off x="10796447" y="2500034"/>
              <a:ext cx="755851" cy="756064"/>
              <a:chOff x="10796447" y="2500034"/>
              <a:chExt cx="755851" cy="756064"/>
            </a:xfrm>
            <a:grpFill/>
          </p:grpSpPr>
          <p:sp>
            <p:nvSpPr>
              <p:cNvPr id="500" name="Freihandform: Form 499">
                <a:extLst>
                  <a:ext uri="{FF2B5EF4-FFF2-40B4-BE49-F238E27FC236}">
                    <a16:creationId xmlns:a16="http://schemas.microsoft.com/office/drawing/2014/main" id="{FB714ECD-1AA6-4F1E-B56F-72C836F11139}"/>
                  </a:ext>
                </a:extLst>
              </p:cNvPr>
              <p:cNvSpPr/>
              <p:nvPr/>
            </p:nvSpPr>
            <p:spPr>
              <a:xfrm>
                <a:off x="10796447" y="2500034"/>
                <a:ext cx="683499" cy="466270"/>
              </a:xfrm>
              <a:custGeom>
                <a:avLst/>
                <a:gdLst>
                  <a:gd name="connsiteX0" fmla="*/ 10573 w 683499"/>
                  <a:gd name="connsiteY0" fmla="*/ 466221 h 466270"/>
                  <a:gd name="connsiteX1" fmla="*/ 289109 w 683499"/>
                  <a:gd name="connsiteY1" fmla="*/ 10507 h 466270"/>
                  <a:gd name="connsiteX2" fmla="*/ 683449 w 683499"/>
                  <a:gd name="connsiteY2" fmla="*/ 155944 h 466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99" h="466270">
                    <a:moveTo>
                      <a:pt x="10573" y="466221"/>
                    </a:moveTo>
                    <a:cubicBezTo>
                      <a:pt x="-38354" y="263463"/>
                      <a:pt x="86351" y="59433"/>
                      <a:pt x="289109" y="10507"/>
                    </a:cubicBezTo>
                    <a:cubicBezTo>
                      <a:pt x="437882" y="-25393"/>
                      <a:pt x="593612" y="32042"/>
                      <a:pt x="683449" y="155944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501" name="Freihandform: Form 500">
                <a:extLst>
                  <a:ext uri="{FF2B5EF4-FFF2-40B4-BE49-F238E27FC236}">
                    <a16:creationId xmlns:a16="http://schemas.microsoft.com/office/drawing/2014/main" id="{E3E22E25-29F3-4D58-BC9B-B37606CC5D4C}"/>
                  </a:ext>
                </a:extLst>
              </p:cNvPr>
              <p:cNvSpPr/>
              <p:nvPr/>
            </p:nvSpPr>
            <p:spPr>
              <a:xfrm>
                <a:off x="11427838" y="2617539"/>
                <a:ext cx="89068" cy="101502"/>
              </a:xfrm>
              <a:custGeom>
                <a:avLst/>
                <a:gdLst>
                  <a:gd name="connsiteX0" fmla="*/ 0 w 89068"/>
                  <a:gd name="connsiteY0" fmla="*/ 52788 h 101502"/>
                  <a:gd name="connsiteX1" fmla="*/ 89069 w 89068"/>
                  <a:gd name="connsiteY1" fmla="*/ 101502 h 101502"/>
                  <a:gd name="connsiteX2" fmla="*/ 86735 w 89068"/>
                  <a:gd name="connsiteY2" fmla="*/ 0 h 101502"/>
                  <a:gd name="connsiteX3" fmla="*/ 0 w 89068"/>
                  <a:gd name="connsiteY3" fmla="*/ 52788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0" y="52788"/>
                    </a:moveTo>
                    <a:lnTo>
                      <a:pt x="89069" y="101502"/>
                    </a:lnTo>
                    <a:lnTo>
                      <a:pt x="86735" y="0"/>
                    </a:lnTo>
                    <a:lnTo>
                      <a:pt x="0" y="52788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02" name="Freihandform: Form 501">
                <a:extLst>
                  <a:ext uri="{FF2B5EF4-FFF2-40B4-BE49-F238E27FC236}">
                    <a16:creationId xmlns:a16="http://schemas.microsoft.com/office/drawing/2014/main" id="{AE7B7DE4-C7FF-408C-93A1-1BA44394E2AD}"/>
                  </a:ext>
                </a:extLst>
              </p:cNvPr>
              <p:cNvSpPr/>
              <p:nvPr/>
            </p:nvSpPr>
            <p:spPr>
              <a:xfrm>
                <a:off x="10868855" y="2790415"/>
                <a:ext cx="683443" cy="465683"/>
              </a:xfrm>
              <a:custGeom>
                <a:avLst/>
                <a:gdLst>
                  <a:gd name="connsiteX0" fmla="*/ 672909 w 683443"/>
                  <a:gd name="connsiteY0" fmla="*/ -49 h 465683"/>
                  <a:gd name="connsiteX1" fmla="*/ 393646 w 683443"/>
                  <a:gd name="connsiteY1" fmla="*/ 455220 h 465683"/>
                  <a:gd name="connsiteX2" fmla="*/ -51 w 683443"/>
                  <a:gd name="connsiteY2" fmla="*/ 309719 h 465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3443" h="465683">
                    <a:moveTo>
                      <a:pt x="672909" y="-49"/>
                    </a:moveTo>
                    <a:cubicBezTo>
                      <a:pt x="721512" y="202786"/>
                      <a:pt x="596481" y="406617"/>
                      <a:pt x="393646" y="455220"/>
                    </a:cubicBezTo>
                    <a:cubicBezTo>
                      <a:pt x="245063" y="490822"/>
                      <a:pt x="89667" y="433392"/>
                      <a:pt x="-51" y="309719"/>
                    </a:cubicBezTo>
                  </a:path>
                </a:pathLst>
              </a:custGeom>
              <a:noFill/>
              <a:ln w="33594" cap="flat">
                <a:solidFill>
                  <a:schemeClr val="bg1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503" name="Freihandform: Form 502">
                <a:extLst>
                  <a:ext uri="{FF2B5EF4-FFF2-40B4-BE49-F238E27FC236}">
                    <a16:creationId xmlns:a16="http://schemas.microsoft.com/office/drawing/2014/main" id="{72B21F18-5E42-4557-AB7D-188F1B86BB49}"/>
                  </a:ext>
                </a:extLst>
              </p:cNvPr>
              <p:cNvSpPr/>
              <p:nvPr/>
            </p:nvSpPr>
            <p:spPr>
              <a:xfrm>
                <a:off x="10831895" y="3037254"/>
                <a:ext cx="89068" cy="101502"/>
              </a:xfrm>
              <a:custGeom>
                <a:avLst/>
                <a:gdLst>
                  <a:gd name="connsiteX0" fmla="*/ 89069 w 89068"/>
                  <a:gd name="connsiteY0" fmla="*/ 48714 h 101502"/>
                  <a:gd name="connsiteX1" fmla="*/ 0 w 89068"/>
                  <a:gd name="connsiteY1" fmla="*/ 0 h 101502"/>
                  <a:gd name="connsiteX2" fmla="*/ 2334 w 89068"/>
                  <a:gd name="connsiteY2" fmla="*/ 101502 h 101502"/>
                  <a:gd name="connsiteX3" fmla="*/ 89069 w 89068"/>
                  <a:gd name="connsiteY3" fmla="*/ 48714 h 10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068" h="101502">
                    <a:moveTo>
                      <a:pt x="89069" y="48714"/>
                    </a:moveTo>
                    <a:lnTo>
                      <a:pt x="0" y="0"/>
                    </a:lnTo>
                    <a:lnTo>
                      <a:pt x="2334" y="101502"/>
                    </a:lnTo>
                    <a:lnTo>
                      <a:pt x="89069" y="48714"/>
                    </a:lnTo>
                    <a:close/>
                  </a:path>
                </a:pathLst>
              </a:custGeom>
              <a:grpFill/>
              <a:ln w="41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493" name="Freihandform: Form 492">
              <a:extLst>
                <a:ext uri="{FF2B5EF4-FFF2-40B4-BE49-F238E27FC236}">
                  <a16:creationId xmlns:a16="http://schemas.microsoft.com/office/drawing/2014/main" id="{ADB3983D-32F6-42EE-8965-C724D8E2B7D5}"/>
                </a:ext>
              </a:extLst>
            </p:cNvPr>
            <p:cNvSpPr/>
            <p:nvPr/>
          </p:nvSpPr>
          <p:spPr>
            <a:xfrm>
              <a:off x="11222754" y="2914917"/>
              <a:ext cx="37991" cy="59831"/>
            </a:xfrm>
            <a:custGeom>
              <a:avLst/>
              <a:gdLst>
                <a:gd name="connsiteX0" fmla="*/ 32156 w 37991"/>
                <a:gd name="connsiteY0" fmla="*/ 59783 h 59831"/>
                <a:gd name="connsiteX1" fmla="*/ 37927 w 37991"/>
                <a:gd name="connsiteY1" fmla="*/ 37250 h 59831"/>
                <a:gd name="connsiteX2" fmla="*/ 36357 w 37991"/>
                <a:gd name="connsiteY2" fmla="*/ 31607 h 59831"/>
                <a:gd name="connsiteX3" fmla="*/ 15946 w 37991"/>
                <a:gd name="connsiteY3" fmla="*/ -49 h 59831"/>
                <a:gd name="connsiteX4" fmla="*/ -51 w 37991"/>
                <a:gd name="connsiteY4" fmla="*/ 22738 h 59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91" h="59831">
                  <a:moveTo>
                    <a:pt x="32156" y="59783"/>
                  </a:moveTo>
                  <a:cubicBezTo>
                    <a:pt x="32156" y="59783"/>
                    <a:pt x="36951" y="43828"/>
                    <a:pt x="37927" y="37250"/>
                  </a:cubicBezTo>
                  <a:cubicBezTo>
                    <a:pt x="38035" y="35248"/>
                    <a:pt x="37484" y="33265"/>
                    <a:pt x="36357" y="31607"/>
                  </a:cubicBezTo>
                  <a:cubicBezTo>
                    <a:pt x="29596" y="20998"/>
                    <a:pt x="22792" y="10446"/>
                    <a:pt x="15946" y="-49"/>
                  </a:cubicBezTo>
                  <a:lnTo>
                    <a:pt x="-51" y="22738"/>
                  </a:ln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4" name="Freihandform: Form 493">
              <a:extLst>
                <a:ext uri="{FF2B5EF4-FFF2-40B4-BE49-F238E27FC236}">
                  <a16:creationId xmlns:a16="http://schemas.microsoft.com/office/drawing/2014/main" id="{5E5129EE-097F-4121-B0B7-568F61EEA065}"/>
                </a:ext>
              </a:extLst>
            </p:cNvPr>
            <p:cNvSpPr/>
            <p:nvPr/>
          </p:nvSpPr>
          <p:spPr>
            <a:xfrm>
              <a:off x="11292401" y="2777515"/>
              <a:ext cx="166710" cy="197445"/>
            </a:xfrm>
            <a:custGeom>
              <a:avLst/>
              <a:gdLst>
                <a:gd name="connsiteX0" fmla="*/ 164367 w 166710"/>
                <a:gd name="connsiteY0" fmla="*/ 154453 h 197445"/>
                <a:gd name="connsiteX1" fmla="*/ 157366 w 166710"/>
                <a:gd name="connsiteY1" fmla="*/ 145287 h 197445"/>
                <a:gd name="connsiteX2" fmla="*/ 132542 w 166710"/>
                <a:gd name="connsiteY2" fmla="*/ 114056 h 197445"/>
                <a:gd name="connsiteX3" fmla="*/ 88580 w 166710"/>
                <a:gd name="connsiteY3" fmla="*/ 57576 h 197445"/>
                <a:gd name="connsiteX4" fmla="*/ 51620 w 166710"/>
                <a:gd name="connsiteY4" fmla="*/ 10220 h 197445"/>
                <a:gd name="connsiteX5" fmla="*/ 42836 w 166710"/>
                <a:gd name="connsiteY5" fmla="*/ -49 h 197445"/>
                <a:gd name="connsiteX6" fmla="*/ 39187 w 166710"/>
                <a:gd name="connsiteY6" fmla="*/ 4194 h 197445"/>
                <a:gd name="connsiteX7" fmla="*/ 2354 w 166710"/>
                <a:gd name="connsiteY7" fmla="*/ 56940 h 197445"/>
                <a:gd name="connsiteX8" fmla="*/ 3458 w 166710"/>
                <a:gd name="connsiteY8" fmla="*/ 65427 h 197445"/>
                <a:gd name="connsiteX9" fmla="*/ 73262 w 166710"/>
                <a:gd name="connsiteY9" fmla="*/ 122500 h 197445"/>
                <a:gd name="connsiteX10" fmla="*/ 161779 w 166710"/>
                <a:gd name="connsiteY10" fmla="*/ 194638 h 197445"/>
                <a:gd name="connsiteX11" fmla="*/ 165089 w 166710"/>
                <a:gd name="connsiteY11" fmla="*/ 197396 h 197445"/>
                <a:gd name="connsiteX12" fmla="*/ 165513 w 166710"/>
                <a:gd name="connsiteY12" fmla="*/ 191371 h 197445"/>
                <a:gd name="connsiteX13" fmla="*/ 166659 w 166710"/>
                <a:gd name="connsiteY13" fmla="*/ 160945 h 197445"/>
                <a:gd name="connsiteX14" fmla="*/ 164367 w 166710"/>
                <a:gd name="connsiteY14" fmla="*/ 154453 h 197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66710" h="197445">
                  <a:moveTo>
                    <a:pt x="164367" y="154453"/>
                  </a:moveTo>
                  <a:cubicBezTo>
                    <a:pt x="162193" y="151279"/>
                    <a:pt x="159856" y="148219"/>
                    <a:pt x="157366" y="145287"/>
                  </a:cubicBezTo>
                  <a:cubicBezTo>
                    <a:pt x="149091" y="134891"/>
                    <a:pt x="140732" y="124537"/>
                    <a:pt x="132542" y="114056"/>
                  </a:cubicBezTo>
                  <a:cubicBezTo>
                    <a:pt x="117860" y="95258"/>
                    <a:pt x="103262" y="76417"/>
                    <a:pt x="88580" y="57576"/>
                  </a:cubicBezTo>
                  <a:cubicBezTo>
                    <a:pt x="76274" y="41791"/>
                    <a:pt x="64011" y="25963"/>
                    <a:pt x="51620" y="10220"/>
                  </a:cubicBezTo>
                  <a:cubicBezTo>
                    <a:pt x="48989" y="6825"/>
                    <a:pt x="46019" y="3643"/>
                    <a:pt x="42836" y="-49"/>
                  </a:cubicBezTo>
                  <a:cubicBezTo>
                    <a:pt x="41547" y="1301"/>
                    <a:pt x="40329" y="2717"/>
                    <a:pt x="39187" y="4194"/>
                  </a:cubicBezTo>
                  <a:cubicBezTo>
                    <a:pt x="26881" y="21762"/>
                    <a:pt x="14660" y="39372"/>
                    <a:pt x="2354" y="56940"/>
                  </a:cubicBezTo>
                  <a:cubicBezTo>
                    <a:pt x="-998" y="61692"/>
                    <a:pt x="-1040" y="61947"/>
                    <a:pt x="3458" y="65427"/>
                  </a:cubicBezTo>
                  <a:lnTo>
                    <a:pt x="73262" y="122500"/>
                  </a:lnTo>
                  <a:cubicBezTo>
                    <a:pt x="102767" y="146631"/>
                    <a:pt x="132273" y="170677"/>
                    <a:pt x="161779" y="194638"/>
                  </a:cubicBezTo>
                  <a:cubicBezTo>
                    <a:pt x="162797" y="195487"/>
                    <a:pt x="163391" y="195826"/>
                    <a:pt x="165089" y="197396"/>
                  </a:cubicBezTo>
                  <a:cubicBezTo>
                    <a:pt x="165089" y="195105"/>
                    <a:pt x="165386" y="192941"/>
                    <a:pt x="165513" y="191371"/>
                  </a:cubicBezTo>
                  <a:cubicBezTo>
                    <a:pt x="166234" y="180635"/>
                    <a:pt x="166532" y="172360"/>
                    <a:pt x="166659" y="160945"/>
                  </a:cubicBezTo>
                  <a:cubicBezTo>
                    <a:pt x="166449" y="158624"/>
                    <a:pt x="165661" y="156392"/>
                    <a:pt x="164367" y="154453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5" name="Freihandform: Form 494">
              <a:extLst>
                <a:ext uri="{FF2B5EF4-FFF2-40B4-BE49-F238E27FC236}">
                  <a16:creationId xmlns:a16="http://schemas.microsoft.com/office/drawing/2014/main" id="{F32FE13E-2823-4CEF-BC34-787AC9973E0D}"/>
                </a:ext>
              </a:extLst>
            </p:cNvPr>
            <p:cNvSpPr/>
            <p:nvPr/>
          </p:nvSpPr>
          <p:spPr>
            <a:xfrm>
              <a:off x="10871486" y="2838154"/>
              <a:ext cx="108461" cy="98192"/>
            </a:xfrm>
            <a:custGeom>
              <a:avLst/>
              <a:gdLst>
                <a:gd name="connsiteX0" fmla="*/ 6908 w 108461"/>
                <a:gd name="connsiteY0" fmla="*/ 80193 h 98192"/>
                <a:gd name="connsiteX1" fmla="*/ 49342 w 108461"/>
                <a:gd name="connsiteY1" fmla="*/ 98143 h 98192"/>
                <a:gd name="connsiteX2" fmla="*/ 108410 w 108461"/>
                <a:gd name="connsiteY2" fmla="*/ -49 h 98192"/>
                <a:gd name="connsiteX3" fmla="*/ 64406 w 108461"/>
                <a:gd name="connsiteY3" fmla="*/ 24563 h 98192"/>
                <a:gd name="connsiteX4" fmla="*/ 4234 w 108461"/>
                <a:gd name="connsiteY4" fmla="*/ 64790 h 98192"/>
                <a:gd name="connsiteX5" fmla="*/ 6908 w 108461"/>
                <a:gd name="connsiteY5" fmla="*/ 80193 h 98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8461" h="98192">
                  <a:moveTo>
                    <a:pt x="6908" y="80193"/>
                  </a:moveTo>
                  <a:cubicBezTo>
                    <a:pt x="20996" y="86431"/>
                    <a:pt x="35254" y="92160"/>
                    <a:pt x="49342" y="98143"/>
                  </a:cubicBezTo>
                  <a:lnTo>
                    <a:pt x="108410" y="-49"/>
                  </a:lnTo>
                  <a:cubicBezTo>
                    <a:pt x="94392" y="9267"/>
                    <a:pt x="79681" y="17495"/>
                    <a:pt x="64406" y="24563"/>
                  </a:cubicBezTo>
                  <a:cubicBezTo>
                    <a:pt x="42298" y="34874"/>
                    <a:pt x="21123" y="46543"/>
                    <a:pt x="4234" y="64790"/>
                  </a:cubicBezTo>
                  <a:cubicBezTo>
                    <a:pt x="-1961" y="71537"/>
                    <a:pt x="-1749" y="76374"/>
                    <a:pt x="6908" y="80193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6" name="Freihandform: Form 495">
              <a:extLst>
                <a:ext uri="{FF2B5EF4-FFF2-40B4-BE49-F238E27FC236}">
                  <a16:creationId xmlns:a16="http://schemas.microsoft.com/office/drawing/2014/main" id="{CF33AE97-8A2C-4B0C-B663-0AB8CD5A9EFB}"/>
                </a:ext>
              </a:extLst>
            </p:cNvPr>
            <p:cNvSpPr/>
            <p:nvPr/>
          </p:nvSpPr>
          <p:spPr>
            <a:xfrm>
              <a:off x="10963228" y="2894845"/>
              <a:ext cx="84867" cy="120371"/>
            </a:xfrm>
            <a:custGeom>
              <a:avLst/>
              <a:gdLst>
                <a:gd name="connsiteX0" fmla="*/ 24603 w 84867"/>
                <a:gd name="connsiteY0" fmla="*/ 113462 h 120371"/>
                <a:gd name="connsiteX1" fmla="*/ 45480 w 84867"/>
                <a:gd name="connsiteY1" fmla="*/ 109430 h 120371"/>
                <a:gd name="connsiteX2" fmla="*/ 59187 w 84867"/>
                <a:gd name="connsiteY2" fmla="*/ 81297 h 120371"/>
                <a:gd name="connsiteX3" fmla="*/ 74845 w 84867"/>
                <a:gd name="connsiteY3" fmla="*/ 28933 h 120371"/>
                <a:gd name="connsiteX4" fmla="*/ 84817 w 84867"/>
                <a:gd name="connsiteY4" fmla="*/ -49 h 120371"/>
                <a:gd name="connsiteX5" fmla="*/ -51 w 84867"/>
                <a:gd name="connsiteY5" fmla="*/ 76332 h 120371"/>
                <a:gd name="connsiteX6" fmla="*/ 24603 w 84867"/>
                <a:gd name="connsiteY6" fmla="*/ 113462 h 120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4867" h="120371">
                  <a:moveTo>
                    <a:pt x="24603" y="113462"/>
                  </a:moveTo>
                  <a:cubicBezTo>
                    <a:pt x="31520" y="123349"/>
                    <a:pt x="34660" y="123009"/>
                    <a:pt x="45480" y="109430"/>
                  </a:cubicBezTo>
                  <a:cubicBezTo>
                    <a:pt x="50809" y="100442"/>
                    <a:pt x="55393" y="91033"/>
                    <a:pt x="59187" y="81297"/>
                  </a:cubicBezTo>
                  <a:cubicBezTo>
                    <a:pt x="65849" y="64323"/>
                    <a:pt x="69753" y="46416"/>
                    <a:pt x="74845" y="28933"/>
                  </a:cubicBezTo>
                  <a:cubicBezTo>
                    <a:pt x="77730" y="19089"/>
                    <a:pt x="80998" y="9371"/>
                    <a:pt x="84817" y="-49"/>
                  </a:cubicBezTo>
                  <a:lnTo>
                    <a:pt x="-51" y="76332"/>
                  </a:lnTo>
                  <a:cubicBezTo>
                    <a:pt x="8138" y="88638"/>
                    <a:pt x="16074" y="101368"/>
                    <a:pt x="24603" y="113462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7" name="Freihandform: Form 496">
              <a:extLst>
                <a:ext uri="{FF2B5EF4-FFF2-40B4-BE49-F238E27FC236}">
                  <a16:creationId xmlns:a16="http://schemas.microsoft.com/office/drawing/2014/main" id="{4D607956-C5C4-4362-901F-CE40973580FD}"/>
                </a:ext>
              </a:extLst>
            </p:cNvPr>
            <p:cNvSpPr/>
            <p:nvPr/>
          </p:nvSpPr>
          <p:spPr>
            <a:xfrm>
              <a:off x="11066342" y="2652585"/>
              <a:ext cx="319704" cy="270520"/>
            </a:xfrm>
            <a:custGeom>
              <a:avLst/>
              <a:gdLst>
                <a:gd name="connsiteX0" fmla="*/ 318501 w 319704"/>
                <a:gd name="connsiteY0" fmla="*/ 1186 h 270520"/>
                <a:gd name="connsiteX1" fmla="*/ 312348 w 319704"/>
                <a:gd name="connsiteY1" fmla="*/ 422 h 270520"/>
                <a:gd name="connsiteX2" fmla="*/ 308444 w 319704"/>
                <a:gd name="connsiteY2" fmla="*/ 2544 h 270520"/>
                <a:gd name="connsiteX3" fmla="*/ 294780 w 319704"/>
                <a:gd name="connsiteY3" fmla="*/ 14807 h 270520"/>
                <a:gd name="connsiteX4" fmla="*/ 239107 w 319704"/>
                <a:gd name="connsiteY4" fmla="*/ 81853 h 270520"/>
                <a:gd name="connsiteX5" fmla="*/ 224424 w 319704"/>
                <a:gd name="connsiteY5" fmla="*/ 86096 h 270520"/>
                <a:gd name="connsiteX6" fmla="*/ 74505 w 319704"/>
                <a:gd name="connsiteY6" fmla="*/ 36024 h 270520"/>
                <a:gd name="connsiteX7" fmla="*/ 42552 w 319704"/>
                <a:gd name="connsiteY7" fmla="*/ 24864 h 270520"/>
                <a:gd name="connsiteX8" fmla="*/ 34575 w 319704"/>
                <a:gd name="connsiteY8" fmla="*/ 24143 h 270520"/>
                <a:gd name="connsiteX9" fmla="*/ 8436 w 319704"/>
                <a:gd name="connsiteY9" fmla="*/ 33648 h 270520"/>
                <a:gd name="connsiteX10" fmla="*/ -51 w 319704"/>
                <a:gd name="connsiteY10" fmla="*/ 37255 h 270520"/>
                <a:gd name="connsiteX11" fmla="*/ 3938 w 319704"/>
                <a:gd name="connsiteY11" fmla="*/ 39886 h 270520"/>
                <a:gd name="connsiteX12" fmla="*/ 32326 w 319704"/>
                <a:gd name="connsiteY12" fmla="*/ 57156 h 270520"/>
                <a:gd name="connsiteX13" fmla="*/ 110447 w 319704"/>
                <a:gd name="connsiteY13" fmla="*/ 104555 h 270520"/>
                <a:gd name="connsiteX14" fmla="*/ 150123 w 319704"/>
                <a:gd name="connsiteY14" fmla="*/ 128445 h 270520"/>
                <a:gd name="connsiteX15" fmla="*/ 180166 w 319704"/>
                <a:gd name="connsiteY15" fmla="*/ 146692 h 270520"/>
                <a:gd name="connsiteX16" fmla="*/ 182288 w 319704"/>
                <a:gd name="connsiteY16" fmla="*/ 153057 h 270520"/>
                <a:gd name="connsiteX17" fmla="*/ 181566 w 319704"/>
                <a:gd name="connsiteY17" fmla="*/ 154160 h 270520"/>
                <a:gd name="connsiteX18" fmla="*/ 161537 w 319704"/>
                <a:gd name="connsiteY18" fmla="*/ 182506 h 270520"/>
                <a:gd name="connsiteX19" fmla="*/ 127972 w 319704"/>
                <a:gd name="connsiteY19" fmla="*/ 226001 h 270520"/>
                <a:gd name="connsiteX20" fmla="*/ 73784 w 319704"/>
                <a:gd name="connsiteY20" fmla="*/ 214289 h 270520"/>
                <a:gd name="connsiteX21" fmla="*/ 67546 w 319704"/>
                <a:gd name="connsiteY21" fmla="*/ 214841 h 270520"/>
                <a:gd name="connsiteX22" fmla="*/ 48536 w 319704"/>
                <a:gd name="connsiteY22" fmla="*/ 226510 h 270520"/>
                <a:gd name="connsiteX23" fmla="*/ 106925 w 319704"/>
                <a:gd name="connsiteY23" fmla="*/ 253498 h 270520"/>
                <a:gd name="connsiteX24" fmla="*/ 144182 w 319704"/>
                <a:gd name="connsiteY24" fmla="*/ 270472 h 270520"/>
                <a:gd name="connsiteX25" fmla="*/ 162853 w 319704"/>
                <a:gd name="connsiteY25" fmla="*/ 245605 h 270520"/>
                <a:gd name="connsiteX26" fmla="*/ 202571 w 319704"/>
                <a:gd name="connsiteY26" fmla="*/ 187344 h 270520"/>
                <a:gd name="connsiteX27" fmla="*/ 249248 w 319704"/>
                <a:gd name="connsiteY27" fmla="*/ 118431 h 270520"/>
                <a:gd name="connsiteX28" fmla="*/ 301994 w 319704"/>
                <a:gd name="connsiteY28" fmla="*/ 42050 h 270520"/>
                <a:gd name="connsiteX29" fmla="*/ 309547 w 319704"/>
                <a:gd name="connsiteY29" fmla="*/ 30550 h 270520"/>
                <a:gd name="connsiteX30" fmla="*/ 319222 w 319704"/>
                <a:gd name="connsiteY30" fmla="*/ 9036 h 270520"/>
                <a:gd name="connsiteX31" fmla="*/ 318501 w 319704"/>
                <a:gd name="connsiteY31" fmla="*/ 1186 h 270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19704" h="270520">
                  <a:moveTo>
                    <a:pt x="318501" y="1186"/>
                  </a:moveTo>
                  <a:cubicBezTo>
                    <a:pt x="317737" y="-172"/>
                    <a:pt x="315488" y="-384"/>
                    <a:pt x="312348" y="422"/>
                  </a:cubicBezTo>
                  <a:cubicBezTo>
                    <a:pt x="310946" y="926"/>
                    <a:pt x="309629" y="1641"/>
                    <a:pt x="308444" y="2544"/>
                  </a:cubicBezTo>
                  <a:cubicBezTo>
                    <a:pt x="303334" y="5967"/>
                    <a:pt x="298734" y="10095"/>
                    <a:pt x="294780" y="14807"/>
                  </a:cubicBezTo>
                  <a:cubicBezTo>
                    <a:pt x="276024" y="37000"/>
                    <a:pt x="257565" y="59448"/>
                    <a:pt x="239107" y="81853"/>
                  </a:cubicBezTo>
                  <a:cubicBezTo>
                    <a:pt x="233845" y="88218"/>
                    <a:pt x="232190" y="88770"/>
                    <a:pt x="224424" y="86096"/>
                  </a:cubicBezTo>
                  <a:cubicBezTo>
                    <a:pt x="219332" y="84229"/>
                    <a:pt x="87787" y="40480"/>
                    <a:pt x="74505" y="36024"/>
                  </a:cubicBezTo>
                  <a:cubicBezTo>
                    <a:pt x="63812" y="32417"/>
                    <a:pt x="53288" y="28428"/>
                    <a:pt x="42552" y="24864"/>
                  </a:cubicBezTo>
                  <a:cubicBezTo>
                    <a:pt x="40020" y="23854"/>
                    <a:pt x="37248" y="23604"/>
                    <a:pt x="34575" y="24143"/>
                  </a:cubicBezTo>
                  <a:cubicBezTo>
                    <a:pt x="25579" y="26943"/>
                    <a:pt x="17601" y="29998"/>
                    <a:pt x="8436" y="33648"/>
                  </a:cubicBezTo>
                  <a:cubicBezTo>
                    <a:pt x="6017" y="34624"/>
                    <a:pt x="3004" y="35982"/>
                    <a:pt x="-51" y="37255"/>
                  </a:cubicBezTo>
                  <a:cubicBezTo>
                    <a:pt x="2283" y="38825"/>
                    <a:pt x="2707" y="39164"/>
                    <a:pt x="3938" y="39886"/>
                  </a:cubicBezTo>
                  <a:lnTo>
                    <a:pt x="32326" y="57156"/>
                  </a:lnTo>
                  <a:lnTo>
                    <a:pt x="110447" y="104555"/>
                  </a:lnTo>
                  <a:lnTo>
                    <a:pt x="150123" y="128445"/>
                  </a:lnTo>
                  <a:cubicBezTo>
                    <a:pt x="160137" y="134513"/>
                    <a:pt x="170194" y="140539"/>
                    <a:pt x="180166" y="146692"/>
                  </a:cubicBezTo>
                  <a:cubicBezTo>
                    <a:pt x="183688" y="148856"/>
                    <a:pt x="184155" y="150087"/>
                    <a:pt x="182288" y="153057"/>
                  </a:cubicBezTo>
                  <a:lnTo>
                    <a:pt x="181566" y="154160"/>
                  </a:lnTo>
                  <a:cubicBezTo>
                    <a:pt x="174862" y="163581"/>
                    <a:pt x="161537" y="182506"/>
                    <a:pt x="161537" y="182506"/>
                  </a:cubicBezTo>
                  <a:lnTo>
                    <a:pt x="127972" y="226001"/>
                  </a:lnTo>
                  <a:cubicBezTo>
                    <a:pt x="109895" y="222097"/>
                    <a:pt x="91861" y="218108"/>
                    <a:pt x="73784" y="214289"/>
                  </a:cubicBezTo>
                  <a:cubicBezTo>
                    <a:pt x="71701" y="213780"/>
                    <a:pt x="69507" y="213974"/>
                    <a:pt x="67546" y="214841"/>
                  </a:cubicBezTo>
                  <a:cubicBezTo>
                    <a:pt x="61308" y="218363"/>
                    <a:pt x="55325" y="222309"/>
                    <a:pt x="48536" y="226510"/>
                  </a:cubicBezTo>
                  <a:cubicBezTo>
                    <a:pt x="49936" y="227656"/>
                    <a:pt x="80658" y="241617"/>
                    <a:pt x="106925" y="253498"/>
                  </a:cubicBezTo>
                  <a:cubicBezTo>
                    <a:pt x="126826" y="262494"/>
                    <a:pt x="144182" y="270472"/>
                    <a:pt x="144182" y="270472"/>
                  </a:cubicBezTo>
                  <a:cubicBezTo>
                    <a:pt x="144182" y="270472"/>
                    <a:pt x="162259" y="246454"/>
                    <a:pt x="162853" y="245605"/>
                  </a:cubicBezTo>
                  <a:cubicBezTo>
                    <a:pt x="176177" y="226256"/>
                    <a:pt x="189374" y="206778"/>
                    <a:pt x="202571" y="187344"/>
                  </a:cubicBezTo>
                  <a:cubicBezTo>
                    <a:pt x="218187" y="164387"/>
                    <a:pt x="233675" y="141345"/>
                    <a:pt x="249248" y="118431"/>
                  </a:cubicBezTo>
                  <a:cubicBezTo>
                    <a:pt x="266731" y="92970"/>
                    <a:pt x="284511" y="67510"/>
                    <a:pt x="301994" y="42050"/>
                  </a:cubicBezTo>
                  <a:cubicBezTo>
                    <a:pt x="304582" y="38273"/>
                    <a:pt x="307128" y="34454"/>
                    <a:pt x="309547" y="30550"/>
                  </a:cubicBezTo>
                  <a:cubicBezTo>
                    <a:pt x="313726" y="23847"/>
                    <a:pt x="316980" y="16610"/>
                    <a:pt x="319222" y="9036"/>
                  </a:cubicBezTo>
                  <a:cubicBezTo>
                    <a:pt x="319986" y="6422"/>
                    <a:pt x="319728" y="3616"/>
                    <a:pt x="318501" y="1186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8" name="Freihandform: Form 497">
              <a:extLst>
                <a:ext uri="{FF2B5EF4-FFF2-40B4-BE49-F238E27FC236}">
                  <a16:creationId xmlns:a16="http://schemas.microsoft.com/office/drawing/2014/main" id="{5FD9212A-06C5-4B09-90B5-4DF4D37FF8A0}"/>
                </a:ext>
              </a:extLst>
            </p:cNvPr>
            <p:cNvSpPr/>
            <p:nvPr/>
          </p:nvSpPr>
          <p:spPr>
            <a:xfrm>
              <a:off x="11005238" y="2923191"/>
              <a:ext cx="197954" cy="242085"/>
            </a:xfrm>
            <a:custGeom>
              <a:avLst/>
              <a:gdLst>
                <a:gd name="connsiteX0" fmla="*/ 193999 w 197954"/>
                <a:gd name="connsiteY0" fmla="*/ 18452 h 242085"/>
                <a:gd name="connsiteX1" fmla="*/ 197903 w 197954"/>
                <a:gd name="connsiteY1" fmla="*/ 12681 h 242085"/>
                <a:gd name="connsiteX2" fmla="*/ 169685 w 197954"/>
                <a:gd name="connsiteY2" fmla="*/ -49 h 242085"/>
                <a:gd name="connsiteX3" fmla="*/ -51 w 197954"/>
                <a:gd name="connsiteY3" fmla="*/ 218825 h 242085"/>
                <a:gd name="connsiteX4" fmla="*/ 42383 w 197954"/>
                <a:gd name="connsiteY4" fmla="*/ 242037 h 242085"/>
                <a:gd name="connsiteX5" fmla="*/ 192854 w 197954"/>
                <a:gd name="connsiteY5" fmla="*/ 19937 h 242085"/>
                <a:gd name="connsiteX6" fmla="*/ 193999 w 197954"/>
                <a:gd name="connsiteY6" fmla="*/ 18452 h 242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7954" h="242085">
                  <a:moveTo>
                    <a:pt x="193999" y="18452"/>
                  </a:moveTo>
                  <a:lnTo>
                    <a:pt x="197903" y="12681"/>
                  </a:lnTo>
                  <a:lnTo>
                    <a:pt x="169685" y="-49"/>
                  </a:lnTo>
                  <a:lnTo>
                    <a:pt x="-51" y="218825"/>
                  </a:lnTo>
                  <a:cubicBezTo>
                    <a:pt x="13497" y="227607"/>
                    <a:pt x="27681" y="235366"/>
                    <a:pt x="42383" y="242037"/>
                  </a:cubicBezTo>
                  <a:cubicBezTo>
                    <a:pt x="116939" y="131708"/>
                    <a:pt x="186191" y="29655"/>
                    <a:pt x="192854" y="19937"/>
                  </a:cubicBezTo>
                  <a:cubicBezTo>
                    <a:pt x="193210" y="19423"/>
                    <a:pt x="193593" y="18928"/>
                    <a:pt x="193999" y="18452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9" name="Freihandform: Form 498">
              <a:extLst>
                <a:ext uri="{FF2B5EF4-FFF2-40B4-BE49-F238E27FC236}">
                  <a16:creationId xmlns:a16="http://schemas.microsoft.com/office/drawing/2014/main" id="{4711D52F-135B-42AB-90CF-DC6A3C925B09}"/>
                </a:ext>
              </a:extLst>
            </p:cNvPr>
            <p:cNvSpPr/>
            <p:nvPr/>
          </p:nvSpPr>
          <p:spPr>
            <a:xfrm>
              <a:off x="10933185" y="2771873"/>
              <a:ext cx="160151" cy="189848"/>
            </a:xfrm>
            <a:custGeom>
              <a:avLst/>
              <a:gdLst>
                <a:gd name="connsiteX0" fmla="*/ 154154 w 160151"/>
                <a:gd name="connsiteY0" fmla="*/ 289 h 189848"/>
                <a:gd name="connsiteX1" fmla="*/ 131070 w 160151"/>
                <a:gd name="connsiteY1" fmla="*/ 7461 h 189848"/>
                <a:gd name="connsiteX2" fmla="*/ 86429 w 160151"/>
                <a:gd name="connsiteY2" fmla="*/ 34873 h 189848"/>
                <a:gd name="connsiteX3" fmla="*/ 82186 w 160151"/>
                <a:gd name="connsiteY3" fmla="*/ 39116 h 189848"/>
                <a:gd name="connsiteX4" fmla="*/ 19850 w 160151"/>
                <a:gd name="connsiteY4" fmla="*/ 142189 h 189848"/>
                <a:gd name="connsiteX5" fmla="*/ -51 w 160151"/>
                <a:gd name="connsiteY5" fmla="*/ 174438 h 189848"/>
                <a:gd name="connsiteX6" fmla="*/ 19256 w 160151"/>
                <a:gd name="connsiteY6" fmla="*/ 189799 h 189848"/>
                <a:gd name="connsiteX7" fmla="*/ 44123 w 160151"/>
                <a:gd name="connsiteY7" fmla="*/ 165357 h 189848"/>
                <a:gd name="connsiteX8" fmla="*/ 136968 w 160151"/>
                <a:gd name="connsiteY8" fmla="*/ 81805 h 189848"/>
                <a:gd name="connsiteX9" fmla="*/ 160095 w 160151"/>
                <a:gd name="connsiteY9" fmla="*/ 5424 h 189848"/>
                <a:gd name="connsiteX10" fmla="*/ 154154 w 160151"/>
                <a:gd name="connsiteY10" fmla="*/ 289 h 189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0151" h="189848">
                  <a:moveTo>
                    <a:pt x="154154" y="289"/>
                  </a:moveTo>
                  <a:cubicBezTo>
                    <a:pt x="146310" y="2172"/>
                    <a:pt x="138599" y="4568"/>
                    <a:pt x="131070" y="7461"/>
                  </a:cubicBezTo>
                  <a:cubicBezTo>
                    <a:pt x="114545" y="13600"/>
                    <a:pt x="99380" y="22912"/>
                    <a:pt x="86429" y="34873"/>
                  </a:cubicBezTo>
                  <a:lnTo>
                    <a:pt x="82186" y="39116"/>
                  </a:lnTo>
                  <a:lnTo>
                    <a:pt x="19850" y="142189"/>
                  </a:lnTo>
                  <a:lnTo>
                    <a:pt x="-51" y="174438"/>
                  </a:lnTo>
                  <a:cubicBezTo>
                    <a:pt x="2703" y="182980"/>
                    <a:pt x="10314" y="189036"/>
                    <a:pt x="19256" y="189799"/>
                  </a:cubicBezTo>
                  <a:lnTo>
                    <a:pt x="44123" y="165357"/>
                  </a:lnTo>
                  <a:lnTo>
                    <a:pt x="136968" y="81805"/>
                  </a:lnTo>
                  <a:cubicBezTo>
                    <a:pt x="150709" y="58576"/>
                    <a:pt x="158643" y="32374"/>
                    <a:pt x="160095" y="5424"/>
                  </a:cubicBezTo>
                  <a:cubicBezTo>
                    <a:pt x="160179" y="1096"/>
                    <a:pt x="159288" y="-899"/>
                    <a:pt x="154154" y="289"/>
                  </a:cubicBezTo>
                  <a:close/>
                </a:path>
              </a:pathLst>
            </a:custGeom>
            <a:grpFill/>
            <a:ln w="41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EB20CDE-7044-433A-B497-67497ED514E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5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15138043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1F7A04A-71D1-45B6-B350-5FA7CAE858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6494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E1F7A04A-71D1-45B6-B350-5FA7CAE858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B520085-9194-4F0F-ABC7-184C219C556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</p:spPr>
        <p:txBody>
          <a:bodyPr vert="horz"/>
          <a:lstStyle/>
          <a:p>
            <a:r>
              <a:rPr lang="de-DE"/>
              <a:t>Headline, Frutiger LT Com Bd, 24 pt, Icons Strategische Forschungsfelder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79C61794-80A1-4477-9DED-6B13D4C97DB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2000" dirty="0" err="1">
                <a:latin typeface="+mn-lt"/>
              </a:rPr>
              <a:t>Subline</a:t>
            </a:r>
            <a:r>
              <a:rPr lang="de-DE" sz="2000" dirty="0">
                <a:latin typeface="+mn-lt"/>
              </a:rPr>
              <a:t>, Frutiger LT </a:t>
            </a:r>
            <a:r>
              <a:rPr lang="de-DE" sz="2000" err="1">
                <a:latin typeface="+mn-lt"/>
              </a:rPr>
              <a:t>Com</a:t>
            </a:r>
            <a:r>
              <a:rPr lang="de-DE" sz="2000">
                <a:latin typeface="+mn-lt"/>
              </a:rPr>
              <a:t> Lt</a:t>
            </a:r>
            <a:r>
              <a:rPr lang="de-DE" sz="2000" dirty="0">
                <a:latin typeface="+mn-lt"/>
              </a:rPr>
              <a:t>, 20 </a:t>
            </a:r>
            <a:r>
              <a:rPr lang="de-DE" sz="2000" dirty="0" err="1">
                <a:latin typeface="+mn-lt"/>
              </a:rPr>
              <a:t>pt</a:t>
            </a:r>
            <a:endParaRPr lang="en-US" dirty="0"/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21C96E7E-85F5-4A56-B764-7093E06B90C2}"/>
              </a:ext>
            </a:extLst>
          </p:cNvPr>
          <p:cNvSpPr>
            <a:spLocks/>
          </p:cNvSpPr>
          <p:nvPr/>
        </p:nvSpPr>
        <p:spPr bwMode="gray">
          <a:xfrm>
            <a:off x="485775" y="2204864"/>
            <a:ext cx="1071348" cy="3781129"/>
          </a:xfrm>
          <a:prstGeom prst="rect">
            <a:avLst/>
          </a:prstGeom>
          <a:solidFill>
            <a:srgbClr val="E5EEF2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/>
          <a:lstStyle/>
          <a:p>
            <a:endParaRPr lang="de-DE" dirty="0"/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30B23CD2-6668-4E7C-AC96-74D89CE8871D}"/>
              </a:ext>
            </a:extLst>
          </p:cNvPr>
          <p:cNvSpPr/>
          <p:nvPr/>
        </p:nvSpPr>
        <p:spPr bwMode="gray">
          <a:xfrm>
            <a:off x="1754881" y="2204864"/>
            <a:ext cx="1071348" cy="3781129"/>
          </a:xfrm>
          <a:prstGeom prst="rect">
            <a:avLst/>
          </a:prstGeom>
          <a:solidFill>
            <a:srgbClr val="E5EEF2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/>
          <a:lstStyle/>
          <a:p>
            <a:endParaRPr lang="de-DE" dirty="0"/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03072C6B-FDD9-4FB6-9CBB-2224AE8B8ABE}"/>
              </a:ext>
            </a:extLst>
          </p:cNvPr>
          <p:cNvSpPr/>
          <p:nvPr/>
        </p:nvSpPr>
        <p:spPr bwMode="gray">
          <a:xfrm>
            <a:off x="3023987" y="2204864"/>
            <a:ext cx="1071348" cy="3781129"/>
          </a:xfrm>
          <a:prstGeom prst="rect">
            <a:avLst/>
          </a:prstGeom>
          <a:solidFill>
            <a:srgbClr val="E5EEF2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/>
          <a:lstStyle/>
          <a:p>
            <a:endParaRPr lang="de-DE" dirty="0"/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3659958D-A2D0-43D5-AB04-D16AB452470A}"/>
              </a:ext>
            </a:extLst>
          </p:cNvPr>
          <p:cNvSpPr/>
          <p:nvPr/>
        </p:nvSpPr>
        <p:spPr bwMode="gray">
          <a:xfrm>
            <a:off x="4293093" y="2204864"/>
            <a:ext cx="1071348" cy="3781129"/>
          </a:xfrm>
          <a:prstGeom prst="rect">
            <a:avLst/>
          </a:prstGeom>
          <a:solidFill>
            <a:srgbClr val="E5EEF2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/>
          <a:lstStyle/>
          <a:p>
            <a:endParaRPr lang="de-DE" dirty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558E781E-01FC-4EA5-AA17-C291DF6B79F9}"/>
              </a:ext>
            </a:extLst>
          </p:cNvPr>
          <p:cNvSpPr/>
          <p:nvPr/>
        </p:nvSpPr>
        <p:spPr bwMode="gray">
          <a:xfrm>
            <a:off x="5562199" y="2204864"/>
            <a:ext cx="1071348" cy="3781129"/>
          </a:xfrm>
          <a:prstGeom prst="rect">
            <a:avLst/>
          </a:prstGeom>
          <a:solidFill>
            <a:srgbClr val="E5EEF2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/>
          <a:lstStyle/>
          <a:p>
            <a:endParaRPr lang="de-DE" dirty="0"/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5B58C8F2-DCE0-432E-8C88-08D2FCBAFBDF}"/>
              </a:ext>
            </a:extLst>
          </p:cNvPr>
          <p:cNvSpPr/>
          <p:nvPr/>
        </p:nvSpPr>
        <p:spPr bwMode="gray">
          <a:xfrm>
            <a:off x="6831305" y="2204864"/>
            <a:ext cx="1071348" cy="3781129"/>
          </a:xfrm>
          <a:prstGeom prst="rect">
            <a:avLst/>
          </a:prstGeom>
          <a:solidFill>
            <a:srgbClr val="E5EEF2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/>
          <a:lstStyle/>
          <a:p>
            <a:endParaRPr lang="de-DE" dirty="0"/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98046C00-225F-4553-8E65-4BFF6592D7CF}"/>
              </a:ext>
            </a:extLst>
          </p:cNvPr>
          <p:cNvSpPr/>
          <p:nvPr/>
        </p:nvSpPr>
        <p:spPr bwMode="gray">
          <a:xfrm>
            <a:off x="8100411" y="2204864"/>
            <a:ext cx="1071348" cy="3781129"/>
          </a:xfrm>
          <a:prstGeom prst="rect">
            <a:avLst/>
          </a:prstGeom>
          <a:solidFill>
            <a:srgbClr val="E5EEF2"/>
          </a:solidFill>
          <a:ln w="19050">
            <a:noFill/>
            <a:miter lim="800000"/>
            <a:headEnd/>
            <a:tailEnd/>
          </a:ln>
          <a:effectLst/>
        </p:spPr>
        <p:txBody>
          <a:bodyPr wrap="none" rtlCol="0" anchor="ctr"/>
          <a:lstStyle/>
          <a:p>
            <a:endParaRPr lang="de-DE" dirty="0"/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B6FB7970-9490-48BD-80A2-589432CDA9D3}"/>
              </a:ext>
            </a:extLst>
          </p:cNvPr>
          <p:cNvSpPr txBox="1"/>
          <p:nvPr/>
        </p:nvSpPr>
        <p:spPr bwMode="gray">
          <a:xfrm>
            <a:off x="1746943" y="1707583"/>
            <a:ext cx="107928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100" dirty="0"/>
              <a:t>Next Generation</a:t>
            </a:r>
            <a:br>
              <a:rPr lang="de-DE" sz="1100" dirty="0"/>
            </a:br>
            <a:r>
              <a:rPr lang="de-DE" sz="1100" dirty="0"/>
              <a:t>Computing</a:t>
            </a:r>
          </a:p>
        </p:txBody>
      </p:sp>
      <p:sp>
        <p:nvSpPr>
          <p:cNvPr id="64" name="Textfeld 63">
            <a:extLst>
              <a:ext uri="{FF2B5EF4-FFF2-40B4-BE49-F238E27FC236}">
                <a16:creationId xmlns:a16="http://schemas.microsoft.com/office/drawing/2014/main" id="{15EAA9C8-8564-4379-A5DC-5A79B43D972F}"/>
              </a:ext>
            </a:extLst>
          </p:cNvPr>
          <p:cNvSpPr txBox="1"/>
          <p:nvPr/>
        </p:nvSpPr>
        <p:spPr bwMode="gray">
          <a:xfrm>
            <a:off x="3016049" y="1707583"/>
            <a:ext cx="107928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100"/>
              <a:t>Intelligente </a:t>
            </a:r>
            <a:br>
              <a:rPr lang="de-DE" sz="1100"/>
            </a:br>
            <a:r>
              <a:rPr lang="de-DE" sz="1100"/>
              <a:t>Medizin</a:t>
            </a:r>
            <a:endParaRPr lang="de-DE" sz="1100" dirty="0"/>
          </a:p>
        </p:txBody>
      </p:sp>
      <p:sp>
        <p:nvSpPr>
          <p:cNvPr id="65" name="Textfeld 64">
            <a:extLst>
              <a:ext uri="{FF2B5EF4-FFF2-40B4-BE49-F238E27FC236}">
                <a16:creationId xmlns:a16="http://schemas.microsoft.com/office/drawing/2014/main" id="{6CFA083A-D10B-4D70-BED3-79861C8C86FF}"/>
              </a:ext>
            </a:extLst>
          </p:cNvPr>
          <p:cNvSpPr txBox="1"/>
          <p:nvPr/>
        </p:nvSpPr>
        <p:spPr bwMode="gray">
          <a:xfrm>
            <a:off x="4285155" y="1707583"/>
            <a:ext cx="107928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100"/>
              <a:t>Künstliche </a:t>
            </a:r>
            <a:br>
              <a:rPr lang="de-DE" sz="1100"/>
            </a:br>
            <a:r>
              <a:rPr lang="de-DE" sz="1100"/>
              <a:t>Intelligenz (KI)</a:t>
            </a:r>
            <a:endParaRPr lang="de-DE" sz="1100" dirty="0"/>
          </a:p>
        </p:txBody>
      </p:sp>
      <p:sp>
        <p:nvSpPr>
          <p:cNvPr id="66" name="Textfeld 65">
            <a:extLst>
              <a:ext uri="{FF2B5EF4-FFF2-40B4-BE49-F238E27FC236}">
                <a16:creationId xmlns:a16="http://schemas.microsoft.com/office/drawing/2014/main" id="{8423B4BA-AEA8-46B0-8BA2-3DCD86D5F955}"/>
              </a:ext>
            </a:extLst>
          </p:cNvPr>
          <p:cNvSpPr txBox="1"/>
          <p:nvPr/>
        </p:nvSpPr>
        <p:spPr bwMode="gray">
          <a:xfrm>
            <a:off x="5554261" y="1707582"/>
            <a:ext cx="107928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100"/>
              <a:t>Quanten-</a:t>
            </a:r>
            <a:br>
              <a:rPr lang="de-DE" sz="1100"/>
            </a:br>
            <a:r>
              <a:rPr lang="de-DE" sz="1100"/>
              <a:t>technologie</a:t>
            </a:r>
            <a:endParaRPr lang="de-DE" sz="1100" dirty="0"/>
          </a:p>
        </p:txBody>
      </p:sp>
      <p:sp>
        <p:nvSpPr>
          <p:cNvPr id="67" name="Textfeld 66">
            <a:extLst>
              <a:ext uri="{FF2B5EF4-FFF2-40B4-BE49-F238E27FC236}">
                <a16:creationId xmlns:a16="http://schemas.microsoft.com/office/drawing/2014/main" id="{2660DDE1-2424-4119-87C3-AB72D51D5BC7}"/>
              </a:ext>
            </a:extLst>
          </p:cNvPr>
          <p:cNvSpPr txBox="1"/>
          <p:nvPr/>
        </p:nvSpPr>
        <p:spPr bwMode="gray">
          <a:xfrm>
            <a:off x="6644745" y="1707582"/>
            <a:ext cx="1436531" cy="33855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DE" sz="1100"/>
              <a:t> Ressourceneffizienz &amp; </a:t>
            </a:r>
            <a:br>
              <a:rPr lang="de-DE" sz="1100"/>
            </a:br>
            <a:r>
              <a:rPr lang="de-DE" sz="1100"/>
              <a:t>Klimatechnologien</a:t>
            </a:r>
            <a:endParaRPr lang="de-DE" sz="1100" dirty="0"/>
          </a:p>
        </p:txBody>
      </p:sp>
      <p:sp>
        <p:nvSpPr>
          <p:cNvPr id="68" name="Textfeld 67">
            <a:extLst>
              <a:ext uri="{FF2B5EF4-FFF2-40B4-BE49-F238E27FC236}">
                <a16:creationId xmlns:a16="http://schemas.microsoft.com/office/drawing/2014/main" id="{ADA3F9DB-A3FE-493B-AEAA-82A50CA95F3E}"/>
              </a:ext>
            </a:extLst>
          </p:cNvPr>
          <p:cNvSpPr txBox="1"/>
          <p:nvPr/>
        </p:nvSpPr>
        <p:spPr bwMode="gray">
          <a:xfrm>
            <a:off x="8092473" y="1707582"/>
            <a:ext cx="107928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100"/>
              <a:t>Wasserstoff-</a:t>
            </a:r>
            <a:br>
              <a:rPr lang="de-DE" sz="1100"/>
            </a:br>
            <a:r>
              <a:rPr lang="de-DE" sz="1100"/>
              <a:t>technologien</a:t>
            </a:r>
            <a:endParaRPr lang="de-DE" sz="1100" dirty="0"/>
          </a:p>
        </p:txBody>
      </p:sp>
      <p:sp>
        <p:nvSpPr>
          <p:cNvPr id="70" name="Textfeld 69">
            <a:extLst>
              <a:ext uri="{FF2B5EF4-FFF2-40B4-BE49-F238E27FC236}">
                <a16:creationId xmlns:a16="http://schemas.microsoft.com/office/drawing/2014/main" id="{F227E038-C579-47E0-89C1-96946298682E}"/>
              </a:ext>
            </a:extLst>
          </p:cNvPr>
          <p:cNvSpPr txBox="1">
            <a:spLocks/>
          </p:cNvSpPr>
          <p:nvPr/>
        </p:nvSpPr>
        <p:spPr bwMode="gray">
          <a:xfrm>
            <a:off x="477837" y="1707583"/>
            <a:ext cx="107928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100"/>
              <a:t>Bioökonomie</a:t>
            </a:r>
            <a:endParaRPr lang="de-DE" sz="110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3545551-4DA2-4663-A610-5F939E2825C3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fld id="{44EDA445-5D4B-4467-9E86-1A37AAD4DBCD}" type="datetime1">
              <a:rPr lang="de-DE" noProof="0" smtClean="0"/>
              <a:t>27.08.2024</a:t>
            </a:fld>
            <a:endParaRPr lang="de-DE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F573D395-94C7-4CAF-B1C7-0926FB2FB70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WU</a:t>
            </a:r>
            <a:endParaRPr lang="de-DE" noProof="0" dirty="0"/>
          </a:p>
        </p:txBody>
      </p: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DE468ABA-0FAD-4EE2-AF4E-74806D72D09A}"/>
              </a:ext>
            </a:extLst>
          </p:cNvPr>
          <p:cNvGrpSpPr/>
          <p:nvPr/>
        </p:nvGrpSpPr>
        <p:grpSpPr>
          <a:xfrm>
            <a:off x="627446" y="2514149"/>
            <a:ext cx="772421" cy="726420"/>
            <a:chOff x="627446" y="2514149"/>
            <a:chExt cx="772421" cy="726420"/>
          </a:xfrm>
        </p:grpSpPr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D2C0B4E5-788B-43C5-AC60-EB8A233AAE04}"/>
                </a:ext>
              </a:extLst>
            </p:cNvPr>
            <p:cNvSpPr/>
            <p:nvPr/>
          </p:nvSpPr>
          <p:spPr>
            <a:xfrm>
              <a:off x="828449" y="2881272"/>
              <a:ext cx="193621" cy="134288"/>
            </a:xfrm>
            <a:custGeom>
              <a:avLst/>
              <a:gdLst>
                <a:gd name="connsiteX0" fmla="*/ 193490 w 193621"/>
                <a:gd name="connsiteY0" fmla="*/ 107423 h 134288"/>
                <a:gd name="connsiteX1" fmla="*/ 193490 w 193621"/>
                <a:gd name="connsiteY1" fmla="*/ 106728 h 134288"/>
                <a:gd name="connsiteX2" fmla="*/ 193490 w 193621"/>
                <a:gd name="connsiteY2" fmla="*/ 104233 h 134288"/>
                <a:gd name="connsiteX3" fmla="*/ 193490 w 193621"/>
                <a:gd name="connsiteY3" fmla="*/ 102965 h 134288"/>
                <a:gd name="connsiteX4" fmla="*/ 193163 w 193621"/>
                <a:gd name="connsiteY4" fmla="*/ 99285 h 134288"/>
                <a:gd name="connsiteX5" fmla="*/ 193163 w 193621"/>
                <a:gd name="connsiteY5" fmla="*/ 98426 h 134288"/>
                <a:gd name="connsiteX6" fmla="*/ 192714 w 193621"/>
                <a:gd name="connsiteY6" fmla="*/ 94827 h 134288"/>
                <a:gd name="connsiteX7" fmla="*/ 192714 w 193621"/>
                <a:gd name="connsiteY7" fmla="*/ 93682 h 134288"/>
                <a:gd name="connsiteX8" fmla="*/ 192020 w 193621"/>
                <a:gd name="connsiteY8" fmla="*/ 89061 h 134288"/>
                <a:gd name="connsiteX9" fmla="*/ 192020 w 193621"/>
                <a:gd name="connsiteY9" fmla="*/ 88039 h 134288"/>
                <a:gd name="connsiteX10" fmla="*/ 191163 w 193621"/>
                <a:gd name="connsiteY10" fmla="*/ 83622 h 134288"/>
                <a:gd name="connsiteX11" fmla="*/ 191163 w 193621"/>
                <a:gd name="connsiteY11" fmla="*/ 82722 h 134288"/>
                <a:gd name="connsiteX12" fmla="*/ 189897 w 193621"/>
                <a:gd name="connsiteY12" fmla="*/ 77488 h 134288"/>
                <a:gd name="connsiteX13" fmla="*/ 189570 w 193621"/>
                <a:gd name="connsiteY13" fmla="*/ 76302 h 134288"/>
                <a:gd name="connsiteX14" fmla="*/ 188019 w 193621"/>
                <a:gd name="connsiteY14" fmla="*/ 71067 h 134288"/>
                <a:gd name="connsiteX15" fmla="*/ 188019 w 193621"/>
                <a:gd name="connsiteY15" fmla="*/ 70658 h 134288"/>
                <a:gd name="connsiteX16" fmla="*/ 186059 w 193621"/>
                <a:gd name="connsiteY16" fmla="*/ 65056 h 134288"/>
                <a:gd name="connsiteX17" fmla="*/ 185569 w 193621"/>
                <a:gd name="connsiteY17" fmla="*/ 63788 h 134288"/>
                <a:gd name="connsiteX18" fmla="*/ 183201 w 193621"/>
                <a:gd name="connsiteY18" fmla="*/ 58063 h 134288"/>
                <a:gd name="connsiteX19" fmla="*/ 183201 w 193621"/>
                <a:gd name="connsiteY19" fmla="*/ 57695 h 134288"/>
                <a:gd name="connsiteX20" fmla="*/ 180547 w 193621"/>
                <a:gd name="connsiteY20" fmla="*/ 52337 h 134288"/>
                <a:gd name="connsiteX21" fmla="*/ 179894 w 193621"/>
                <a:gd name="connsiteY21" fmla="*/ 51111 h 134288"/>
                <a:gd name="connsiteX22" fmla="*/ 176627 w 193621"/>
                <a:gd name="connsiteY22" fmla="*/ 45590 h 134288"/>
                <a:gd name="connsiteX23" fmla="*/ 176097 w 193621"/>
                <a:gd name="connsiteY23" fmla="*/ 44731 h 134288"/>
                <a:gd name="connsiteX24" fmla="*/ 172667 w 193621"/>
                <a:gd name="connsiteY24" fmla="*/ 39865 h 134288"/>
                <a:gd name="connsiteX25" fmla="*/ 171932 w 193621"/>
                <a:gd name="connsiteY25" fmla="*/ 38842 h 134288"/>
                <a:gd name="connsiteX26" fmla="*/ 167849 w 193621"/>
                <a:gd name="connsiteY26" fmla="*/ 33689 h 134288"/>
                <a:gd name="connsiteX27" fmla="*/ 166910 w 193621"/>
                <a:gd name="connsiteY27" fmla="*/ 32667 h 134288"/>
                <a:gd name="connsiteX28" fmla="*/ 162419 w 193621"/>
                <a:gd name="connsiteY28" fmla="*/ 28128 h 134288"/>
                <a:gd name="connsiteX29" fmla="*/ 161806 w 193621"/>
                <a:gd name="connsiteY29" fmla="*/ 27514 h 134288"/>
                <a:gd name="connsiteX30" fmla="*/ 156335 w 193621"/>
                <a:gd name="connsiteY30" fmla="*/ 22934 h 134288"/>
                <a:gd name="connsiteX31" fmla="*/ 154988 w 193621"/>
                <a:gd name="connsiteY31" fmla="*/ 21953 h 134288"/>
                <a:gd name="connsiteX32" fmla="*/ 148741 w 193621"/>
                <a:gd name="connsiteY32" fmla="*/ 17659 h 134288"/>
                <a:gd name="connsiteX33" fmla="*/ 144290 w 193621"/>
                <a:gd name="connsiteY33" fmla="*/ 15123 h 134288"/>
                <a:gd name="connsiteX34" fmla="*/ 142780 w 193621"/>
                <a:gd name="connsiteY34" fmla="*/ 14346 h 134288"/>
                <a:gd name="connsiteX35" fmla="*/ 139595 w 193621"/>
                <a:gd name="connsiteY35" fmla="*/ 12833 h 134288"/>
                <a:gd name="connsiteX36" fmla="*/ 137799 w 193621"/>
                <a:gd name="connsiteY36" fmla="*/ 12015 h 134288"/>
                <a:gd name="connsiteX37" fmla="*/ 134614 w 193621"/>
                <a:gd name="connsiteY37" fmla="*/ 10666 h 134288"/>
                <a:gd name="connsiteX38" fmla="*/ 132777 w 193621"/>
                <a:gd name="connsiteY38" fmla="*/ 9970 h 134288"/>
                <a:gd name="connsiteX39" fmla="*/ 129143 w 193621"/>
                <a:gd name="connsiteY39" fmla="*/ 8662 h 134288"/>
                <a:gd name="connsiteX40" fmla="*/ 127714 w 193621"/>
                <a:gd name="connsiteY40" fmla="*/ 8130 h 134288"/>
                <a:gd name="connsiteX41" fmla="*/ 122569 w 193621"/>
                <a:gd name="connsiteY41" fmla="*/ 6576 h 134288"/>
                <a:gd name="connsiteX42" fmla="*/ 121018 w 193621"/>
                <a:gd name="connsiteY42" fmla="*/ 6167 h 134288"/>
                <a:gd name="connsiteX43" fmla="*/ 115914 w 193621"/>
                <a:gd name="connsiteY43" fmla="*/ 5186 h 134288"/>
                <a:gd name="connsiteX44" fmla="*/ 113791 w 193621"/>
                <a:gd name="connsiteY44" fmla="*/ 4695 h 134288"/>
                <a:gd name="connsiteX45" fmla="*/ 110402 w 193621"/>
                <a:gd name="connsiteY45" fmla="*/ 3959 h 134288"/>
                <a:gd name="connsiteX46" fmla="*/ 108197 w 193621"/>
                <a:gd name="connsiteY46" fmla="*/ 3509 h 134288"/>
                <a:gd name="connsiteX47" fmla="*/ 104686 w 193621"/>
                <a:gd name="connsiteY47" fmla="*/ 2855 h 134288"/>
                <a:gd name="connsiteX48" fmla="*/ 102604 w 193621"/>
                <a:gd name="connsiteY48" fmla="*/ 2487 h 134288"/>
                <a:gd name="connsiteX49" fmla="*/ 98072 w 193621"/>
                <a:gd name="connsiteY49" fmla="*/ 1791 h 134288"/>
                <a:gd name="connsiteX50" fmla="*/ 96683 w 193621"/>
                <a:gd name="connsiteY50" fmla="*/ 1587 h 134288"/>
                <a:gd name="connsiteX51" fmla="*/ 91539 w 193621"/>
                <a:gd name="connsiteY51" fmla="*/ 933 h 134288"/>
                <a:gd name="connsiteX52" fmla="*/ 89375 w 193621"/>
                <a:gd name="connsiteY52" fmla="*/ 728 h 134288"/>
                <a:gd name="connsiteX53" fmla="*/ 85864 w 193621"/>
                <a:gd name="connsiteY53" fmla="*/ 401 h 134288"/>
                <a:gd name="connsiteX54" fmla="*/ 83536 w 193621"/>
                <a:gd name="connsiteY54" fmla="*/ 196 h 134288"/>
                <a:gd name="connsiteX55" fmla="*/ 80148 w 193621"/>
                <a:gd name="connsiteY55" fmla="*/ -49 h 134288"/>
                <a:gd name="connsiteX56" fmla="*/ 77820 w 193621"/>
                <a:gd name="connsiteY56" fmla="*/ -49 h 134288"/>
                <a:gd name="connsiteX57" fmla="*/ 74146 w 193621"/>
                <a:gd name="connsiteY57" fmla="*/ -49 h 134288"/>
                <a:gd name="connsiteX58" fmla="*/ 72267 w 193621"/>
                <a:gd name="connsiteY58" fmla="*/ -49 h 134288"/>
                <a:gd name="connsiteX59" fmla="*/ 66919 w 193621"/>
                <a:gd name="connsiteY59" fmla="*/ -49 h 134288"/>
                <a:gd name="connsiteX60" fmla="*/ 53853 w 193621"/>
                <a:gd name="connsiteY60" fmla="*/ -49 h 134288"/>
                <a:gd name="connsiteX61" fmla="*/ 50669 w 193621"/>
                <a:gd name="connsiteY61" fmla="*/ -49 h 134288"/>
                <a:gd name="connsiteX62" fmla="*/ 48668 w 193621"/>
                <a:gd name="connsiteY62" fmla="*/ -49 h 134288"/>
                <a:gd name="connsiteX63" fmla="*/ 44585 w 193621"/>
                <a:gd name="connsiteY63" fmla="*/ -49 h 134288"/>
                <a:gd name="connsiteX64" fmla="*/ 43524 w 193621"/>
                <a:gd name="connsiteY64" fmla="*/ -49 h 134288"/>
                <a:gd name="connsiteX65" fmla="*/ 38787 w 193621"/>
                <a:gd name="connsiteY65" fmla="*/ 196 h 134288"/>
                <a:gd name="connsiteX66" fmla="*/ 36950 w 193621"/>
                <a:gd name="connsiteY66" fmla="*/ 196 h 134288"/>
                <a:gd name="connsiteX67" fmla="*/ 34092 w 193621"/>
                <a:gd name="connsiteY67" fmla="*/ 196 h 134288"/>
                <a:gd name="connsiteX68" fmla="*/ 32173 w 193621"/>
                <a:gd name="connsiteY68" fmla="*/ 196 h 134288"/>
                <a:gd name="connsiteX69" fmla="*/ 29601 w 193621"/>
                <a:gd name="connsiteY69" fmla="*/ 401 h 134288"/>
                <a:gd name="connsiteX70" fmla="*/ 27763 w 193621"/>
                <a:gd name="connsiteY70" fmla="*/ 401 h 134288"/>
                <a:gd name="connsiteX71" fmla="*/ 25273 w 193621"/>
                <a:gd name="connsiteY71" fmla="*/ 605 h 134288"/>
                <a:gd name="connsiteX72" fmla="*/ 23599 w 193621"/>
                <a:gd name="connsiteY72" fmla="*/ 605 h 134288"/>
                <a:gd name="connsiteX73" fmla="*/ 19965 w 193621"/>
                <a:gd name="connsiteY73" fmla="*/ 973 h 134288"/>
                <a:gd name="connsiteX74" fmla="*/ 18414 w 193621"/>
                <a:gd name="connsiteY74" fmla="*/ 973 h 134288"/>
                <a:gd name="connsiteX75" fmla="*/ 16413 w 193621"/>
                <a:gd name="connsiteY75" fmla="*/ 1178 h 134288"/>
                <a:gd name="connsiteX76" fmla="*/ 14657 w 193621"/>
                <a:gd name="connsiteY76" fmla="*/ 1178 h 134288"/>
                <a:gd name="connsiteX77" fmla="*/ 13228 w 193621"/>
                <a:gd name="connsiteY77" fmla="*/ 1178 h 134288"/>
                <a:gd name="connsiteX78" fmla="*/ 11432 w 193621"/>
                <a:gd name="connsiteY78" fmla="*/ 1423 h 134288"/>
                <a:gd name="connsiteX79" fmla="*/ 10452 w 193621"/>
                <a:gd name="connsiteY79" fmla="*/ 1423 h 134288"/>
                <a:gd name="connsiteX80" fmla="*/ 8614 w 193621"/>
                <a:gd name="connsiteY80" fmla="*/ 1669 h 134288"/>
                <a:gd name="connsiteX81" fmla="*/ 8614 w 193621"/>
                <a:gd name="connsiteY81" fmla="*/ 1669 h 134288"/>
                <a:gd name="connsiteX82" fmla="*/ -41 w 193621"/>
                <a:gd name="connsiteY82" fmla="*/ 2936 h 134288"/>
                <a:gd name="connsiteX83" fmla="*/ 1551 w 193621"/>
                <a:gd name="connsiteY83" fmla="*/ 7026 h 134288"/>
                <a:gd name="connsiteX84" fmla="*/ 1551 w 193621"/>
                <a:gd name="connsiteY84" fmla="*/ 7026 h 134288"/>
                <a:gd name="connsiteX85" fmla="*/ 3347 w 193621"/>
                <a:gd name="connsiteY85" fmla="*/ 11443 h 134288"/>
                <a:gd name="connsiteX86" fmla="*/ 3674 w 193621"/>
                <a:gd name="connsiteY86" fmla="*/ 12220 h 134288"/>
                <a:gd name="connsiteX87" fmla="*/ 4450 w 193621"/>
                <a:gd name="connsiteY87" fmla="*/ 14060 h 134288"/>
                <a:gd name="connsiteX88" fmla="*/ 4981 w 193621"/>
                <a:gd name="connsiteY88" fmla="*/ 15328 h 134288"/>
                <a:gd name="connsiteX89" fmla="*/ 5716 w 193621"/>
                <a:gd name="connsiteY89" fmla="*/ 17045 h 134288"/>
                <a:gd name="connsiteX90" fmla="*/ 6369 w 193621"/>
                <a:gd name="connsiteY90" fmla="*/ 18599 h 134288"/>
                <a:gd name="connsiteX91" fmla="*/ 7104 w 193621"/>
                <a:gd name="connsiteY91" fmla="*/ 20235 h 134288"/>
                <a:gd name="connsiteX92" fmla="*/ 7920 w 193621"/>
                <a:gd name="connsiteY92" fmla="*/ 22034 h 134288"/>
                <a:gd name="connsiteX93" fmla="*/ 8696 w 193621"/>
                <a:gd name="connsiteY93" fmla="*/ 23793 h 134288"/>
                <a:gd name="connsiteX94" fmla="*/ 9554 w 193621"/>
                <a:gd name="connsiteY94" fmla="*/ 25715 h 134288"/>
                <a:gd name="connsiteX95" fmla="*/ 10411 w 193621"/>
                <a:gd name="connsiteY95" fmla="*/ 27514 h 134288"/>
                <a:gd name="connsiteX96" fmla="*/ 12085 w 193621"/>
                <a:gd name="connsiteY96" fmla="*/ 31113 h 134288"/>
                <a:gd name="connsiteX97" fmla="*/ 13187 w 193621"/>
                <a:gd name="connsiteY97" fmla="*/ 33444 h 134288"/>
                <a:gd name="connsiteX98" fmla="*/ 14249 w 193621"/>
                <a:gd name="connsiteY98" fmla="*/ 35530 h 134288"/>
                <a:gd name="connsiteX99" fmla="*/ 15270 w 193621"/>
                <a:gd name="connsiteY99" fmla="*/ 37656 h 134288"/>
                <a:gd name="connsiteX100" fmla="*/ 16372 w 193621"/>
                <a:gd name="connsiteY100" fmla="*/ 39865 h 134288"/>
                <a:gd name="connsiteX101" fmla="*/ 17515 w 193621"/>
                <a:gd name="connsiteY101" fmla="*/ 42073 h 134288"/>
                <a:gd name="connsiteX102" fmla="*/ 18699 w 193621"/>
                <a:gd name="connsiteY102" fmla="*/ 44322 h 134288"/>
                <a:gd name="connsiteX103" fmla="*/ 19883 w 193621"/>
                <a:gd name="connsiteY103" fmla="*/ 46653 h 134288"/>
                <a:gd name="connsiteX104" fmla="*/ 21108 w 193621"/>
                <a:gd name="connsiteY104" fmla="*/ 48902 h 134288"/>
                <a:gd name="connsiteX105" fmla="*/ 22415 w 193621"/>
                <a:gd name="connsiteY105" fmla="*/ 51315 h 134288"/>
                <a:gd name="connsiteX106" fmla="*/ 23681 w 193621"/>
                <a:gd name="connsiteY106" fmla="*/ 53564 h 134288"/>
                <a:gd name="connsiteX107" fmla="*/ 25150 w 193621"/>
                <a:gd name="connsiteY107" fmla="*/ 56141 h 134288"/>
                <a:gd name="connsiteX108" fmla="*/ 26416 w 193621"/>
                <a:gd name="connsiteY108" fmla="*/ 58349 h 134288"/>
                <a:gd name="connsiteX109" fmla="*/ 28172 w 193621"/>
                <a:gd name="connsiteY109" fmla="*/ 61375 h 134288"/>
                <a:gd name="connsiteX110" fmla="*/ 29233 w 193621"/>
                <a:gd name="connsiteY110" fmla="*/ 63134 h 134288"/>
                <a:gd name="connsiteX111" fmla="*/ 32091 w 193621"/>
                <a:gd name="connsiteY111" fmla="*/ 67796 h 134288"/>
                <a:gd name="connsiteX112" fmla="*/ 33316 w 193621"/>
                <a:gd name="connsiteY112" fmla="*/ 69677 h 134288"/>
                <a:gd name="connsiteX113" fmla="*/ 35194 w 193621"/>
                <a:gd name="connsiteY113" fmla="*/ 72580 h 134288"/>
                <a:gd name="connsiteX114" fmla="*/ 36583 w 193621"/>
                <a:gd name="connsiteY114" fmla="*/ 74707 h 134288"/>
                <a:gd name="connsiteX115" fmla="*/ 38420 w 193621"/>
                <a:gd name="connsiteY115" fmla="*/ 77406 h 134288"/>
                <a:gd name="connsiteX116" fmla="*/ 39890 w 193621"/>
                <a:gd name="connsiteY116" fmla="*/ 79533 h 134288"/>
                <a:gd name="connsiteX117" fmla="*/ 41809 w 193621"/>
                <a:gd name="connsiteY117" fmla="*/ 82191 h 134288"/>
                <a:gd name="connsiteX118" fmla="*/ 43319 w 193621"/>
                <a:gd name="connsiteY118" fmla="*/ 84276 h 134288"/>
                <a:gd name="connsiteX119" fmla="*/ 45320 w 193621"/>
                <a:gd name="connsiteY119" fmla="*/ 86935 h 134288"/>
                <a:gd name="connsiteX120" fmla="*/ 46831 w 193621"/>
                <a:gd name="connsiteY120" fmla="*/ 88938 h 134288"/>
                <a:gd name="connsiteX121" fmla="*/ 49036 w 193621"/>
                <a:gd name="connsiteY121" fmla="*/ 91678 h 134288"/>
                <a:gd name="connsiteX122" fmla="*/ 50465 w 193621"/>
                <a:gd name="connsiteY122" fmla="*/ 93437 h 134288"/>
                <a:gd name="connsiteX123" fmla="*/ 53445 w 193621"/>
                <a:gd name="connsiteY123" fmla="*/ 96954 h 134288"/>
                <a:gd name="connsiteX124" fmla="*/ 54221 w 193621"/>
                <a:gd name="connsiteY124" fmla="*/ 97854 h 134288"/>
                <a:gd name="connsiteX125" fmla="*/ 58018 w 193621"/>
                <a:gd name="connsiteY125" fmla="*/ 101943 h 134288"/>
                <a:gd name="connsiteX126" fmla="*/ 59447 w 193621"/>
                <a:gd name="connsiteY126" fmla="*/ 103415 h 134288"/>
                <a:gd name="connsiteX127" fmla="*/ 61978 w 193621"/>
                <a:gd name="connsiteY127" fmla="*/ 105992 h 134288"/>
                <a:gd name="connsiteX128" fmla="*/ 63652 w 193621"/>
                <a:gd name="connsiteY128" fmla="*/ 107587 h 134288"/>
                <a:gd name="connsiteX129" fmla="*/ 66061 w 193621"/>
                <a:gd name="connsiteY129" fmla="*/ 109836 h 134288"/>
                <a:gd name="connsiteX130" fmla="*/ 67817 w 193621"/>
                <a:gd name="connsiteY130" fmla="*/ 111431 h 134288"/>
                <a:gd name="connsiteX131" fmla="*/ 70267 w 193621"/>
                <a:gd name="connsiteY131" fmla="*/ 113475 h 134288"/>
                <a:gd name="connsiteX132" fmla="*/ 72063 w 193621"/>
                <a:gd name="connsiteY132" fmla="*/ 114948 h 134288"/>
                <a:gd name="connsiteX133" fmla="*/ 74636 w 193621"/>
                <a:gd name="connsiteY133" fmla="*/ 116911 h 134288"/>
                <a:gd name="connsiteX134" fmla="*/ 76391 w 193621"/>
                <a:gd name="connsiteY134" fmla="*/ 118219 h 134288"/>
                <a:gd name="connsiteX135" fmla="*/ 79290 w 193621"/>
                <a:gd name="connsiteY135" fmla="*/ 120182 h 134288"/>
                <a:gd name="connsiteX136" fmla="*/ 80842 w 193621"/>
                <a:gd name="connsiteY136" fmla="*/ 121205 h 134288"/>
                <a:gd name="connsiteX137" fmla="*/ 85333 w 193621"/>
                <a:gd name="connsiteY137" fmla="*/ 123863 h 134288"/>
                <a:gd name="connsiteX138" fmla="*/ 89947 w 193621"/>
                <a:gd name="connsiteY138" fmla="*/ 126194 h 134288"/>
                <a:gd name="connsiteX139" fmla="*/ 91743 w 193621"/>
                <a:gd name="connsiteY139" fmla="*/ 126971 h 134288"/>
                <a:gd name="connsiteX140" fmla="*/ 94560 w 193621"/>
                <a:gd name="connsiteY140" fmla="*/ 128157 h 134288"/>
                <a:gd name="connsiteX141" fmla="*/ 96683 w 193621"/>
                <a:gd name="connsiteY141" fmla="*/ 128975 h 134288"/>
                <a:gd name="connsiteX142" fmla="*/ 99174 w 193621"/>
                <a:gd name="connsiteY142" fmla="*/ 129874 h 134288"/>
                <a:gd name="connsiteX143" fmla="*/ 101460 w 193621"/>
                <a:gd name="connsiteY143" fmla="*/ 130570 h 134288"/>
                <a:gd name="connsiteX144" fmla="*/ 103747 w 193621"/>
                <a:gd name="connsiteY144" fmla="*/ 131265 h 134288"/>
                <a:gd name="connsiteX145" fmla="*/ 106115 w 193621"/>
                <a:gd name="connsiteY145" fmla="*/ 131878 h 134288"/>
                <a:gd name="connsiteX146" fmla="*/ 108361 w 193621"/>
                <a:gd name="connsiteY146" fmla="*/ 132369 h 134288"/>
                <a:gd name="connsiteX147" fmla="*/ 110770 w 193621"/>
                <a:gd name="connsiteY147" fmla="*/ 132860 h 134288"/>
                <a:gd name="connsiteX148" fmla="*/ 112893 w 193621"/>
                <a:gd name="connsiteY148" fmla="*/ 133228 h 134288"/>
                <a:gd name="connsiteX149" fmla="*/ 115383 w 193621"/>
                <a:gd name="connsiteY149" fmla="*/ 133596 h 134288"/>
                <a:gd name="connsiteX150" fmla="*/ 117302 w 193621"/>
                <a:gd name="connsiteY150" fmla="*/ 133800 h 134288"/>
                <a:gd name="connsiteX151" fmla="*/ 119915 w 193621"/>
                <a:gd name="connsiteY151" fmla="*/ 134087 h 134288"/>
                <a:gd name="connsiteX152" fmla="*/ 121549 w 193621"/>
                <a:gd name="connsiteY152" fmla="*/ 134087 h 134288"/>
                <a:gd name="connsiteX153" fmla="*/ 131838 w 193621"/>
                <a:gd name="connsiteY153" fmla="*/ 134087 h 134288"/>
                <a:gd name="connsiteX154" fmla="*/ 132777 w 193621"/>
                <a:gd name="connsiteY154" fmla="*/ 134087 h 134288"/>
                <a:gd name="connsiteX155" fmla="*/ 135757 w 193621"/>
                <a:gd name="connsiteY155" fmla="*/ 133882 h 134288"/>
                <a:gd name="connsiteX156" fmla="*/ 137023 w 193621"/>
                <a:gd name="connsiteY156" fmla="*/ 133882 h 134288"/>
                <a:gd name="connsiteX157" fmla="*/ 139840 w 193621"/>
                <a:gd name="connsiteY157" fmla="*/ 133596 h 134288"/>
                <a:gd name="connsiteX158" fmla="*/ 141187 w 193621"/>
                <a:gd name="connsiteY158" fmla="*/ 133596 h 134288"/>
                <a:gd name="connsiteX159" fmla="*/ 143923 w 193621"/>
                <a:gd name="connsiteY159" fmla="*/ 133228 h 134288"/>
                <a:gd name="connsiteX160" fmla="*/ 145230 w 193621"/>
                <a:gd name="connsiteY160" fmla="*/ 133023 h 134288"/>
                <a:gd name="connsiteX161" fmla="*/ 147965 w 193621"/>
                <a:gd name="connsiteY161" fmla="*/ 132532 h 134288"/>
                <a:gd name="connsiteX162" fmla="*/ 149108 w 193621"/>
                <a:gd name="connsiteY162" fmla="*/ 132287 h 134288"/>
                <a:gd name="connsiteX163" fmla="*/ 151885 w 193621"/>
                <a:gd name="connsiteY163" fmla="*/ 131715 h 134288"/>
                <a:gd name="connsiteX164" fmla="*/ 152783 w 193621"/>
                <a:gd name="connsiteY164" fmla="*/ 131510 h 134288"/>
                <a:gd name="connsiteX165" fmla="*/ 155723 w 193621"/>
                <a:gd name="connsiteY165" fmla="*/ 130815 h 134288"/>
                <a:gd name="connsiteX166" fmla="*/ 156090 w 193621"/>
                <a:gd name="connsiteY166" fmla="*/ 130815 h 134288"/>
                <a:gd name="connsiteX167" fmla="*/ 171973 w 193621"/>
                <a:gd name="connsiteY167" fmla="*/ 125703 h 134288"/>
                <a:gd name="connsiteX168" fmla="*/ 171973 w 193621"/>
                <a:gd name="connsiteY168" fmla="*/ 125703 h 134288"/>
                <a:gd name="connsiteX169" fmla="*/ 174708 w 193621"/>
                <a:gd name="connsiteY169" fmla="*/ 124640 h 134288"/>
                <a:gd name="connsiteX170" fmla="*/ 174708 w 193621"/>
                <a:gd name="connsiteY170" fmla="*/ 124640 h 134288"/>
                <a:gd name="connsiteX171" fmla="*/ 177281 w 193621"/>
                <a:gd name="connsiteY171" fmla="*/ 123576 h 134288"/>
                <a:gd name="connsiteX172" fmla="*/ 177281 w 193621"/>
                <a:gd name="connsiteY172" fmla="*/ 123576 h 134288"/>
                <a:gd name="connsiteX173" fmla="*/ 193490 w 193621"/>
                <a:gd name="connsiteY173" fmla="*/ 116011 h 134288"/>
                <a:gd name="connsiteX174" fmla="*/ 193490 w 193621"/>
                <a:gd name="connsiteY174" fmla="*/ 107341 h 134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</a:cxnLst>
              <a:rect l="l" t="t" r="r" b="b"/>
              <a:pathLst>
                <a:path w="193621" h="134288">
                  <a:moveTo>
                    <a:pt x="193490" y="107423"/>
                  </a:moveTo>
                  <a:cubicBezTo>
                    <a:pt x="193490" y="107219"/>
                    <a:pt x="193490" y="106932"/>
                    <a:pt x="193490" y="106728"/>
                  </a:cubicBezTo>
                  <a:cubicBezTo>
                    <a:pt x="193490" y="106523"/>
                    <a:pt x="193490" y="105092"/>
                    <a:pt x="193490" y="104233"/>
                  </a:cubicBezTo>
                  <a:cubicBezTo>
                    <a:pt x="193468" y="103811"/>
                    <a:pt x="193468" y="103388"/>
                    <a:pt x="193490" y="102965"/>
                  </a:cubicBezTo>
                  <a:cubicBezTo>
                    <a:pt x="193490" y="101820"/>
                    <a:pt x="193286" y="100594"/>
                    <a:pt x="193163" y="99285"/>
                  </a:cubicBezTo>
                  <a:cubicBezTo>
                    <a:pt x="193143" y="98999"/>
                    <a:pt x="193143" y="98712"/>
                    <a:pt x="193163" y="98426"/>
                  </a:cubicBezTo>
                  <a:cubicBezTo>
                    <a:pt x="193163" y="97281"/>
                    <a:pt x="192877" y="96054"/>
                    <a:pt x="192714" y="94827"/>
                  </a:cubicBezTo>
                  <a:cubicBezTo>
                    <a:pt x="192737" y="94446"/>
                    <a:pt x="192737" y="94064"/>
                    <a:pt x="192714" y="93682"/>
                  </a:cubicBezTo>
                  <a:cubicBezTo>
                    <a:pt x="192510" y="92210"/>
                    <a:pt x="192306" y="90656"/>
                    <a:pt x="192020" y="89061"/>
                  </a:cubicBezTo>
                  <a:cubicBezTo>
                    <a:pt x="192039" y="88721"/>
                    <a:pt x="192039" y="88379"/>
                    <a:pt x="192020" y="88039"/>
                  </a:cubicBezTo>
                  <a:cubicBezTo>
                    <a:pt x="191775" y="86621"/>
                    <a:pt x="191489" y="85149"/>
                    <a:pt x="191163" y="83622"/>
                  </a:cubicBezTo>
                  <a:cubicBezTo>
                    <a:pt x="191163" y="83336"/>
                    <a:pt x="191163" y="83009"/>
                    <a:pt x="191163" y="82722"/>
                  </a:cubicBezTo>
                  <a:cubicBezTo>
                    <a:pt x="190754" y="81005"/>
                    <a:pt x="190346" y="79246"/>
                    <a:pt x="189897" y="77488"/>
                  </a:cubicBezTo>
                  <a:cubicBezTo>
                    <a:pt x="189897" y="77079"/>
                    <a:pt x="189652" y="76670"/>
                    <a:pt x="189570" y="76302"/>
                  </a:cubicBezTo>
                  <a:cubicBezTo>
                    <a:pt x="189080" y="74543"/>
                    <a:pt x="188590" y="72826"/>
                    <a:pt x="188019" y="71067"/>
                  </a:cubicBezTo>
                  <a:lnTo>
                    <a:pt x="188019" y="70658"/>
                  </a:lnTo>
                  <a:cubicBezTo>
                    <a:pt x="187447" y="68818"/>
                    <a:pt x="186753" y="66937"/>
                    <a:pt x="186059" y="65056"/>
                  </a:cubicBezTo>
                  <a:lnTo>
                    <a:pt x="185569" y="63788"/>
                  </a:lnTo>
                  <a:cubicBezTo>
                    <a:pt x="184834" y="61907"/>
                    <a:pt x="184058" y="59985"/>
                    <a:pt x="183201" y="58063"/>
                  </a:cubicBezTo>
                  <a:lnTo>
                    <a:pt x="183201" y="57695"/>
                  </a:lnTo>
                  <a:cubicBezTo>
                    <a:pt x="182384" y="55895"/>
                    <a:pt x="181486" y="54137"/>
                    <a:pt x="180547" y="52337"/>
                  </a:cubicBezTo>
                  <a:lnTo>
                    <a:pt x="179894" y="51111"/>
                  </a:lnTo>
                  <a:cubicBezTo>
                    <a:pt x="178873" y="49270"/>
                    <a:pt x="177811" y="47430"/>
                    <a:pt x="176627" y="45590"/>
                  </a:cubicBezTo>
                  <a:lnTo>
                    <a:pt x="176097" y="44731"/>
                  </a:lnTo>
                  <a:cubicBezTo>
                    <a:pt x="174994" y="43095"/>
                    <a:pt x="173851" y="41459"/>
                    <a:pt x="172667" y="39865"/>
                  </a:cubicBezTo>
                  <a:lnTo>
                    <a:pt x="171932" y="38842"/>
                  </a:lnTo>
                  <a:cubicBezTo>
                    <a:pt x="170598" y="37070"/>
                    <a:pt x="169237" y="35352"/>
                    <a:pt x="167849" y="33689"/>
                  </a:cubicBezTo>
                  <a:cubicBezTo>
                    <a:pt x="167558" y="33329"/>
                    <a:pt x="167244" y="32988"/>
                    <a:pt x="166910" y="32667"/>
                  </a:cubicBezTo>
                  <a:cubicBezTo>
                    <a:pt x="165481" y="31113"/>
                    <a:pt x="164011" y="29600"/>
                    <a:pt x="162419" y="28128"/>
                  </a:cubicBezTo>
                  <a:lnTo>
                    <a:pt x="161806" y="27514"/>
                  </a:lnTo>
                  <a:cubicBezTo>
                    <a:pt x="160051" y="25919"/>
                    <a:pt x="158213" y="24406"/>
                    <a:pt x="156335" y="22934"/>
                  </a:cubicBezTo>
                  <a:lnTo>
                    <a:pt x="154988" y="21953"/>
                  </a:lnTo>
                  <a:cubicBezTo>
                    <a:pt x="152987" y="20480"/>
                    <a:pt x="150905" y="19008"/>
                    <a:pt x="148741" y="17659"/>
                  </a:cubicBezTo>
                  <a:cubicBezTo>
                    <a:pt x="147312" y="16800"/>
                    <a:pt x="145801" y="15941"/>
                    <a:pt x="144290" y="15123"/>
                  </a:cubicBezTo>
                  <a:lnTo>
                    <a:pt x="142780" y="14346"/>
                  </a:lnTo>
                  <a:lnTo>
                    <a:pt x="139595" y="12833"/>
                  </a:lnTo>
                  <a:lnTo>
                    <a:pt x="137799" y="12015"/>
                  </a:lnTo>
                  <a:lnTo>
                    <a:pt x="134614" y="10666"/>
                  </a:lnTo>
                  <a:cubicBezTo>
                    <a:pt x="134001" y="10461"/>
                    <a:pt x="133430" y="10175"/>
                    <a:pt x="132777" y="9970"/>
                  </a:cubicBezTo>
                  <a:lnTo>
                    <a:pt x="129143" y="8662"/>
                  </a:lnTo>
                  <a:lnTo>
                    <a:pt x="127714" y="8130"/>
                  </a:lnTo>
                  <a:lnTo>
                    <a:pt x="122569" y="6576"/>
                  </a:lnTo>
                  <a:lnTo>
                    <a:pt x="121018" y="6167"/>
                  </a:lnTo>
                  <a:lnTo>
                    <a:pt x="115914" y="5186"/>
                  </a:lnTo>
                  <a:lnTo>
                    <a:pt x="113791" y="4695"/>
                  </a:lnTo>
                  <a:lnTo>
                    <a:pt x="110402" y="3959"/>
                  </a:lnTo>
                  <a:lnTo>
                    <a:pt x="108197" y="3509"/>
                  </a:lnTo>
                  <a:lnTo>
                    <a:pt x="104686" y="2855"/>
                  </a:lnTo>
                  <a:lnTo>
                    <a:pt x="102604" y="2487"/>
                  </a:lnTo>
                  <a:lnTo>
                    <a:pt x="98072" y="1791"/>
                  </a:lnTo>
                  <a:lnTo>
                    <a:pt x="96683" y="1587"/>
                  </a:lnTo>
                  <a:lnTo>
                    <a:pt x="91539" y="933"/>
                  </a:lnTo>
                  <a:lnTo>
                    <a:pt x="89375" y="728"/>
                  </a:lnTo>
                  <a:lnTo>
                    <a:pt x="85864" y="401"/>
                  </a:lnTo>
                  <a:lnTo>
                    <a:pt x="83536" y="196"/>
                  </a:lnTo>
                  <a:lnTo>
                    <a:pt x="80148" y="-49"/>
                  </a:lnTo>
                  <a:lnTo>
                    <a:pt x="77820" y="-49"/>
                  </a:lnTo>
                  <a:lnTo>
                    <a:pt x="74146" y="-49"/>
                  </a:lnTo>
                  <a:lnTo>
                    <a:pt x="72267" y="-49"/>
                  </a:lnTo>
                  <a:lnTo>
                    <a:pt x="66919" y="-49"/>
                  </a:lnTo>
                  <a:lnTo>
                    <a:pt x="53853" y="-49"/>
                  </a:lnTo>
                  <a:lnTo>
                    <a:pt x="50669" y="-49"/>
                  </a:lnTo>
                  <a:lnTo>
                    <a:pt x="48668" y="-49"/>
                  </a:lnTo>
                  <a:lnTo>
                    <a:pt x="44585" y="-49"/>
                  </a:lnTo>
                  <a:lnTo>
                    <a:pt x="43524" y="-49"/>
                  </a:lnTo>
                  <a:lnTo>
                    <a:pt x="38787" y="196"/>
                  </a:lnTo>
                  <a:lnTo>
                    <a:pt x="36950" y="196"/>
                  </a:lnTo>
                  <a:lnTo>
                    <a:pt x="34092" y="196"/>
                  </a:lnTo>
                  <a:lnTo>
                    <a:pt x="32173" y="196"/>
                  </a:lnTo>
                  <a:lnTo>
                    <a:pt x="29601" y="401"/>
                  </a:lnTo>
                  <a:lnTo>
                    <a:pt x="27763" y="401"/>
                  </a:lnTo>
                  <a:lnTo>
                    <a:pt x="25273" y="605"/>
                  </a:lnTo>
                  <a:lnTo>
                    <a:pt x="23599" y="605"/>
                  </a:lnTo>
                  <a:lnTo>
                    <a:pt x="19965" y="973"/>
                  </a:lnTo>
                  <a:lnTo>
                    <a:pt x="18414" y="973"/>
                  </a:lnTo>
                  <a:lnTo>
                    <a:pt x="16413" y="1178"/>
                  </a:lnTo>
                  <a:lnTo>
                    <a:pt x="14657" y="1178"/>
                  </a:lnTo>
                  <a:lnTo>
                    <a:pt x="13228" y="1178"/>
                  </a:lnTo>
                  <a:lnTo>
                    <a:pt x="11432" y="1423"/>
                  </a:lnTo>
                  <a:lnTo>
                    <a:pt x="10452" y="1423"/>
                  </a:lnTo>
                  <a:lnTo>
                    <a:pt x="8614" y="1669"/>
                  </a:lnTo>
                  <a:lnTo>
                    <a:pt x="8614" y="1669"/>
                  </a:lnTo>
                  <a:cubicBezTo>
                    <a:pt x="3143" y="2405"/>
                    <a:pt x="-41" y="2936"/>
                    <a:pt x="-41" y="2936"/>
                  </a:cubicBezTo>
                  <a:lnTo>
                    <a:pt x="1551" y="7026"/>
                  </a:lnTo>
                  <a:lnTo>
                    <a:pt x="1551" y="7026"/>
                  </a:lnTo>
                  <a:lnTo>
                    <a:pt x="3347" y="11443"/>
                  </a:lnTo>
                  <a:cubicBezTo>
                    <a:pt x="3439" y="11709"/>
                    <a:pt x="3548" y="11968"/>
                    <a:pt x="3674" y="12220"/>
                  </a:cubicBezTo>
                  <a:lnTo>
                    <a:pt x="4450" y="14060"/>
                  </a:lnTo>
                  <a:cubicBezTo>
                    <a:pt x="4450" y="14469"/>
                    <a:pt x="4776" y="14919"/>
                    <a:pt x="4981" y="15328"/>
                  </a:cubicBezTo>
                  <a:cubicBezTo>
                    <a:pt x="5185" y="15737"/>
                    <a:pt x="5430" y="16432"/>
                    <a:pt x="5716" y="17045"/>
                  </a:cubicBezTo>
                  <a:cubicBezTo>
                    <a:pt x="6001" y="17659"/>
                    <a:pt x="6124" y="18068"/>
                    <a:pt x="6369" y="18599"/>
                  </a:cubicBezTo>
                  <a:lnTo>
                    <a:pt x="7104" y="20235"/>
                  </a:lnTo>
                  <a:cubicBezTo>
                    <a:pt x="7349" y="20848"/>
                    <a:pt x="7635" y="21421"/>
                    <a:pt x="7920" y="22034"/>
                  </a:cubicBezTo>
                  <a:lnTo>
                    <a:pt x="8696" y="23793"/>
                  </a:lnTo>
                  <a:lnTo>
                    <a:pt x="9554" y="25715"/>
                  </a:lnTo>
                  <a:lnTo>
                    <a:pt x="10411" y="27514"/>
                  </a:lnTo>
                  <a:cubicBezTo>
                    <a:pt x="10942" y="28700"/>
                    <a:pt x="11513" y="29886"/>
                    <a:pt x="12085" y="31113"/>
                  </a:cubicBezTo>
                  <a:cubicBezTo>
                    <a:pt x="12657" y="32340"/>
                    <a:pt x="12820" y="32626"/>
                    <a:pt x="13187" y="33444"/>
                  </a:cubicBezTo>
                  <a:cubicBezTo>
                    <a:pt x="13555" y="34262"/>
                    <a:pt x="13881" y="34834"/>
                    <a:pt x="14249" y="35530"/>
                  </a:cubicBezTo>
                  <a:cubicBezTo>
                    <a:pt x="14616" y="36225"/>
                    <a:pt x="14902" y="36961"/>
                    <a:pt x="15270" y="37656"/>
                  </a:cubicBezTo>
                  <a:lnTo>
                    <a:pt x="16372" y="39865"/>
                  </a:lnTo>
                  <a:cubicBezTo>
                    <a:pt x="16780" y="40601"/>
                    <a:pt x="17148" y="41337"/>
                    <a:pt x="17515" y="42073"/>
                  </a:cubicBezTo>
                  <a:lnTo>
                    <a:pt x="18699" y="44322"/>
                  </a:lnTo>
                  <a:cubicBezTo>
                    <a:pt x="19067" y="45099"/>
                    <a:pt x="19475" y="45876"/>
                    <a:pt x="19883" y="46653"/>
                  </a:cubicBezTo>
                  <a:lnTo>
                    <a:pt x="21108" y="48902"/>
                  </a:lnTo>
                  <a:cubicBezTo>
                    <a:pt x="21557" y="49720"/>
                    <a:pt x="22007" y="50497"/>
                    <a:pt x="22415" y="51315"/>
                  </a:cubicBezTo>
                  <a:cubicBezTo>
                    <a:pt x="22823" y="52133"/>
                    <a:pt x="23272" y="52828"/>
                    <a:pt x="23681" y="53564"/>
                  </a:cubicBezTo>
                  <a:lnTo>
                    <a:pt x="25150" y="56141"/>
                  </a:lnTo>
                  <a:cubicBezTo>
                    <a:pt x="25559" y="56877"/>
                    <a:pt x="25967" y="57613"/>
                    <a:pt x="26416" y="58349"/>
                  </a:cubicBezTo>
                  <a:lnTo>
                    <a:pt x="28172" y="61375"/>
                  </a:lnTo>
                  <a:lnTo>
                    <a:pt x="29233" y="63134"/>
                  </a:lnTo>
                  <a:cubicBezTo>
                    <a:pt x="30172" y="64688"/>
                    <a:pt x="31111" y="66242"/>
                    <a:pt x="32091" y="67796"/>
                  </a:cubicBezTo>
                  <a:lnTo>
                    <a:pt x="33316" y="69677"/>
                  </a:lnTo>
                  <a:cubicBezTo>
                    <a:pt x="33929" y="70658"/>
                    <a:pt x="34541" y="71640"/>
                    <a:pt x="35194" y="72580"/>
                  </a:cubicBezTo>
                  <a:cubicBezTo>
                    <a:pt x="35848" y="73521"/>
                    <a:pt x="36133" y="74012"/>
                    <a:pt x="36583" y="74707"/>
                  </a:cubicBezTo>
                  <a:lnTo>
                    <a:pt x="38420" y="77406"/>
                  </a:lnTo>
                  <a:lnTo>
                    <a:pt x="39890" y="79533"/>
                  </a:lnTo>
                  <a:cubicBezTo>
                    <a:pt x="40502" y="80432"/>
                    <a:pt x="41155" y="81291"/>
                    <a:pt x="41809" y="82191"/>
                  </a:cubicBezTo>
                  <a:lnTo>
                    <a:pt x="43319" y="84276"/>
                  </a:lnTo>
                  <a:lnTo>
                    <a:pt x="45320" y="86935"/>
                  </a:lnTo>
                  <a:lnTo>
                    <a:pt x="46831" y="88938"/>
                  </a:lnTo>
                  <a:lnTo>
                    <a:pt x="49036" y="91678"/>
                  </a:lnTo>
                  <a:lnTo>
                    <a:pt x="50465" y="93437"/>
                  </a:lnTo>
                  <a:lnTo>
                    <a:pt x="53445" y="96954"/>
                  </a:lnTo>
                  <a:cubicBezTo>
                    <a:pt x="53690" y="97240"/>
                    <a:pt x="53935" y="97567"/>
                    <a:pt x="54221" y="97854"/>
                  </a:cubicBezTo>
                  <a:cubicBezTo>
                    <a:pt x="55446" y="99271"/>
                    <a:pt x="56711" y="100634"/>
                    <a:pt x="58018" y="101943"/>
                  </a:cubicBezTo>
                  <a:lnTo>
                    <a:pt x="59447" y="103415"/>
                  </a:lnTo>
                  <a:lnTo>
                    <a:pt x="61978" y="105992"/>
                  </a:lnTo>
                  <a:lnTo>
                    <a:pt x="63652" y="107587"/>
                  </a:lnTo>
                  <a:cubicBezTo>
                    <a:pt x="64428" y="108364"/>
                    <a:pt x="65245" y="109100"/>
                    <a:pt x="66061" y="109836"/>
                  </a:cubicBezTo>
                  <a:lnTo>
                    <a:pt x="67817" y="111431"/>
                  </a:lnTo>
                  <a:lnTo>
                    <a:pt x="70267" y="113475"/>
                  </a:lnTo>
                  <a:lnTo>
                    <a:pt x="72063" y="114948"/>
                  </a:lnTo>
                  <a:cubicBezTo>
                    <a:pt x="72907" y="115657"/>
                    <a:pt x="73765" y="116311"/>
                    <a:pt x="74636" y="116911"/>
                  </a:cubicBezTo>
                  <a:lnTo>
                    <a:pt x="76391" y="118219"/>
                  </a:lnTo>
                  <a:lnTo>
                    <a:pt x="79290" y="120182"/>
                  </a:lnTo>
                  <a:lnTo>
                    <a:pt x="80842" y="121205"/>
                  </a:lnTo>
                  <a:cubicBezTo>
                    <a:pt x="82311" y="122145"/>
                    <a:pt x="83822" y="123045"/>
                    <a:pt x="85333" y="123863"/>
                  </a:cubicBezTo>
                  <a:cubicBezTo>
                    <a:pt x="86844" y="124681"/>
                    <a:pt x="88395" y="125458"/>
                    <a:pt x="89947" y="126194"/>
                  </a:cubicBezTo>
                  <a:lnTo>
                    <a:pt x="91743" y="126971"/>
                  </a:lnTo>
                  <a:lnTo>
                    <a:pt x="94560" y="128157"/>
                  </a:lnTo>
                  <a:lnTo>
                    <a:pt x="96683" y="128975"/>
                  </a:lnTo>
                  <a:lnTo>
                    <a:pt x="99174" y="129874"/>
                  </a:lnTo>
                  <a:lnTo>
                    <a:pt x="101460" y="130570"/>
                  </a:lnTo>
                  <a:lnTo>
                    <a:pt x="103747" y="131265"/>
                  </a:lnTo>
                  <a:lnTo>
                    <a:pt x="106115" y="131878"/>
                  </a:lnTo>
                  <a:lnTo>
                    <a:pt x="108361" y="132369"/>
                  </a:lnTo>
                  <a:lnTo>
                    <a:pt x="110770" y="132860"/>
                  </a:lnTo>
                  <a:lnTo>
                    <a:pt x="112893" y="133228"/>
                  </a:lnTo>
                  <a:lnTo>
                    <a:pt x="115383" y="133596"/>
                  </a:lnTo>
                  <a:lnTo>
                    <a:pt x="117302" y="133800"/>
                  </a:lnTo>
                  <a:lnTo>
                    <a:pt x="119915" y="134087"/>
                  </a:lnTo>
                  <a:lnTo>
                    <a:pt x="121549" y="134087"/>
                  </a:lnTo>
                  <a:cubicBezTo>
                    <a:pt x="124975" y="134291"/>
                    <a:pt x="128411" y="134291"/>
                    <a:pt x="131838" y="134087"/>
                  </a:cubicBezTo>
                  <a:lnTo>
                    <a:pt x="132777" y="134087"/>
                  </a:lnTo>
                  <a:lnTo>
                    <a:pt x="135757" y="133882"/>
                  </a:lnTo>
                  <a:lnTo>
                    <a:pt x="137023" y="133882"/>
                  </a:lnTo>
                  <a:lnTo>
                    <a:pt x="139840" y="133596"/>
                  </a:lnTo>
                  <a:lnTo>
                    <a:pt x="141187" y="133596"/>
                  </a:lnTo>
                  <a:lnTo>
                    <a:pt x="143923" y="133228"/>
                  </a:lnTo>
                  <a:lnTo>
                    <a:pt x="145230" y="133023"/>
                  </a:lnTo>
                  <a:lnTo>
                    <a:pt x="147965" y="132532"/>
                  </a:lnTo>
                  <a:lnTo>
                    <a:pt x="149108" y="132287"/>
                  </a:lnTo>
                  <a:lnTo>
                    <a:pt x="151885" y="131715"/>
                  </a:lnTo>
                  <a:lnTo>
                    <a:pt x="152783" y="131510"/>
                  </a:lnTo>
                  <a:lnTo>
                    <a:pt x="155723" y="130815"/>
                  </a:lnTo>
                  <a:lnTo>
                    <a:pt x="156090" y="130815"/>
                  </a:lnTo>
                  <a:cubicBezTo>
                    <a:pt x="161483" y="129435"/>
                    <a:pt x="166787" y="127728"/>
                    <a:pt x="171973" y="125703"/>
                  </a:cubicBezTo>
                  <a:lnTo>
                    <a:pt x="171973" y="125703"/>
                  </a:lnTo>
                  <a:lnTo>
                    <a:pt x="174708" y="124640"/>
                  </a:lnTo>
                  <a:lnTo>
                    <a:pt x="174708" y="124640"/>
                  </a:lnTo>
                  <a:lnTo>
                    <a:pt x="177281" y="123576"/>
                  </a:lnTo>
                  <a:lnTo>
                    <a:pt x="177281" y="123576"/>
                  </a:lnTo>
                  <a:cubicBezTo>
                    <a:pt x="182866" y="121466"/>
                    <a:pt x="188284" y="118937"/>
                    <a:pt x="193490" y="116011"/>
                  </a:cubicBezTo>
                  <a:cubicBezTo>
                    <a:pt x="193490" y="116011"/>
                    <a:pt x="193694" y="112739"/>
                    <a:pt x="193490" y="107341"/>
                  </a:cubicBezTo>
                  <a:close/>
                </a:path>
              </a:pathLst>
            </a:custGeom>
            <a:solidFill>
              <a:srgbClr val="1D1D1B"/>
            </a:solidFill>
            <a:ln w="404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8EDF7BC3-FF71-4336-8315-A69B80F516AF}"/>
                </a:ext>
              </a:extLst>
            </p:cNvPr>
            <p:cNvSpPr/>
            <p:nvPr/>
          </p:nvSpPr>
          <p:spPr>
            <a:xfrm>
              <a:off x="1046355" y="2881763"/>
              <a:ext cx="199328" cy="236045"/>
            </a:xfrm>
            <a:custGeom>
              <a:avLst/>
              <a:gdLst>
                <a:gd name="connsiteX0" fmla="*/ 145270 w 199328"/>
                <a:gd name="connsiteY0" fmla="*/ 98426 h 236045"/>
                <a:gd name="connsiteX1" fmla="*/ 145556 w 199328"/>
                <a:gd name="connsiteY1" fmla="*/ 98058 h 236045"/>
                <a:gd name="connsiteX2" fmla="*/ 149027 w 199328"/>
                <a:gd name="connsiteY2" fmla="*/ 93969 h 236045"/>
                <a:gd name="connsiteX3" fmla="*/ 150170 w 199328"/>
                <a:gd name="connsiteY3" fmla="*/ 92537 h 236045"/>
                <a:gd name="connsiteX4" fmla="*/ 152660 w 199328"/>
                <a:gd name="connsiteY4" fmla="*/ 89388 h 236045"/>
                <a:gd name="connsiteX5" fmla="*/ 153967 w 199328"/>
                <a:gd name="connsiteY5" fmla="*/ 87712 h 236045"/>
                <a:gd name="connsiteX6" fmla="*/ 156213 w 199328"/>
                <a:gd name="connsiteY6" fmla="*/ 84685 h 236045"/>
                <a:gd name="connsiteX7" fmla="*/ 157519 w 199328"/>
                <a:gd name="connsiteY7" fmla="*/ 82968 h 236045"/>
                <a:gd name="connsiteX8" fmla="*/ 159724 w 199328"/>
                <a:gd name="connsiteY8" fmla="*/ 79860 h 236045"/>
                <a:gd name="connsiteX9" fmla="*/ 160867 w 199328"/>
                <a:gd name="connsiteY9" fmla="*/ 78183 h 236045"/>
                <a:gd name="connsiteX10" fmla="*/ 163154 w 199328"/>
                <a:gd name="connsiteY10" fmla="*/ 74789 h 236045"/>
                <a:gd name="connsiteX11" fmla="*/ 164093 w 199328"/>
                <a:gd name="connsiteY11" fmla="*/ 73398 h 236045"/>
                <a:gd name="connsiteX12" fmla="*/ 166787 w 199328"/>
                <a:gd name="connsiteY12" fmla="*/ 69309 h 236045"/>
                <a:gd name="connsiteX13" fmla="*/ 167196 w 199328"/>
                <a:gd name="connsiteY13" fmla="*/ 68695 h 236045"/>
                <a:gd name="connsiteX14" fmla="*/ 173239 w 199328"/>
                <a:gd name="connsiteY14" fmla="*/ 58717 h 236045"/>
                <a:gd name="connsiteX15" fmla="*/ 173606 w 199328"/>
                <a:gd name="connsiteY15" fmla="*/ 58022 h 236045"/>
                <a:gd name="connsiteX16" fmla="*/ 175974 w 199328"/>
                <a:gd name="connsiteY16" fmla="*/ 53932 h 236045"/>
                <a:gd name="connsiteX17" fmla="*/ 176546 w 199328"/>
                <a:gd name="connsiteY17" fmla="*/ 52910 h 236045"/>
                <a:gd name="connsiteX18" fmla="*/ 178628 w 199328"/>
                <a:gd name="connsiteY18" fmla="*/ 49066 h 236045"/>
                <a:gd name="connsiteX19" fmla="*/ 179159 w 199328"/>
                <a:gd name="connsiteY19" fmla="*/ 48125 h 236045"/>
                <a:gd name="connsiteX20" fmla="*/ 181200 w 199328"/>
                <a:gd name="connsiteY20" fmla="*/ 44036 h 236045"/>
                <a:gd name="connsiteX21" fmla="*/ 181609 w 199328"/>
                <a:gd name="connsiteY21" fmla="*/ 43218 h 236045"/>
                <a:gd name="connsiteX22" fmla="*/ 183732 w 199328"/>
                <a:gd name="connsiteY22" fmla="*/ 39128 h 236045"/>
                <a:gd name="connsiteX23" fmla="*/ 183732 w 199328"/>
                <a:gd name="connsiteY23" fmla="*/ 38842 h 236045"/>
                <a:gd name="connsiteX24" fmla="*/ 197695 w 199328"/>
                <a:gd name="connsiteY24" fmla="*/ 7680 h 236045"/>
                <a:gd name="connsiteX25" fmla="*/ 197695 w 199328"/>
                <a:gd name="connsiteY25" fmla="*/ 7680 h 236045"/>
                <a:gd name="connsiteX26" fmla="*/ 199288 w 199328"/>
                <a:gd name="connsiteY26" fmla="*/ 3591 h 236045"/>
                <a:gd name="connsiteX27" fmla="*/ 188590 w 199328"/>
                <a:gd name="connsiteY27" fmla="*/ 2037 h 236045"/>
                <a:gd name="connsiteX28" fmla="*/ 187896 w 199328"/>
                <a:gd name="connsiteY28" fmla="*/ 2037 h 236045"/>
                <a:gd name="connsiteX29" fmla="*/ 185896 w 199328"/>
                <a:gd name="connsiteY29" fmla="*/ 1791 h 236045"/>
                <a:gd name="connsiteX30" fmla="*/ 184671 w 199328"/>
                <a:gd name="connsiteY30" fmla="*/ 1791 h 236045"/>
                <a:gd name="connsiteX31" fmla="*/ 182752 w 199328"/>
                <a:gd name="connsiteY31" fmla="*/ 1791 h 236045"/>
                <a:gd name="connsiteX32" fmla="*/ 180955 w 199328"/>
                <a:gd name="connsiteY32" fmla="*/ 1587 h 236045"/>
                <a:gd name="connsiteX33" fmla="*/ 179240 w 199328"/>
                <a:gd name="connsiteY33" fmla="*/ 1587 h 236045"/>
                <a:gd name="connsiteX34" fmla="*/ 175647 w 199328"/>
                <a:gd name="connsiteY34" fmla="*/ 605 h 236045"/>
                <a:gd name="connsiteX35" fmla="*/ 173933 w 199328"/>
                <a:gd name="connsiteY35" fmla="*/ 605 h 236045"/>
                <a:gd name="connsiteX36" fmla="*/ 171442 w 199328"/>
                <a:gd name="connsiteY36" fmla="*/ 401 h 236045"/>
                <a:gd name="connsiteX37" fmla="*/ 169646 w 199328"/>
                <a:gd name="connsiteY37" fmla="*/ 401 h 236045"/>
                <a:gd name="connsiteX38" fmla="*/ 167032 w 199328"/>
                <a:gd name="connsiteY38" fmla="*/ 196 h 236045"/>
                <a:gd name="connsiteX39" fmla="*/ 165113 w 199328"/>
                <a:gd name="connsiteY39" fmla="*/ 196 h 236045"/>
                <a:gd name="connsiteX40" fmla="*/ 162255 w 199328"/>
                <a:gd name="connsiteY40" fmla="*/ 196 h 236045"/>
                <a:gd name="connsiteX41" fmla="*/ 160459 w 199328"/>
                <a:gd name="connsiteY41" fmla="*/ 196 h 236045"/>
                <a:gd name="connsiteX42" fmla="*/ 155723 w 199328"/>
                <a:gd name="connsiteY42" fmla="*/ -49 h 236045"/>
                <a:gd name="connsiteX43" fmla="*/ 154702 w 199328"/>
                <a:gd name="connsiteY43" fmla="*/ -49 h 236045"/>
                <a:gd name="connsiteX44" fmla="*/ 150619 w 199328"/>
                <a:gd name="connsiteY44" fmla="*/ -49 h 236045"/>
                <a:gd name="connsiteX45" fmla="*/ 148659 w 199328"/>
                <a:gd name="connsiteY45" fmla="*/ -49 h 236045"/>
                <a:gd name="connsiteX46" fmla="*/ 145475 w 199328"/>
                <a:gd name="connsiteY46" fmla="*/ -49 h 236045"/>
                <a:gd name="connsiteX47" fmla="*/ 132368 w 199328"/>
                <a:gd name="connsiteY47" fmla="*/ -49 h 236045"/>
                <a:gd name="connsiteX48" fmla="*/ 127061 w 199328"/>
                <a:gd name="connsiteY48" fmla="*/ -49 h 236045"/>
                <a:gd name="connsiteX49" fmla="*/ 125101 w 199328"/>
                <a:gd name="connsiteY49" fmla="*/ -49 h 236045"/>
                <a:gd name="connsiteX50" fmla="*/ 121467 w 199328"/>
                <a:gd name="connsiteY50" fmla="*/ -49 h 236045"/>
                <a:gd name="connsiteX51" fmla="*/ 119140 w 199328"/>
                <a:gd name="connsiteY51" fmla="*/ -49 h 236045"/>
                <a:gd name="connsiteX52" fmla="*/ 115832 w 199328"/>
                <a:gd name="connsiteY52" fmla="*/ 196 h 236045"/>
                <a:gd name="connsiteX53" fmla="*/ 113423 w 199328"/>
                <a:gd name="connsiteY53" fmla="*/ 401 h 236045"/>
                <a:gd name="connsiteX54" fmla="*/ 109994 w 199328"/>
                <a:gd name="connsiteY54" fmla="*/ 728 h 236045"/>
                <a:gd name="connsiteX55" fmla="*/ 107748 w 199328"/>
                <a:gd name="connsiteY55" fmla="*/ 933 h 236045"/>
                <a:gd name="connsiteX56" fmla="*/ 102930 w 199328"/>
                <a:gd name="connsiteY56" fmla="*/ 1546 h 236045"/>
                <a:gd name="connsiteX57" fmla="*/ 101011 w 199328"/>
                <a:gd name="connsiteY57" fmla="*/ 1832 h 236045"/>
                <a:gd name="connsiteX58" fmla="*/ 96724 w 199328"/>
                <a:gd name="connsiteY58" fmla="*/ 2487 h 236045"/>
                <a:gd name="connsiteX59" fmla="*/ 94560 w 199328"/>
                <a:gd name="connsiteY59" fmla="*/ 2855 h 236045"/>
                <a:gd name="connsiteX60" fmla="*/ 91171 w 199328"/>
                <a:gd name="connsiteY60" fmla="*/ 3468 h 236045"/>
                <a:gd name="connsiteX61" fmla="*/ 88885 w 199328"/>
                <a:gd name="connsiteY61" fmla="*/ 3959 h 236045"/>
                <a:gd name="connsiteX62" fmla="*/ 85578 w 199328"/>
                <a:gd name="connsiteY62" fmla="*/ 4695 h 236045"/>
                <a:gd name="connsiteX63" fmla="*/ 83373 w 199328"/>
                <a:gd name="connsiteY63" fmla="*/ 5186 h 236045"/>
                <a:gd name="connsiteX64" fmla="*/ 79739 w 199328"/>
                <a:gd name="connsiteY64" fmla="*/ 6167 h 236045"/>
                <a:gd name="connsiteX65" fmla="*/ 78024 w 199328"/>
                <a:gd name="connsiteY65" fmla="*/ 6617 h 236045"/>
                <a:gd name="connsiteX66" fmla="*/ 72921 w 199328"/>
                <a:gd name="connsiteY66" fmla="*/ 8171 h 236045"/>
                <a:gd name="connsiteX67" fmla="*/ 71369 w 199328"/>
                <a:gd name="connsiteY67" fmla="*/ 8744 h 236045"/>
                <a:gd name="connsiteX68" fmla="*/ 67858 w 199328"/>
                <a:gd name="connsiteY68" fmla="*/ 10011 h 236045"/>
                <a:gd name="connsiteX69" fmla="*/ 65939 w 199328"/>
                <a:gd name="connsiteY69" fmla="*/ 10747 h 236045"/>
                <a:gd name="connsiteX70" fmla="*/ 62877 w 199328"/>
                <a:gd name="connsiteY70" fmla="*/ 12056 h 236045"/>
                <a:gd name="connsiteX71" fmla="*/ 60999 w 199328"/>
                <a:gd name="connsiteY71" fmla="*/ 12874 h 236045"/>
                <a:gd name="connsiteX72" fmla="*/ 57896 w 199328"/>
                <a:gd name="connsiteY72" fmla="*/ 14387 h 236045"/>
                <a:gd name="connsiteX73" fmla="*/ 56344 w 199328"/>
                <a:gd name="connsiteY73" fmla="*/ 15205 h 236045"/>
                <a:gd name="connsiteX74" fmla="*/ 51894 w 199328"/>
                <a:gd name="connsiteY74" fmla="*/ 17699 h 236045"/>
                <a:gd name="connsiteX75" fmla="*/ 45647 w 199328"/>
                <a:gd name="connsiteY75" fmla="*/ 21993 h 236045"/>
                <a:gd name="connsiteX76" fmla="*/ 44299 w 199328"/>
                <a:gd name="connsiteY76" fmla="*/ 22975 h 236045"/>
                <a:gd name="connsiteX77" fmla="*/ 38828 w 199328"/>
                <a:gd name="connsiteY77" fmla="*/ 27555 h 236045"/>
                <a:gd name="connsiteX78" fmla="*/ 38175 w 199328"/>
                <a:gd name="connsiteY78" fmla="*/ 28169 h 236045"/>
                <a:gd name="connsiteX79" fmla="*/ 33725 w 199328"/>
                <a:gd name="connsiteY79" fmla="*/ 32708 h 236045"/>
                <a:gd name="connsiteX80" fmla="*/ 32745 w 199328"/>
                <a:gd name="connsiteY80" fmla="*/ 33730 h 236045"/>
                <a:gd name="connsiteX81" fmla="*/ 28662 w 199328"/>
                <a:gd name="connsiteY81" fmla="*/ 38883 h 236045"/>
                <a:gd name="connsiteX82" fmla="*/ 27886 w 199328"/>
                <a:gd name="connsiteY82" fmla="*/ 39905 h 236045"/>
                <a:gd name="connsiteX83" fmla="*/ 24538 w 199328"/>
                <a:gd name="connsiteY83" fmla="*/ 44731 h 236045"/>
                <a:gd name="connsiteX84" fmla="*/ 23925 w 199328"/>
                <a:gd name="connsiteY84" fmla="*/ 45631 h 236045"/>
                <a:gd name="connsiteX85" fmla="*/ 20700 w 199328"/>
                <a:gd name="connsiteY85" fmla="*/ 51152 h 236045"/>
                <a:gd name="connsiteX86" fmla="*/ 20006 w 199328"/>
                <a:gd name="connsiteY86" fmla="*/ 52378 h 236045"/>
                <a:gd name="connsiteX87" fmla="*/ 17393 w 199328"/>
                <a:gd name="connsiteY87" fmla="*/ 57695 h 236045"/>
                <a:gd name="connsiteX88" fmla="*/ 17393 w 199328"/>
                <a:gd name="connsiteY88" fmla="*/ 58145 h 236045"/>
                <a:gd name="connsiteX89" fmla="*/ 15025 w 199328"/>
                <a:gd name="connsiteY89" fmla="*/ 63829 h 236045"/>
                <a:gd name="connsiteX90" fmla="*/ 14494 w 199328"/>
                <a:gd name="connsiteY90" fmla="*/ 65097 h 236045"/>
                <a:gd name="connsiteX91" fmla="*/ 12534 w 199328"/>
                <a:gd name="connsiteY91" fmla="*/ 70699 h 236045"/>
                <a:gd name="connsiteX92" fmla="*/ 12534 w 199328"/>
                <a:gd name="connsiteY92" fmla="*/ 71149 h 236045"/>
                <a:gd name="connsiteX93" fmla="*/ 11023 w 199328"/>
                <a:gd name="connsiteY93" fmla="*/ 76343 h 236045"/>
                <a:gd name="connsiteX94" fmla="*/ 10697 w 199328"/>
                <a:gd name="connsiteY94" fmla="*/ 77529 h 236045"/>
                <a:gd name="connsiteX95" fmla="*/ 9431 w 199328"/>
                <a:gd name="connsiteY95" fmla="*/ 82763 h 236045"/>
                <a:gd name="connsiteX96" fmla="*/ 9431 w 199328"/>
                <a:gd name="connsiteY96" fmla="*/ 83663 h 236045"/>
                <a:gd name="connsiteX97" fmla="*/ 8533 w 199328"/>
                <a:gd name="connsiteY97" fmla="*/ 88121 h 236045"/>
                <a:gd name="connsiteX98" fmla="*/ 8533 w 199328"/>
                <a:gd name="connsiteY98" fmla="*/ 89102 h 236045"/>
                <a:gd name="connsiteX99" fmla="*/ 7798 w 199328"/>
                <a:gd name="connsiteY99" fmla="*/ 93764 h 236045"/>
                <a:gd name="connsiteX100" fmla="*/ 7798 w 199328"/>
                <a:gd name="connsiteY100" fmla="*/ 94786 h 236045"/>
                <a:gd name="connsiteX101" fmla="*/ 7349 w 199328"/>
                <a:gd name="connsiteY101" fmla="*/ 98590 h 236045"/>
                <a:gd name="connsiteX102" fmla="*/ 7349 w 199328"/>
                <a:gd name="connsiteY102" fmla="*/ 99285 h 236045"/>
                <a:gd name="connsiteX103" fmla="*/ 7022 w 199328"/>
                <a:gd name="connsiteY103" fmla="*/ 103129 h 236045"/>
                <a:gd name="connsiteX104" fmla="*/ 7022 w 199328"/>
                <a:gd name="connsiteY104" fmla="*/ 104151 h 236045"/>
                <a:gd name="connsiteX105" fmla="*/ 7022 w 199328"/>
                <a:gd name="connsiteY105" fmla="*/ 107014 h 236045"/>
                <a:gd name="connsiteX106" fmla="*/ 7022 w 199328"/>
                <a:gd name="connsiteY106" fmla="*/ 106932 h 236045"/>
                <a:gd name="connsiteX107" fmla="*/ 7022 w 199328"/>
                <a:gd name="connsiteY107" fmla="*/ 106932 h 236045"/>
                <a:gd name="connsiteX108" fmla="*/ 7022 w 199328"/>
                <a:gd name="connsiteY108" fmla="*/ 115602 h 236045"/>
                <a:gd name="connsiteX109" fmla="*/ -41 w 199328"/>
                <a:gd name="connsiteY109" fmla="*/ 235997 h 236045"/>
                <a:gd name="connsiteX110" fmla="*/ 13106 w 199328"/>
                <a:gd name="connsiteY110" fmla="*/ 235997 h 236045"/>
                <a:gd name="connsiteX111" fmla="*/ 22537 w 199328"/>
                <a:gd name="connsiteY111" fmla="*/ 143738 h 236045"/>
                <a:gd name="connsiteX112" fmla="*/ 66715 w 199328"/>
                <a:gd name="connsiteY112" fmla="*/ 134904 h 236045"/>
                <a:gd name="connsiteX113" fmla="*/ 71941 w 199328"/>
                <a:gd name="connsiteY113" fmla="*/ 134904 h 236045"/>
                <a:gd name="connsiteX114" fmla="*/ 73084 w 199328"/>
                <a:gd name="connsiteY114" fmla="*/ 134904 h 236045"/>
                <a:gd name="connsiteX115" fmla="*/ 77412 w 199328"/>
                <a:gd name="connsiteY115" fmla="*/ 134904 h 236045"/>
                <a:gd name="connsiteX116" fmla="*/ 78555 w 199328"/>
                <a:gd name="connsiteY116" fmla="*/ 134904 h 236045"/>
                <a:gd name="connsiteX117" fmla="*/ 83904 w 199328"/>
                <a:gd name="connsiteY117" fmla="*/ 134373 h 236045"/>
                <a:gd name="connsiteX118" fmla="*/ 84720 w 199328"/>
                <a:gd name="connsiteY118" fmla="*/ 134373 h 236045"/>
                <a:gd name="connsiteX119" fmla="*/ 89252 w 199328"/>
                <a:gd name="connsiteY119" fmla="*/ 133637 h 236045"/>
                <a:gd name="connsiteX120" fmla="*/ 90804 w 199328"/>
                <a:gd name="connsiteY120" fmla="*/ 133309 h 236045"/>
                <a:gd name="connsiteX121" fmla="*/ 95254 w 199328"/>
                <a:gd name="connsiteY121" fmla="*/ 132246 h 236045"/>
                <a:gd name="connsiteX122" fmla="*/ 96275 w 199328"/>
                <a:gd name="connsiteY122" fmla="*/ 132001 h 236045"/>
                <a:gd name="connsiteX123" fmla="*/ 101624 w 199328"/>
                <a:gd name="connsiteY123" fmla="*/ 130283 h 236045"/>
                <a:gd name="connsiteX124" fmla="*/ 103012 w 199328"/>
                <a:gd name="connsiteY124" fmla="*/ 129793 h 236045"/>
                <a:gd name="connsiteX125" fmla="*/ 107095 w 199328"/>
                <a:gd name="connsiteY125" fmla="*/ 128116 h 236045"/>
                <a:gd name="connsiteX126" fmla="*/ 108646 w 199328"/>
                <a:gd name="connsiteY126" fmla="*/ 127421 h 236045"/>
                <a:gd name="connsiteX127" fmla="*/ 114036 w 199328"/>
                <a:gd name="connsiteY127" fmla="*/ 124762 h 236045"/>
                <a:gd name="connsiteX128" fmla="*/ 118568 w 199328"/>
                <a:gd name="connsiteY128" fmla="*/ 122104 h 236045"/>
                <a:gd name="connsiteX129" fmla="*/ 120079 w 199328"/>
                <a:gd name="connsiteY129" fmla="*/ 121082 h 236045"/>
                <a:gd name="connsiteX130" fmla="*/ 122978 w 199328"/>
                <a:gd name="connsiteY130" fmla="*/ 119119 h 236045"/>
                <a:gd name="connsiteX131" fmla="*/ 124733 w 199328"/>
                <a:gd name="connsiteY131" fmla="*/ 117851 h 236045"/>
                <a:gd name="connsiteX132" fmla="*/ 127305 w 199328"/>
                <a:gd name="connsiteY132" fmla="*/ 115847 h 236045"/>
                <a:gd name="connsiteX133" fmla="*/ 129102 w 199328"/>
                <a:gd name="connsiteY133" fmla="*/ 114416 h 236045"/>
                <a:gd name="connsiteX134" fmla="*/ 131593 w 199328"/>
                <a:gd name="connsiteY134" fmla="*/ 112289 h 236045"/>
                <a:gd name="connsiteX135" fmla="*/ 133307 w 199328"/>
                <a:gd name="connsiteY135" fmla="*/ 110776 h 236045"/>
                <a:gd name="connsiteX136" fmla="*/ 135798 w 199328"/>
                <a:gd name="connsiteY136" fmla="*/ 108445 h 236045"/>
                <a:gd name="connsiteX137" fmla="*/ 137390 w 199328"/>
                <a:gd name="connsiteY137" fmla="*/ 106891 h 236045"/>
                <a:gd name="connsiteX138" fmla="*/ 140085 w 199328"/>
                <a:gd name="connsiteY138" fmla="*/ 104151 h 236045"/>
                <a:gd name="connsiteX139" fmla="*/ 141351 w 199328"/>
                <a:gd name="connsiteY139" fmla="*/ 102843 h 236045"/>
                <a:gd name="connsiteX140" fmla="*/ 145270 w 199328"/>
                <a:gd name="connsiteY140" fmla="*/ 98426 h 236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</a:cxnLst>
              <a:rect l="l" t="t" r="r" b="b"/>
              <a:pathLst>
                <a:path w="199328" h="236045">
                  <a:moveTo>
                    <a:pt x="145270" y="98426"/>
                  </a:moveTo>
                  <a:lnTo>
                    <a:pt x="145556" y="98058"/>
                  </a:lnTo>
                  <a:cubicBezTo>
                    <a:pt x="146740" y="96749"/>
                    <a:pt x="147883" y="95400"/>
                    <a:pt x="149027" y="93969"/>
                  </a:cubicBezTo>
                  <a:lnTo>
                    <a:pt x="150170" y="92537"/>
                  </a:lnTo>
                  <a:cubicBezTo>
                    <a:pt x="151027" y="91515"/>
                    <a:pt x="151844" y="90452"/>
                    <a:pt x="152660" y="89388"/>
                  </a:cubicBezTo>
                  <a:cubicBezTo>
                    <a:pt x="153477" y="88325"/>
                    <a:pt x="153518" y="88284"/>
                    <a:pt x="153967" y="87712"/>
                  </a:cubicBezTo>
                  <a:cubicBezTo>
                    <a:pt x="154416" y="87139"/>
                    <a:pt x="155478" y="85708"/>
                    <a:pt x="156213" y="84685"/>
                  </a:cubicBezTo>
                  <a:lnTo>
                    <a:pt x="157519" y="82968"/>
                  </a:lnTo>
                  <a:lnTo>
                    <a:pt x="159724" y="79860"/>
                  </a:lnTo>
                  <a:lnTo>
                    <a:pt x="160867" y="78183"/>
                  </a:lnTo>
                  <a:cubicBezTo>
                    <a:pt x="161643" y="77079"/>
                    <a:pt x="162419" y="75934"/>
                    <a:pt x="163154" y="74789"/>
                  </a:cubicBezTo>
                  <a:lnTo>
                    <a:pt x="164093" y="73398"/>
                  </a:lnTo>
                  <a:cubicBezTo>
                    <a:pt x="165032" y="71967"/>
                    <a:pt x="165930" y="70577"/>
                    <a:pt x="166787" y="69309"/>
                  </a:cubicBezTo>
                  <a:lnTo>
                    <a:pt x="167196" y="68695"/>
                  </a:lnTo>
                  <a:cubicBezTo>
                    <a:pt x="169319" y="65342"/>
                    <a:pt x="171279" y="62030"/>
                    <a:pt x="173239" y="58717"/>
                  </a:cubicBezTo>
                  <a:lnTo>
                    <a:pt x="173606" y="58022"/>
                  </a:lnTo>
                  <a:cubicBezTo>
                    <a:pt x="174423" y="56631"/>
                    <a:pt x="175198" y="55241"/>
                    <a:pt x="175974" y="53932"/>
                  </a:cubicBezTo>
                  <a:lnTo>
                    <a:pt x="176546" y="52910"/>
                  </a:lnTo>
                  <a:cubicBezTo>
                    <a:pt x="177281" y="51642"/>
                    <a:pt x="177975" y="50334"/>
                    <a:pt x="178628" y="49066"/>
                  </a:cubicBezTo>
                  <a:lnTo>
                    <a:pt x="179159" y="48125"/>
                  </a:lnTo>
                  <a:lnTo>
                    <a:pt x="181200" y="44036"/>
                  </a:lnTo>
                  <a:lnTo>
                    <a:pt x="181609" y="43218"/>
                  </a:lnTo>
                  <a:cubicBezTo>
                    <a:pt x="182343" y="41828"/>
                    <a:pt x="183038" y="40437"/>
                    <a:pt x="183732" y="39128"/>
                  </a:cubicBezTo>
                  <a:lnTo>
                    <a:pt x="183732" y="38842"/>
                  </a:lnTo>
                  <a:cubicBezTo>
                    <a:pt x="190632" y="25102"/>
                    <a:pt x="195409" y="13569"/>
                    <a:pt x="197695" y="7680"/>
                  </a:cubicBezTo>
                  <a:lnTo>
                    <a:pt x="197695" y="7680"/>
                  </a:lnTo>
                  <a:cubicBezTo>
                    <a:pt x="198757" y="5022"/>
                    <a:pt x="199288" y="3591"/>
                    <a:pt x="199288" y="3591"/>
                  </a:cubicBezTo>
                  <a:cubicBezTo>
                    <a:pt x="199288" y="3591"/>
                    <a:pt x="195205" y="2896"/>
                    <a:pt x="188590" y="2037"/>
                  </a:cubicBezTo>
                  <a:lnTo>
                    <a:pt x="187896" y="2037"/>
                  </a:lnTo>
                  <a:lnTo>
                    <a:pt x="185896" y="1791"/>
                  </a:lnTo>
                  <a:lnTo>
                    <a:pt x="184671" y="1791"/>
                  </a:lnTo>
                  <a:lnTo>
                    <a:pt x="182752" y="1791"/>
                  </a:lnTo>
                  <a:lnTo>
                    <a:pt x="180955" y="1587"/>
                  </a:lnTo>
                  <a:lnTo>
                    <a:pt x="179240" y="1587"/>
                  </a:lnTo>
                  <a:lnTo>
                    <a:pt x="175647" y="605"/>
                  </a:lnTo>
                  <a:lnTo>
                    <a:pt x="173933" y="605"/>
                  </a:lnTo>
                  <a:lnTo>
                    <a:pt x="171442" y="401"/>
                  </a:lnTo>
                  <a:lnTo>
                    <a:pt x="169646" y="401"/>
                  </a:lnTo>
                  <a:lnTo>
                    <a:pt x="167032" y="196"/>
                  </a:lnTo>
                  <a:lnTo>
                    <a:pt x="165113" y="196"/>
                  </a:lnTo>
                  <a:lnTo>
                    <a:pt x="162255" y="196"/>
                  </a:lnTo>
                  <a:lnTo>
                    <a:pt x="160459" y="196"/>
                  </a:lnTo>
                  <a:lnTo>
                    <a:pt x="155723" y="-49"/>
                  </a:lnTo>
                  <a:lnTo>
                    <a:pt x="154702" y="-49"/>
                  </a:lnTo>
                  <a:lnTo>
                    <a:pt x="150619" y="-49"/>
                  </a:lnTo>
                  <a:lnTo>
                    <a:pt x="148659" y="-49"/>
                  </a:lnTo>
                  <a:lnTo>
                    <a:pt x="145475" y="-49"/>
                  </a:lnTo>
                  <a:lnTo>
                    <a:pt x="132368" y="-49"/>
                  </a:lnTo>
                  <a:lnTo>
                    <a:pt x="127061" y="-49"/>
                  </a:lnTo>
                  <a:lnTo>
                    <a:pt x="125101" y="-49"/>
                  </a:lnTo>
                  <a:lnTo>
                    <a:pt x="121467" y="-49"/>
                  </a:lnTo>
                  <a:lnTo>
                    <a:pt x="119140" y="-49"/>
                  </a:lnTo>
                  <a:lnTo>
                    <a:pt x="115832" y="196"/>
                  </a:lnTo>
                  <a:lnTo>
                    <a:pt x="113423" y="401"/>
                  </a:lnTo>
                  <a:lnTo>
                    <a:pt x="109994" y="728"/>
                  </a:lnTo>
                  <a:lnTo>
                    <a:pt x="107748" y="933"/>
                  </a:lnTo>
                  <a:lnTo>
                    <a:pt x="102930" y="1546"/>
                  </a:lnTo>
                  <a:lnTo>
                    <a:pt x="101011" y="1832"/>
                  </a:lnTo>
                  <a:lnTo>
                    <a:pt x="96724" y="2487"/>
                  </a:lnTo>
                  <a:lnTo>
                    <a:pt x="94560" y="2855"/>
                  </a:lnTo>
                  <a:lnTo>
                    <a:pt x="91171" y="3468"/>
                  </a:lnTo>
                  <a:lnTo>
                    <a:pt x="88885" y="3959"/>
                  </a:lnTo>
                  <a:lnTo>
                    <a:pt x="85578" y="4695"/>
                  </a:lnTo>
                  <a:lnTo>
                    <a:pt x="83373" y="5186"/>
                  </a:lnTo>
                  <a:lnTo>
                    <a:pt x="79739" y="6167"/>
                  </a:lnTo>
                  <a:lnTo>
                    <a:pt x="78024" y="6617"/>
                  </a:lnTo>
                  <a:lnTo>
                    <a:pt x="72921" y="8171"/>
                  </a:lnTo>
                  <a:lnTo>
                    <a:pt x="71369" y="8744"/>
                  </a:lnTo>
                  <a:lnTo>
                    <a:pt x="67858" y="10011"/>
                  </a:lnTo>
                  <a:cubicBezTo>
                    <a:pt x="67205" y="10216"/>
                    <a:pt x="66592" y="10502"/>
                    <a:pt x="65939" y="10747"/>
                  </a:cubicBezTo>
                  <a:lnTo>
                    <a:pt x="62877" y="12056"/>
                  </a:lnTo>
                  <a:lnTo>
                    <a:pt x="60999" y="12874"/>
                  </a:lnTo>
                  <a:lnTo>
                    <a:pt x="57896" y="14387"/>
                  </a:lnTo>
                  <a:lnTo>
                    <a:pt x="56344" y="15205"/>
                  </a:lnTo>
                  <a:cubicBezTo>
                    <a:pt x="54792" y="15982"/>
                    <a:pt x="53323" y="16841"/>
                    <a:pt x="51894" y="17699"/>
                  </a:cubicBezTo>
                  <a:cubicBezTo>
                    <a:pt x="49689" y="19049"/>
                    <a:pt x="47607" y="20521"/>
                    <a:pt x="45647" y="21993"/>
                  </a:cubicBezTo>
                  <a:lnTo>
                    <a:pt x="44299" y="22975"/>
                  </a:lnTo>
                  <a:cubicBezTo>
                    <a:pt x="42380" y="24447"/>
                    <a:pt x="40543" y="25960"/>
                    <a:pt x="38828" y="27555"/>
                  </a:cubicBezTo>
                  <a:lnTo>
                    <a:pt x="38175" y="28169"/>
                  </a:lnTo>
                  <a:cubicBezTo>
                    <a:pt x="36623" y="29641"/>
                    <a:pt x="35113" y="31154"/>
                    <a:pt x="33725" y="32708"/>
                  </a:cubicBezTo>
                  <a:lnTo>
                    <a:pt x="32745" y="33730"/>
                  </a:lnTo>
                  <a:cubicBezTo>
                    <a:pt x="31234" y="35407"/>
                    <a:pt x="29846" y="37125"/>
                    <a:pt x="28662" y="38883"/>
                  </a:cubicBezTo>
                  <a:cubicBezTo>
                    <a:pt x="28376" y="39210"/>
                    <a:pt x="28131" y="39578"/>
                    <a:pt x="27886" y="39905"/>
                  </a:cubicBezTo>
                  <a:cubicBezTo>
                    <a:pt x="26702" y="41500"/>
                    <a:pt x="25599" y="43095"/>
                    <a:pt x="24538" y="44731"/>
                  </a:cubicBezTo>
                  <a:lnTo>
                    <a:pt x="23925" y="45631"/>
                  </a:lnTo>
                  <a:cubicBezTo>
                    <a:pt x="22782" y="47471"/>
                    <a:pt x="21721" y="49311"/>
                    <a:pt x="20700" y="51152"/>
                  </a:cubicBezTo>
                  <a:lnTo>
                    <a:pt x="20006" y="52378"/>
                  </a:lnTo>
                  <a:cubicBezTo>
                    <a:pt x="19108" y="54178"/>
                    <a:pt x="18209" y="55936"/>
                    <a:pt x="17393" y="57695"/>
                  </a:cubicBezTo>
                  <a:cubicBezTo>
                    <a:pt x="17378" y="57844"/>
                    <a:pt x="17378" y="57995"/>
                    <a:pt x="17393" y="58145"/>
                  </a:cubicBezTo>
                  <a:cubicBezTo>
                    <a:pt x="16535" y="60026"/>
                    <a:pt x="15760" y="61907"/>
                    <a:pt x="15025" y="63829"/>
                  </a:cubicBezTo>
                  <a:lnTo>
                    <a:pt x="14494" y="65097"/>
                  </a:lnTo>
                  <a:cubicBezTo>
                    <a:pt x="13800" y="66978"/>
                    <a:pt x="13147" y="68859"/>
                    <a:pt x="12534" y="70699"/>
                  </a:cubicBezTo>
                  <a:lnTo>
                    <a:pt x="12534" y="71149"/>
                  </a:lnTo>
                  <a:cubicBezTo>
                    <a:pt x="12003" y="72867"/>
                    <a:pt x="11472" y="74625"/>
                    <a:pt x="11023" y="76343"/>
                  </a:cubicBezTo>
                  <a:cubicBezTo>
                    <a:pt x="11023" y="76711"/>
                    <a:pt x="10819" y="77120"/>
                    <a:pt x="10697" y="77529"/>
                  </a:cubicBezTo>
                  <a:cubicBezTo>
                    <a:pt x="10248" y="79287"/>
                    <a:pt x="9799" y="81046"/>
                    <a:pt x="9431" y="82763"/>
                  </a:cubicBezTo>
                  <a:cubicBezTo>
                    <a:pt x="9408" y="83063"/>
                    <a:pt x="9408" y="83364"/>
                    <a:pt x="9431" y="83663"/>
                  </a:cubicBezTo>
                  <a:cubicBezTo>
                    <a:pt x="9104" y="85176"/>
                    <a:pt x="8819" y="86648"/>
                    <a:pt x="8533" y="88121"/>
                  </a:cubicBezTo>
                  <a:cubicBezTo>
                    <a:pt x="8533" y="88448"/>
                    <a:pt x="8533" y="88775"/>
                    <a:pt x="8533" y="89102"/>
                  </a:cubicBezTo>
                  <a:cubicBezTo>
                    <a:pt x="8261" y="90683"/>
                    <a:pt x="8016" y="92237"/>
                    <a:pt x="7798" y="93764"/>
                  </a:cubicBezTo>
                  <a:lnTo>
                    <a:pt x="7798" y="94786"/>
                  </a:lnTo>
                  <a:cubicBezTo>
                    <a:pt x="7798" y="96095"/>
                    <a:pt x="7471" y="97363"/>
                    <a:pt x="7349" y="98590"/>
                  </a:cubicBezTo>
                  <a:cubicBezTo>
                    <a:pt x="7329" y="98821"/>
                    <a:pt x="7329" y="99054"/>
                    <a:pt x="7349" y="99285"/>
                  </a:cubicBezTo>
                  <a:cubicBezTo>
                    <a:pt x="7349" y="100634"/>
                    <a:pt x="7104" y="101902"/>
                    <a:pt x="7022" y="103129"/>
                  </a:cubicBezTo>
                  <a:cubicBezTo>
                    <a:pt x="7022" y="103456"/>
                    <a:pt x="7022" y="103783"/>
                    <a:pt x="7022" y="104151"/>
                  </a:cubicBezTo>
                  <a:cubicBezTo>
                    <a:pt x="7022" y="105174"/>
                    <a:pt x="7022" y="106114"/>
                    <a:pt x="7022" y="107014"/>
                  </a:cubicBezTo>
                  <a:lnTo>
                    <a:pt x="7022" y="106932"/>
                  </a:lnTo>
                  <a:lnTo>
                    <a:pt x="7022" y="106932"/>
                  </a:lnTo>
                  <a:cubicBezTo>
                    <a:pt x="6777" y="112330"/>
                    <a:pt x="7022" y="115602"/>
                    <a:pt x="7022" y="115602"/>
                  </a:cubicBezTo>
                  <a:lnTo>
                    <a:pt x="-41" y="235997"/>
                  </a:lnTo>
                  <a:lnTo>
                    <a:pt x="13106" y="235997"/>
                  </a:lnTo>
                  <a:cubicBezTo>
                    <a:pt x="13106" y="235997"/>
                    <a:pt x="8533" y="151917"/>
                    <a:pt x="22537" y="143738"/>
                  </a:cubicBezTo>
                  <a:cubicBezTo>
                    <a:pt x="36542" y="135559"/>
                    <a:pt x="66429" y="134904"/>
                    <a:pt x="66715" y="134904"/>
                  </a:cubicBezTo>
                  <a:cubicBezTo>
                    <a:pt x="68430" y="134904"/>
                    <a:pt x="70185" y="134904"/>
                    <a:pt x="71941" y="134904"/>
                  </a:cubicBezTo>
                  <a:lnTo>
                    <a:pt x="73084" y="134904"/>
                  </a:lnTo>
                  <a:lnTo>
                    <a:pt x="77412" y="134904"/>
                  </a:lnTo>
                  <a:lnTo>
                    <a:pt x="78555" y="134904"/>
                  </a:lnTo>
                  <a:cubicBezTo>
                    <a:pt x="80352" y="134904"/>
                    <a:pt x="82107" y="134618"/>
                    <a:pt x="83904" y="134373"/>
                  </a:cubicBezTo>
                  <a:cubicBezTo>
                    <a:pt x="84176" y="134393"/>
                    <a:pt x="84449" y="134393"/>
                    <a:pt x="84720" y="134373"/>
                  </a:cubicBezTo>
                  <a:cubicBezTo>
                    <a:pt x="86245" y="134182"/>
                    <a:pt x="87755" y="133937"/>
                    <a:pt x="89252" y="133637"/>
                  </a:cubicBezTo>
                  <a:lnTo>
                    <a:pt x="90804" y="133309"/>
                  </a:lnTo>
                  <a:cubicBezTo>
                    <a:pt x="92315" y="133023"/>
                    <a:pt x="93785" y="132655"/>
                    <a:pt x="95254" y="132246"/>
                  </a:cubicBezTo>
                  <a:lnTo>
                    <a:pt x="96275" y="132001"/>
                  </a:lnTo>
                  <a:cubicBezTo>
                    <a:pt x="98072" y="131510"/>
                    <a:pt x="99827" y="130938"/>
                    <a:pt x="101624" y="130283"/>
                  </a:cubicBezTo>
                  <a:lnTo>
                    <a:pt x="103012" y="129793"/>
                  </a:lnTo>
                  <a:cubicBezTo>
                    <a:pt x="104359" y="129261"/>
                    <a:pt x="105748" y="128729"/>
                    <a:pt x="107095" y="128116"/>
                  </a:cubicBezTo>
                  <a:lnTo>
                    <a:pt x="108646" y="127421"/>
                  </a:lnTo>
                  <a:cubicBezTo>
                    <a:pt x="110443" y="126603"/>
                    <a:pt x="112239" y="125744"/>
                    <a:pt x="114036" y="124762"/>
                  </a:cubicBezTo>
                  <a:cubicBezTo>
                    <a:pt x="115832" y="123781"/>
                    <a:pt x="117057" y="123045"/>
                    <a:pt x="118568" y="122104"/>
                  </a:cubicBezTo>
                  <a:lnTo>
                    <a:pt x="120079" y="121082"/>
                  </a:lnTo>
                  <a:cubicBezTo>
                    <a:pt x="121059" y="120468"/>
                    <a:pt x="122038" y="119814"/>
                    <a:pt x="122978" y="119119"/>
                  </a:cubicBezTo>
                  <a:lnTo>
                    <a:pt x="124733" y="117851"/>
                  </a:lnTo>
                  <a:lnTo>
                    <a:pt x="127305" y="115847"/>
                  </a:lnTo>
                  <a:lnTo>
                    <a:pt x="129102" y="114416"/>
                  </a:lnTo>
                  <a:lnTo>
                    <a:pt x="131593" y="112289"/>
                  </a:lnTo>
                  <a:lnTo>
                    <a:pt x="133307" y="110776"/>
                  </a:lnTo>
                  <a:lnTo>
                    <a:pt x="135798" y="108445"/>
                  </a:lnTo>
                  <a:lnTo>
                    <a:pt x="137390" y="106891"/>
                  </a:lnTo>
                  <a:lnTo>
                    <a:pt x="140085" y="104151"/>
                  </a:lnTo>
                  <a:cubicBezTo>
                    <a:pt x="140534" y="103742"/>
                    <a:pt x="140942" y="103293"/>
                    <a:pt x="141351" y="102843"/>
                  </a:cubicBezTo>
                  <a:cubicBezTo>
                    <a:pt x="142698" y="101289"/>
                    <a:pt x="144005" y="99857"/>
                    <a:pt x="145270" y="98426"/>
                  </a:cubicBezTo>
                  <a:close/>
                </a:path>
              </a:pathLst>
            </a:custGeom>
            <a:solidFill>
              <a:srgbClr val="1D1D1B"/>
            </a:solidFill>
            <a:ln w="404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8287DBE5-BEE3-4C45-BDAC-C7D131105EDE}"/>
                </a:ext>
              </a:extLst>
            </p:cNvPr>
            <p:cNvSpPr/>
            <p:nvPr/>
          </p:nvSpPr>
          <p:spPr>
            <a:xfrm>
              <a:off x="939096" y="2666247"/>
              <a:ext cx="194225" cy="224635"/>
            </a:xfrm>
            <a:custGeom>
              <a:avLst/>
              <a:gdLst>
                <a:gd name="connsiteX0" fmla="*/ 97051 w 194225"/>
                <a:gd name="connsiteY0" fmla="*/ 224587 h 224635"/>
                <a:gd name="connsiteX1" fmla="*/ -41 w 194225"/>
                <a:gd name="connsiteY1" fmla="*/ 168438 h 224635"/>
                <a:gd name="connsiteX2" fmla="*/ -41 w 194225"/>
                <a:gd name="connsiteY2" fmla="*/ 56100 h 224635"/>
                <a:gd name="connsiteX3" fmla="*/ 97051 w 194225"/>
                <a:gd name="connsiteY3" fmla="*/ -49 h 224635"/>
                <a:gd name="connsiteX4" fmla="*/ 194184 w 194225"/>
                <a:gd name="connsiteY4" fmla="*/ 56100 h 224635"/>
                <a:gd name="connsiteX5" fmla="*/ 194184 w 194225"/>
                <a:gd name="connsiteY5" fmla="*/ 168438 h 224635"/>
                <a:gd name="connsiteX6" fmla="*/ 28417 w 194225"/>
                <a:gd name="connsiteY6" fmla="*/ 151958 h 224635"/>
                <a:gd name="connsiteX7" fmla="*/ 97051 w 194225"/>
                <a:gd name="connsiteY7" fmla="*/ 191626 h 224635"/>
                <a:gd name="connsiteX8" fmla="*/ 165685 w 194225"/>
                <a:gd name="connsiteY8" fmla="*/ 151958 h 224635"/>
                <a:gd name="connsiteX9" fmla="*/ 165685 w 194225"/>
                <a:gd name="connsiteY9" fmla="*/ 72581 h 224635"/>
                <a:gd name="connsiteX10" fmla="*/ 97051 w 194225"/>
                <a:gd name="connsiteY10" fmla="*/ 32912 h 224635"/>
                <a:gd name="connsiteX11" fmla="*/ 28417 w 194225"/>
                <a:gd name="connsiteY11" fmla="*/ 72581 h 224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4225" h="224635">
                  <a:moveTo>
                    <a:pt x="97051" y="224587"/>
                  </a:moveTo>
                  <a:lnTo>
                    <a:pt x="-41" y="168438"/>
                  </a:lnTo>
                  <a:lnTo>
                    <a:pt x="-41" y="56100"/>
                  </a:lnTo>
                  <a:lnTo>
                    <a:pt x="97051" y="-49"/>
                  </a:lnTo>
                  <a:lnTo>
                    <a:pt x="194184" y="56100"/>
                  </a:lnTo>
                  <a:lnTo>
                    <a:pt x="194184" y="168438"/>
                  </a:lnTo>
                  <a:close/>
                  <a:moveTo>
                    <a:pt x="28417" y="151958"/>
                  </a:moveTo>
                  <a:lnTo>
                    <a:pt x="97051" y="191626"/>
                  </a:lnTo>
                  <a:lnTo>
                    <a:pt x="165685" y="151958"/>
                  </a:lnTo>
                  <a:lnTo>
                    <a:pt x="165685" y="72581"/>
                  </a:lnTo>
                  <a:lnTo>
                    <a:pt x="97051" y="32912"/>
                  </a:lnTo>
                  <a:lnTo>
                    <a:pt x="28417" y="72581"/>
                  </a:lnTo>
                  <a:close/>
                </a:path>
              </a:pathLst>
            </a:custGeom>
            <a:solidFill>
              <a:srgbClr val="1D1D1B"/>
            </a:solidFill>
            <a:ln w="404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F083A418-A912-439F-9626-B8E6AC9443CC}"/>
                </a:ext>
              </a:extLst>
            </p:cNvPr>
            <p:cNvSpPr/>
            <p:nvPr/>
          </p:nvSpPr>
          <p:spPr>
            <a:xfrm>
              <a:off x="1235640" y="2685345"/>
              <a:ext cx="164227" cy="496014"/>
            </a:xfrm>
            <a:custGeom>
              <a:avLst/>
              <a:gdLst>
                <a:gd name="connsiteX0" fmla="*/ 109545 w 164227"/>
                <a:gd name="connsiteY0" fmla="*/ -49 h 496014"/>
                <a:gd name="connsiteX1" fmla="*/ -41 w 164227"/>
                <a:gd name="connsiteY1" fmla="*/ 495966 h 496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4227" h="496014">
                  <a:moveTo>
                    <a:pt x="109545" y="-49"/>
                  </a:moveTo>
                  <a:cubicBezTo>
                    <a:pt x="213493" y="167674"/>
                    <a:pt x="164853" y="387831"/>
                    <a:pt x="-41" y="495966"/>
                  </a:cubicBezTo>
                </a:path>
              </a:pathLst>
            </a:custGeom>
            <a:noFill/>
            <a:ln w="32213" cap="flat">
              <a:solidFill>
                <a:srgbClr val="1D1D1B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CE08EFC6-2AE6-4DCC-A168-14DDCD5234EE}"/>
                </a:ext>
              </a:extLst>
            </p:cNvPr>
            <p:cNvSpPr/>
            <p:nvPr/>
          </p:nvSpPr>
          <p:spPr>
            <a:xfrm>
              <a:off x="1173661" y="3130772"/>
              <a:ext cx="97214" cy="85511"/>
            </a:xfrm>
            <a:custGeom>
              <a:avLst/>
              <a:gdLst>
                <a:gd name="connsiteX0" fmla="*/ 50669 w 97214"/>
                <a:gd name="connsiteY0" fmla="*/ 0 h 85511"/>
                <a:gd name="connsiteX1" fmla="*/ 0 w 97214"/>
                <a:gd name="connsiteY1" fmla="*/ 83099 h 85511"/>
                <a:gd name="connsiteX2" fmla="*/ 97215 w 97214"/>
                <a:gd name="connsiteY2" fmla="*/ 85511 h 85511"/>
                <a:gd name="connsiteX3" fmla="*/ 50669 w 97214"/>
                <a:gd name="connsiteY3" fmla="*/ 0 h 85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214" h="85511">
                  <a:moveTo>
                    <a:pt x="50669" y="0"/>
                  </a:moveTo>
                  <a:lnTo>
                    <a:pt x="0" y="83099"/>
                  </a:lnTo>
                  <a:lnTo>
                    <a:pt x="97215" y="85511"/>
                  </a:lnTo>
                  <a:lnTo>
                    <a:pt x="50669" y="0"/>
                  </a:lnTo>
                  <a:close/>
                </a:path>
              </a:pathLst>
            </a:custGeom>
            <a:solidFill>
              <a:srgbClr val="1D1D1B"/>
            </a:solidFill>
            <a:ln w="404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2DF4856F-F1F4-4F37-B9D4-B090C071227D}"/>
                </a:ext>
              </a:extLst>
            </p:cNvPr>
            <p:cNvSpPr/>
            <p:nvPr/>
          </p:nvSpPr>
          <p:spPr>
            <a:xfrm>
              <a:off x="725191" y="2514149"/>
              <a:ext cx="514450" cy="177779"/>
            </a:xfrm>
            <a:custGeom>
              <a:avLst/>
              <a:gdLst>
                <a:gd name="connsiteX0" fmla="*/ -41 w 514450"/>
                <a:gd name="connsiteY0" fmla="*/ 177731 h 177779"/>
                <a:gd name="connsiteX1" fmla="*/ 498106 w 514450"/>
                <a:gd name="connsiteY1" fmla="*/ 51267 h 177779"/>
                <a:gd name="connsiteX2" fmla="*/ 514409 w 514450"/>
                <a:gd name="connsiteY2" fmla="*/ 61589 h 177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14450" h="177779">
                  <a:moveTo>
                    <a:pt x="-41" y="177731"/>
                  </a:moveTo>
                  <a:cubicBezTo>
                    <a:pt x="102652" y="5028"/>
                    <a:pt x="325680" y="-51591"/>
                    <a:pt x="498106" y="51267"/>
                  </a:cubicBezTo>
                  <a:cubicBezTo>
                    <a:pt x="503630" y="54563"/>
                    <a:pt x="509067" y="58004"/>
                    <a:pt x="514409" y="61589"/>
                  </a:cubicBezTo>
                </a:path>
              </a:pathLst>
            </a:custGeom>
            <a:noFill/>
            <a:ln w="32213" cap="flat">
              <a:solidFill>
                <a:srgbClr val="1D1D1B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A27702CC-1465-409B-88FA-E1D42745781A}"/>
                </a:ext>
              </a:extLst>
            </p:cNvPr>
            <p:cNvSpPr/>
            <p:nvPr/>
          </p:nvSpPr>
          <p:spPr>
            <a:xfrm>
              <a:off x="1197505" y="2529698"/>
              <a:ext cx="96112" cy="90704"/>
            </a:xfrm>
            <a:custGeom>
              <a:avLst/>
              <a:gdLst>
                <a:gd name="connsiteX0" fmla="*/ 0 w 96112"/>
                <a:gd name="connsiteY0" fmla="*/ 76105 h 90704"/>
                <a:gd name="connsiteX1" fmla="*/ 96112 w 96112"/>
                <a:gd name="connsiteY1" fmla="*/ 90705 h 90704"/>
                <a:gd name="connsiteX2" fmla="*/ 60672 w 96112"/>
                <a:gd name="connsiteY2" fmla="*/ 0 h 90704"/>
                <a:gd name="connsiteX3" fmla="*/ 0 w 96112"/>
                <a:gd name="connsiteY3" fmla="*/ 76105 h 90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112" h="90704">
                  <a:moveTo>
                    <a:pt x="0" y="76105"/>
                  </a:moveTo>
                  <a:lnTo>
                    <a:pt x="96112" y="90705"/>
                  </a:lnTo>
                  <a:lnTo>
                    <a:pt x="60672" y="0"/>
                  </a:lnTo>
                  <a:lnTo>
                    <a:pt x="0" y="76105"/>
                  </a:lnTo>
                  <a:close/>
                </a:path>
              </a:pathLst>
            </a:custGeom>
            <a:solidFill>
              <a:srgbClr val="1D1D1B"/>
            </a:solidFill>
            <a:ln w="404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9202850A-472D-401A-A9F7-BAD8FB52354F}"/>
                </a:ext>
              </a:extLst>
            </p:cNvPr>
            <p:cNvSpPr/>
            <p:nvPr/>
          </p:nvSpPr>
          <p:spPr>
            <a:xfrm>
              <a:off x="674548" y="2837433"/>
              <a:ext cx="433989" cy="403136"/>
            </a:xfrm>
            <a:custGeom>
              <a:avLst/>
              <a:gdLst>
                <a:gd name="connsiteX0" fmla="*/ 433948 w 433989"/>
                <a:gd name="connsiteY0" fmla="*/ 395937 h 403136"/>
                <a:gd name="connsiteX1" fmla="*/ 7028 w 433989"/>
                <a:gd name="connsiteY1" fmla="*/ 111082 h 403136"/>
                <a:gd name="connsiteX2" fmla="*/ 2137 w 433989"/>
                <a:gd name="connsiteY2" fmla="*/ -49 h 403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33989" h="403136">
                  <a:moveTo>
                    <a:pt x="433948" y="395937"/>
                  </a:moveTo>
                  <a:cubicBezTo>
                    <a:pt x="237523" y="435357"/>
                    <a:pt x="46384" y="307823"/>
                    <a:pt x="7028" y="111082"/>
                  </a:cubicBezTo>
                  <a:cubicBezTo>
                    <a:pt x="-289" y="74510"/>
                    <a:pt x="-1938" y="37027"/>
                    <a:pt x="2137" y="-49"/>
                  </a:cubicBezTo>
                </a:path>
              </a:pathLst>
            </a:custGeom>
            <a:noFill/>
            <a:ln w="32213" cap="flat">
              <a:solidFill>
                <a:srgbClr val="1D1D1B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ihandform: Form 51">
              <a:extLst>
                <a:ext uri="{FF2B5EF4-FFF2-40B4-BE49-F238E27FC236}">
                  <a16:creationId xmlns:a16="http://schemas.microsoft.com/office/drawing/2014/main" id="{D5FB5E56-4A72-44C0-B9DF-ADEB28CE831C}"/>
                </a:ext>
              </a:extLst>
            </p:cNvPr>
            <p:cNvSpPr/>
            <p:nvPr/>
          </p:nvSpPr>
          <p:spPr>
            <a:xfrm>
              <a:off x="627446" y="2768934"/>
              <a:ext cx="95499" cy="91972"/>
            </a:xfrm>
            <a:custGeom>
              <a:avLst/>
              <a:gdLst>
                <a:gd name="connsiteX0" fmla="*/ 95500 w 95499"/>
                <a:gd name="connsiteY0" fmla="*/ 91973 h 91972"/>
                <a:gd name="connsiteX1" fmla="*/ 63531 w 95499"/>
                <a:gd name="connsiteY1" fmla="*/ 0 h 91972"/>
                <a:gd name="connsiteX2" fmla="*/ 0 w 95499"/>
                <a:gd name="connsiteY2" fmla="*/ 73734 h 91972"/>
                <a:gd name="connsiteX3" fmla="*/ 95500 w 95499"/>
                <a:gd name="connsiteY3" fmla="*/ 91973 h 91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499" h="91972">
                  <a:moveTo>
                    <a:pt x="95500" y="91973"/>
                  </a:moveTo>
                  <a:lnTo>
                    <a:pt x="63531" y="0"/>
                  </a:lnTo>
                  <a:lnTo>
                    <a:pt x="0" y="73734"/>
                  </a:lnTo>
                  <a:lnTo>
                    <a:pt x="95500" y="91973"/>
                  </a:lnTo>
                  <a:close/>
                </a:path>
              </a:pathLst>
            </a:custGeom>
            <a:solidFill>
              <a:srgbClr val="1D1D1B"/>
            </a:solidFill>
            <a:ln w="404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3" name="Grafik 105">
            <a:extLst>
              <a:ext uri="{FF2B5EF4-FFF2-40B4-BE49-F238E27FC236}">
                <a16:creationId xmlns:a16="http://schemas.microsoft.com/office/drawing/2014/main" id="{A26DECD7-6B0B-4A19-98A6-ED094AD0BB51}"/>
              </a:ext>
            </a:extLst>
          </p:cNvPr>
          <p:cNvSpPr/>
          <p:nvPr/>
        </p:nvSpPr>
        <p:spPr>
          <a:xfrm>
            <a:off x="1895918" y="2483405"/>
            <a:ext cx="790531" cy="790531"/>
          </a:xfrm>
          <a:custGeom>
            <a:avLst/>
            <a:gdLst>
              <a:gd name="connsiteX0" fmla="*/ 395215 w 790531"/>
              <a:gd name="connsiteY0" fmla="*/ -49 h 790531"/>
              <a:gd name="connsiteX1" fmla="*/ -50 w 790531"/>
              <a:gd name="connsiteY1" fmla="*/ 395217 h 790531"/>
              <a:gd name="connsiteX2" fmla="*/ 395215 w 790531"/>
              <a:gd name="connsiteY2" fmla="*/ 790482 h 790531"/>
              <a:gd name="connsiteX3" fmla="*/ 790481 w 790531"/>
              <a:gd name="connsiteY3" fmla="*/ 395217 h 790531"/>
              <a:gd name="connsiteX4" fmla="*/ 395215 w 790531"/>
              <a:gd name="connsiteY4" fmla="*/ -49 h 790531"/>
              <a:gd name="connsiteX5" fmla="*/ 395215 w 790531"/>
              <a:gd name="connsiteY5" fmla="*/ 761095 h 790531"/>
              <a:gd name="connsiteX6" fmla="*/ 49153 w 790531"/>
              <a:gd name="connsiteY6" fmla="*/ 514027 h 790531"/>
              <a:gd name="connsiteX7" fmla="*/ 176360 w 790531"/>
              <a:gd name="connsiteY7" fmla="*/ 514027 h 790531"/>
              <a:gd name="connsiteX8" fmla="*/ 231945 w 790531"/>
              <a:gd name="connsiteY8" fmla="*/ 570956 h 790531"/>
              <a:gd name="connsiteX9" fmla="*/ 231945 w 790531"/>
              <a:gd name="connsiteY9" fmla="*/ 608236 h 790531"/>
              <a:gd name="connsiteX10" fmla="*/ 207924 w 790531"/>
              <a:gd name="connsiteY10" fmla="*/ 654634 h 790531"/>
              <a:gd name="connsiteX11" fmla="*/ 254322 w 790531"/>
              <a:gd name="connsiteY11" fmla="*/ 678656 h 790531"/>
              <a:gd name="connsiteX12" fmla="*/ 278343 w 790531"/>
              <a:gd name="connsiteY12" fmla="*/ 632258 h 790531"/>
              <a:gd name="connsiteX13" fmla="*/ 254322 w 790531"/>
              <a:gd name="connsiteY13" fmla="*/ 608236 h 790531"/>
              <a:gd name="connsiteX14" fmla="*/ 254322 w 790531"/>
              <a:gd name="connsiteY14" fmla="*/ 562055 h 790531"/>
              <a:gd name="connsiteX15" fmla="*/ 185764 w 790531"/>
              <a:gd name="connsiteY15" fmla="*/ 491693 h 790531"/>
              <a:gd name="connsiteX16" fmla="*/ 42268 w 790531"/>
              <a:gd name="connsiteY16" fmla="*/ 491693 h 790531"/>
              <a:gd name="connsiteX17" fmla="*/ 35719 w 790531"/>
              <a:gd name="connsiteY17" fmla="*/ 463396 h 790531"/>
              <a:gd name="connsiteX18" fmla="*/ 197939 w 790531"/>
              <a:gd name="connsiteY18" fmla="*/ 463396 h 790531"/>
              <a:gd name="connsiteX19" fmla="*/ 278420 w 790531"/>
              <a:gd name="connsiteY19" fmla="*/ 544842 h 790531"/>
              <a:gd name="connsiteX20" fmla="*/ 330604 w 790531"/>
              <a:gd name="connsiteY20" fmla="*/ 544842 h 790531"/>
              <a:gd name="connsiteX21" fmla="*/ 376988 w 790531"/>
              <a:gd name="connsiteY21" fmla="*/ 568892 h 790531"/>
              <a:gd name="connsiteX22" fmla="*/ 401037 w 790531"/>
              <a:gd name="connsiteY22" fmla="*/ 522508 h 790531"/>
              <a:gd name="connsiteX23" fmla="*/ 354653 w 790531"/>
              <a:gd name="connsiteY23" fmla="*/ 498459 h 790531"/>
              <a:gd name="connsiteX24" fmla="*/ 330604 w 790531"/>
              <a:gd name="connsiteY24" fmla="*/ 522508 h 790531"/>
              <a:gd name="connsiteX25" fmla="*/ 287782 w 790531"/>
              <a:gd name="connsiteY25" fmla="*/ 522508 h 790531"/>
              <a:gd name="connsiteX26" fmla="*/ 275439 w 790531"/>
              <a:gd name="connsiteY26" fmla="*/ 510165 h 790531"/>
              <a:gd name="connsiteX27" fmla="*/ 358733 w 790531"/>
              <a:gd name="connsiteY27" fmla="*/ 428845 h 790531"/>
              <a:gd name="connsiteX28" fmla="*/ 397189 w 790531"/>
              <a:gd name="connsiteY28" fmla="*/ 428845 h 790531"/>
              <a:gd name="connsiteX29" fmla="*/ 466418 w 790531"/>
              <a:gd name="connsiteY29" fmla="*/ 499711 h 790531"/>
              <a:gd name="connsiteX30" fmla="*/ 466418 w 790531"/>
              <a:gd name="connsiteY30" fmla="*/ 533297 h 790531"/>
              <a:gd name="connsiteX31" fmla="*/ 449519 w 790531"/>
              <a:gd name="connsiteY31" fmla="*/ 582737 h 790531"/>
              <a:gd name="connsiteX32" fmla="*/ 498959 w 790531"/>
              <a:gd name="connsiteY32" fmla="*/ 599635 h 790531"/>
              <a:gd name="connsiteX33" fmla="*/ 515857 w 790531"/>
              <a:gd name="connsiteY33" fmla="*/ 550196 h 790531"/>
              <a:gd name="connsiteX34" fmla="*/ 488753 w 790531"/>
              <a:gd name="connsiteY34" fmla="*/ 530023 h 790531"/>
              <a:gd name="connsiteX35" fmla="*/ 488753 w 790531"/>
              <a:gd name="connsiteY35" fmla="*/ 490685 h 790531"/>
              <a:gd name="connsiteX36" fmla="*/ 428424 w 790531"/>
              <a:gd name="connsiteY36" fmla="*/ 428887 h 790531"/>
              <a:gd name="connsiteX37" fmla="*/ 480314 w 790531"/>
              <a:gd name="connsiteY37" fmla="*/ 428887 h 790531"/>
              <a:gd name="connsiteX38" fmla="*/ 526712 w 790531"/>
              <a:gd name="connsiteY38" fmla="*/ 452908 h 790531"/>
              <a:gd name="connsiteX39" fmla="*/ 550734 w 790531"/>
              <a:gd name="connsiteY39" fmla="*/ 406510 h 790531"/>
              <a:gd name="connsiteX40" fmla="*/ 504335 w 790531"/>
              <a:gd name="connsiteY40" fmla="*/ 382489 h 790531"/>
              <a:gd name="connsiteX41" fmla="*/ 480314 w 790531"/>
              <a:gd name="connsiteY41" fmla="*/ 406510 h 790531"/>
              <a:gd name="connsiteX42" fmla="*/ 349748 w 790531"/>
              <a:gd name="connsiteY42" fmla="*/ 406510 h 790531"/>
              <a:gd name="connsiteX43" fmla="*/ 259822 w 790531"/>
              <a:gd name="connsiteY43" fmla="*/ 494296 h 790531"/>
              <a:gd name="connsiteX44" fmla="*/ 207259 w 790531"/>
              <a:gd name="connsiteY44" fmla="*/ 441062 h 790531"/>
              <a:gd name="connsiteX45" fmla="*/ 32192 w 790531"/>
              <a:gd name="connsiteY45" fmla="*/ 441062 h 790531"/>
              <a:gd name="connsiteX46" fmla="*/ 29757 w 790531"/>
              <a:gd name="connsiteY46" fmla="*/ 412933 h 790531"/>
              <a:gd name="connsiteX47" fmla="*/ 280435 w 790531"/>
              <a:gd name="connsiteY47" fmla="*/ 412933 h 790531"/>
              <a:gd name="connsiteX48" fmla="*/ 330436 w 790531"/>
              <a:gd name="connsiteY48" fmla="*/ 364108 h 790531"/>
              <a:gd name="connsiteX49" fmla="*/ 598705 w 790531"/>
              <a:gd name="connsiteY49" fmla="*/ 364108 h 790531"/>
              <a:gd name="connsiteX50" fmla="*/ 645147 w 790531"/>
              <a:gd name="connsiteY50" fmla="*/ 388173 h 790531"/>
              <a:gd name="connsiteX51" fmla="*/ 669212 w 790531"/>
              <a:gd name="connsiteY51" fmla="*/ 341731 h 790531"/>
              <a:gd name="connsiteX52" fmla="*/ 622770 w 790531"/>
              <a:gd name="connsiteY52" fmla="*/ 317665 h 790531"/>
              <a:gd name="connsiteX53" fmla="*/ 598705 w 790531"/>
              <a:gd name="connsiteY53" fmla="*/ 341731 h 790531"/>
              <a:gd name="connsiteX54" fmla="*/ 441774 w 790531"/>
              <a:gd name="connsiteY54" fmla="*/ 341731 h 790531"/>
              <a:gd name="connsiteX55" fmla="*/ 499080 w 790531"/>
              <a:gd name="connsiteY55" fmla="*/ 282955 h 790531"/>
              <a:gd name="connsiteX56" fmla="*/ 499080 w 790531"/>
              <a:gd name="connsiteY56" fmla="*/ 242988 h 790531"/>
              <a:gd name="connsiteX57" fmla="*/ 525849 w 790531"/>
              <a:gd name="connsiteY57" fmla="*/ 198188 h 790531"/>
              <a:gd name="connsiteX58" fmla="*/ 481049 w 790531"/>
              <a:gd name="connsiteY58" fmla="*/ 171419 h 790531"/>
              <a:gd name="connsiteX59" fmla="*/ 454280 w 790531"/>
              <a:gd name="connsiteY59" fmla="*/ 216219 h 790531"/>
              <a:gd name="connsiteX60" fmla="*/ 476704 w 790531"/>
              <a:gd name="connsiteY60" fmla="*/ 241602 h 790531"/>
              <a:gd name="connsiteX61" fmla="*/ 476704 w 790531"/>
              <a:gd name="connsiteY61" fmla="*/ 274013 h 790531"/>
              <a:gd name="connsiteX62" fmla="*/ 410539 w 790531"/>
              <a:gd name="connsiteY62" fmla="*/ 341773 h 790531"/>
              <a:gd name="connsiteX63" fmla="*/ 321326 w 790531"/>
              <a:gd name="connsiteY63" fmla="*/ 341773 h 790531"/>
              <a:gd name="connsiteX64" fmla="*/ 271241 w 790531"/>
              <a:gd name="connsiteY64" fmla="*/ 390557 h 790531"/>
              <a:gd name="connsiteX65" fmla="*/ 29379 w 790531"/>
              <a:gd name="connsiteY65" fmla="*/ 390557 h 790531"/>
              <a:gd name="connsiteX66" fmla="*/ 30807 w 790531"/>
              <a:gd name="connsiteY66" fmla="*/ 362428 h 790531"/>
              <a:gd name="connsiteX67" fmla="*/ 207134 w 790531"/>
              <a:gd name="connsiteY67" fmla="*/ 362428 h 790531"/>
              <a:gd name="connsiteX68" fmla="*/ 287656 w 790531"/>
              <a:gd name="connsiteY68" fmla="*/ 280982 h 790531"/>
              <a:gd name="connsiteX69" fmla="*/ 330478 w 790531"/>
              <a:gd name="connsiteY69" fmla="*/ 280982 h 790531"/>
              <a:gd name="connsiteX70" fmla="*/ 376876 w 790531"/>
              <a:gd name="connsiteY70" fmla="*/ 305004 h 790531"/>
              <a:gd name="connsiteX71" fmla="*/ 400898 w 790531"/>
              <a:gd name="connsiteY71" fmla="*/ 258605 h 790531"/>
              <a:gd name="connsiteX72" fmla="*/ 354500 w 790531"/>
              <a:gd name="connsiteY72" fmla="*/ 234584 h 790531"/>
              <a:gd name="connsiteX73" fmla="*/ 330478 w 790531"/>
              <a:gd name="connsiteY73" fmla="*/ 258605 h 790531"/>
              <a:gd name="connsiteX74" fmla="*/ 278420 w 790531"/>
              <a:gd name="connsiteY74" fmla="*/ 258605 h 790531"/>
              <a:gd name="connsiteX75" fmla="*/ 197939 w 790531"/>
              <a:gd name="connsiteY75" fmla="*/ 340052 h 790531"/>
              <a:gd name="connsiteX76" fmla="*/ 33494 w 790531"/>
              <a:gd name="connsiteY76" fmla="*/ 340052 h 790531"/>
              <a:gd name="connsiteX77" fmla="*/ 38867 w 790531"/>
              <a:gd name="connsiteY77" fmla="*/ 312091 h 790531"/>
              <a:gd name="connsiteX78" fmla="*/ 185806 w 790531"/>
              <a:gd name="connsiteY78" fmla="*/ 312091 h 790531"/>
              <a:gd name="connsiteX79" fmla="*/ 254448 w 790531"/>
              <a:gd name="connsiteY79" fmla="*/ 241896 h 790531"/>
              <a:gd name="connsiteX80" fmla="*/ 254448 w 790531"/>
              <a:gd name="connsiteY80" fmla="*/ 200586 h 790531"/>
              <a:gd name="connsiteX81" fmla="*/ 278513 w 790531"/>
              <a:gd name="connsiteY81" fmla="*/ 154143 h 790531"/>
              <a:gd name="connsiteX82" fmla="*/ 232071 w 790531"/>
              <a:gd name="connsiteY82" fmla="*/ 130078 h 790531"/>
              <a:gd name="connsiteX83" fmla="*/ 208006 w 790531"/>
              <a:gd name="connsiteY83" fmla="*/ 176520 h 790531"/>
              <a:gd name="connsiteX84" fmla="*/ 232071 w 790531"/>
              <a:gd name="connsiteY84" fmla="*/ 200586 h 790531"/>
              <a:gd name="connsiteX85" fmla="*/ 232071 w 790531"/>
              <a:gd name="connsiteY85" fmla="*/ 232828 h 790531"/>
              <a:gd name="connsiteX86" fmla="*/ 176360 w 790531"/>
              <a:gd name="connsiteY86" fmla="*/ 289715 h 790531"/>
              <a:gd name="connsiteX87" fmla="*/ 44871 w 790531"/>
              <a:gd name="connsiteY87" fmla="*/ 289715 h 790531"/>
              <a:gd name="connsiteX88" fmla="*/ 500710 w 790531"/>
              <a:gd name="connsiteY88" fmla="*/ 44880 h 790531"/>
              <a:gd name="connsiteX89" fmla="*/ 745545 w 790531"/>
              <a:gd name="connsiteY89" fmla="*/ 500719 h 790531"/>
              <a:gd name="connsiteX90" fmla="*/ 395215 w 790531"/>
              <a:gd name="connsiteY90" fmla="*/ 761095 h 790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</a:cxnLst>
            <a:rect l="l" t="t" r="r" b="b"/>
            <a:pathLst>
              <a:path w="790531" h="790531">
                <a:moveTo>
                  <a:pt x="395215" y="-49"/>
                </a:moveTo>
                <a:cubicBezTo>
                  <a:pt x="176916" y="-49"/>
                  <a:pt x="-50" y="176917"/>
                  <a:pt x="-50" y="395217"/>
                </a:cubicBezTo>
                <a:cubicBezTo>
                  <a:pt x="-50" y="613516"/>
                  <a:pt x="176916" y="790482"/>
                  <a:pt x="395215" y="790482"/>
                </a:cubicBezTo>
                <a:cubicBezTo>
                  <a:pt x="613515" y="790482"/>
                  <a:pt x="790481" y="613516"/>
                  <a:pt x="790481" y="395217"/>
                </a:cubicBezTo>
                <a:cubicBezTo>
                  <a:pt x="790227" y="177023"/>
                  <a:pt x="613409" y="205"/>
                  <a:pt x="395215" y="-49"/>
                </a:cubicBezTo>
                <a:close/>
                <a:moveTo>
                  <a:pt x="395215" y="761095"/>
                </a:moveTo>
                <a:cubicBezTo>
                  <a:pt x="238995" y="760908"/>
                  <a:pt x="100063" y="661720"/>
                  <a:pt x="49153" y="514027"/>
                </a:cubicBezTo>
                <a:lnTo>
                  <a:pt x="176360" y="514027"/>
                </a:lnTo>
                <a:lnTo>
                  <a:pt x="231945" y="570956"/>
                </a:lnTo>
                <a:lnTo>
                  <a:pt x="231945" y="608236"/>
                </a:lnTo>
                <a:cubicBezTo>
                  <a:pt x="212499" y="614415"/>
                  <a:pt x="201745" y="635188"/>
                  <a:pt x="207924" y="654634"/>
                </a:cubicBezTo>
                <a:cubicBezTo>
                  <a:pt x="214103" y="674080"/>
                  <a:pt x="234876" y="684835"/>
                  <a:pt x="254322" y="678656"/>
                </a:cubicBezTo>
                <a:cubicBezTo>
                  <a:pt x="273768" y="672477"/>
                  <a:pt x="284523" y="651703"/>
                  <a:pt x="278343" y="632258"/>
                </a:cubicBezTo>
                <a:cubicBezTo>
                  <a:pt x="274711" y="620826"/>
                  <a:pt x="265754" y="611869"/>
                  <a:pt x="254322" y="608236"/>
                </a:cubicBezTo>
                <a:lnTo>
                  <a:pt x="254322" y="562055"/>
                </a:lnTo>
                <a:lnTo>
                  <a:pt x="185764" y="491693"/>
                </a:lnTo>
                <a:lnTo>
                  <a:pt x="42268" y="491693"/>
                </a:lnTo>
                <a:cubicBezTo>
                  <a:pt x="39707" y="482414"/>
                  <a:pt x="37566" y="472968"/>
                  <a:pt x="35719" y="463396"/>
                </a:cubicBezTo>
                <a:lnTo>
                  <a:pt x="197939" y="463396"/>
                </a:lnTo>
                <a:lnTo>
                  <a:pt x="278420" y="544842"/>
                </a:lnTo>
                <a:lnTo>
                  <a:pt x="330604" y="544842"/>
                </a:lnTo>
                <a:cubicBezTo>
                  <a:pt x="336772" y="564292"/>
                  <a:pt x="357539" y="575059"/>
                  <a:pt x="376988" y="568892"/>
                </a:cubicBezTo>
                <a:cubicBezTo>
                  <a:pt x="396438" y="562724"/>
                  <a:pt x="407205" y="541957"/>
                  <a:pt x="401037" y="522508"/>
                </a:cubicBezTo>
                <a:cubicBezTo>
                  <a:pt x="394870" y="503058"/>
                  <a:pt x="374103" y="492291"/>
                  <a:pt x="354653" y="498459"/>
                </a:cubicBezTo>
                <a:cubicBezTo>
                  <a:pt x="343204" y="502089"/>
                  <a:pt x="334235" y="511059"/>
                  <a:pt x="330604" y="522508"/>
                </a:cubicBezTo>
                <a:lnTo>
                  <a:pt x="287782" y="522508"/>
                </a:lnTo>
                <a:lnTo>
                  <a:pt x="275439" y="510165"/>
                </a:lnTo>
                <a:lnTo>
                  <a:pt x="358733" y="428845"/>
                </a:lnTo>
                <a:lnTo>
                  <a:pt x="397189" y="428845"/>
                </a:lnTo>
                <a:lnTo>
                  <a:pt x="466418" y="499711"/>
                </a:lnTo>
                <a:lnTo>
                  <a:pt x="466418" y="533297"/>
                </a:lnTo>
                <a:cubicBezTo>
                  <a:pt x="448099" y="542283"/>
                  <a:pt x="440533" y="564418"/>
                  <a:pt x="449519" y="582737"/>
                </a:cubicBezTo>
                <a:cubicBezTo>
                  <a:pt x="458505" y="601055"/>
                  <a:pt x="480640" y="608621"/>
                  <a:pt x="498959" y="599635"/>
                </a:cubicBezTo>
                <a:cubicBezTo>
                  <a:pt x="517278" y="590649"/>
                  <a:pt x="524843" y="568514"/>
                  <a:pt x="515857" y="550196"/>
                </a:cubicBezTo>
                <a:cubicBezTo>
                  <a:pt x="510607" y="539492"/>
                  <a:pt x="500513" y="531980"/>
                  <a:pt x="488753" y="530023"/>
                </a:cubicBezTo>
                <a:lnTo>
                  <a:pt x="488753" y="490685"/>
                </a:lnTo>
                <a:lnTo>
                  <a:pt x="428424" y="428887"/>
                </a:lnTo>
                <a:lnTo>
                  <a:pt x="480314" y="428887"/>
                </a:lnTo>
                <a:cubicBezTo>
                  <a:pt x="486493" y="448332"/>
                  <a:pt x="507266" y="459087"/>
                  <a:pt x="526712" y="452908"/>
                </a:cubicBezTo>
                <a:cubicBezTo>
                  <a:pt x="546158" y="446729"/>
                  <a:pt x="556913" y="425956"/>
                  <a:pt x="550734" y="406510"/>
                </a:cubicBezTo>
                <a:cubicBezTo>
                  <a:pt x="544554" y="387064"/>
                  <a:pt x="523781" y="376309"/>
                  <a:pt x="504335" y="382489"/>
                </a:cubicBezTo>
                <a:cubicBezTo>
                  <a:pt x="492903" y="386121"/>
                  <a:pt x="483947" y="395078"/>
                  <a:pt x="480314" y="406510"/>
                </a:cubicBezTo>
                <a:lnTo>
                  <a:pt x="349748" y="406510"/>
                </a:lnTo>
                <a:lnTo>
                  <a:pt x="259822" y="494296"/>
                </a:lnTo>
                <a:lnTo>
                  <a:pt x="207259" y="441062"/>
                </a:lnTo>
                <a:lnTo>
                  <a:pt x="32192" y="441062"/>
                </a:lnTo>
                <a:cubicBezTo>
                  <a:pt x="31017" y="431783"/>
                  <a:pt x="30219" y="422379"/>
                  <a:pt x="29757" y="412933"/>
                </a:cubicBezTo>
                <a:lnTo>
                  <a:pt x="280435" y="412933"/>
                </a:lnTo>
                <a:lnTo>
                  <a:pt x="330436" y="364108"/>
                </a:lnTo>
                <a:lnTo>
                  <a:pt x="598705" y="364108"/>
                </a:lnTo>
                <a:cubicBezTo>
                  <a:pt x="604884" y="383578"/>
                  <a:pt x="625677" y="394352"/>
                  <a:pt x="645147" y="388173"/>
                </a:cubicBezTo>
                <a:cubicBezTo>
                  <a:pt x="664617" y="381994"/>
                  <a:pt x="675392" y="361201"/>
                  <a:pt x="669212" y="341731"/>
                </a:cubicBezTo>
                <a:cubicBezTo>
                  <a:pt x="663033" y="322261"/>
                  <a:pt x="642240" y="311486"/>
                  <a:pt x="622770" y="317665"/>
                </a:cubicBezTo>
                <a:cubicBezTo>
                  <a:pt x="611315" y="321301"/>
                  <a:pt x="602340" y="330276"/>
                  <a:pt x="598705" y="341731"/>
                </a:cubicBezTo>
                <a:lnTo>
                  <a:pt x="441774" y="341731"/>
                </a:lnTo>
                <a:lnTo>
                  <a:pt x="499080" y="282955"/>
                </a:lnTo>
                <a:lnTo>
                  <a:pt x="499080" y="242988"/>
                </a:lnTo>
                <a:cubicBezTo>
                  <a:pt x="518843" y="238009"/>
                  <a:pt x="530828" y="217951"/>
                  <a:pt x="525849" y="198188"/>
                </a:cubicBezTo>
                <a:cubicBezTo>
                  <a:pt x="520870" y="178425"/>
                  <a:pt x="500812" y="166440"/>
                  <a:pt x="481049" y="171419"/>
                </a:cubicBezTo>
                <a:cubicBezTo>
                  <a:pt x="461286" y="176398"/>
                  <a:pt x="449301" y="196456"/>
                  <a:pt x="454280" y="216219"/>
                </a:cubicBezTo>
                <a:cubicBezTo>
                  <a:pt x="457201" y="227813"/>
                  <a:pt x="465558" y="237274"/>
                  <a:pt x="476704" y="241602"/>
                </a:cubicBezTo>
                <a:lnTo>
                  <a:pt x="476704" y="274013"/>
                </a:lnTo>
                <a:lnTo>
                  <a:pt x="410539" y="341773"/>
                </a:lnTo>
                <a:lnTo>
                  <a:pt x="321326" y="341773"/>
                </a:lnTo>
                <a:lnTo>
                  <a:pt x="271241" y="390557"/>
                </a:lnTo>
                <a:lnTo>
                  <a:pt x="29379" y="390557"/>
                </a:lnTo>
                <a:cubicBezTo>
                  <a:pt x="29379" y="381069"/>
                  <a:pt x="30009" y="371706"/>
                  <a:pt x="30807" y="362428"/>
                </a:cubicBezTo>
                <a:lnTo>
                  <a:pt x="207134" y="362428"/>
                </a:lnTo>
                <a:lnTo>
                  <a:pt x="287656" y="280982"/>
                </a:lnTo>
                <a:lnTo>
                  <a:pt x="330478" y="280982"/>
                </a:lnTo>
                <a:cubicBezTo>
                  <a:pt x="336657" y="300428"/>
                  <a:pt x="357431" y="311183"/>
                  <a:pt x="376876" y="305004"/>
                </a:cubicBezTo>
                <a:cubicBezTo>
                  <a:pt x="396322" y="298824"/>
                  <a:pt x="407077" y="278051"/>
                  <a:pt x="400898" y="258605"/>
                </a:cubicBezTo>
                <a:cubicBezTo>
                  <a:pt x="394719" y="239160"/>
                  <a:pt x="373946" y="228405"/>
                  <a:pt x="354500" y="234584"/>
                </a:cubicBezTo>
                <a:cubicBezTo>
                  <a:pt x="343068" y="238217"/>
                  <a:pt x="334111" y="247173"/>
                  <a:pt x="330478" y="258605"/>
                </a:cubicBezTo>
                <a:lnTo>
                  <a:pt x="278420" y="258605"/>
                </a:lnTo>
                <a:lnTo>
                  <a:pt x="197939" y="340052"/>
                </a:lnTo>
                <a:lnTo>
                  <a:pt x="33494" y="340052"/>
                </a:lnTo>
                <a:cubicBezTo>
                  <a:pt x="34921" y="330620"/>
                  <a:pt x="36712" y="321299"/>
                  <a:pt x="38867" y="312091"/>
                </a:cubicBezTo>
                <a:lnTo>
                  <a:pt x="185806" y="312091"/>
                </a:lnTo>
                <a:lnTo>
                  <a:pt x="254448" y="241896"/>
                </a:lnTo>
                <a:lnTo>
                  <a:pt x="254448" y="200586"/>
                </a:lnTo>
                <a:cubicBezTo>
                  <a:pt x="273918" y="194406"/>
                  <a:pt x="284693" y="173614"/>
                  <a:pt x="278513" y="154143"/>
                </a:cubicBezTo>
                <a:cubicBezTo>
                  <a:pt x="272334" y="134673"/>
                  <a:pt x="251541" y="123899"/>
                  <a:pt x="232071" y="130078"/>
                </a:cubicBezTo>
                <a:cubicBezTo>
                  <a:pt x="212601" y="136257"/>
                  <a:pt x="201827" y="157050"/>
                  <a:pt x="208006" y="176520"/>
                </a:cubicBezTo>
                <a:cubicBezTo>
                  <a:pt x="211641" y="187975"/>
                  <a:pt x="220616" y="196950"/>
                  <a:pt x="232071" y="200586"/>
                </a:cubicBezTo>
                <a:lnTo>
                  <a:pt x="232071" y="232828"/>
                </a:lnTo>
                <a:lnTo>
                  <a:pt x="176360" y="289715"/>
                </a:lnTo>
                <a:lnTo>
                  <a:pt x="44871" y="289715"/>
                </a:lnTo>
                <a:cubicBezTo>
                  <a:pt x="103138" y="96229"/>
                  <a:pt x="307224" y="-13388"/>
                  <a:pt x="500710" y="44880"/>
                </a:cubicBezTo>
                <a:cubicBezTo>
                  <a:pt x="694196" y="103147"/>
                  <a:pt x="803812" y="307233"/>
                  <a:pt x="745545" y="500719"/>
                </a:cubicBezTo>
                <a:cubicBezTo>
                  <a:pt x="698996" y="655292"/>
                  <a:pt x="556645" y="761091"/>
                  <a:pt x="395215" y="761095"/>
                </a:cubicBezTo>
                <a:close/>
              </a:path>
            </a:pathLst>
          </a:custGeom>
          <a:solidFill>
            <a:srgbClr val="1D1D1B"/>
          </a:solidFill>
          <a:ln w="41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61" name="Gruppieren 60">
            <a:extLst>
              <a:ext uri="{FF2B5EF4-FFF2-40B4-BE49-F238E27FC236}">
                <a16:creationId xmlns:a16="http://schemas.microsoft.com/office/drawing/2014/main" id="{82D5CD20-D031-4626-A148-6ED5099562C5}"/>
              </a:ext>
            </a:extLst>
          </p:cNvPr>
          <p:cNvGrpSpPr/>
          <p:nvPr/>
        </p:nvGrpSpPr>
        <p:grpSpPr>
          <a:xfrm>
            <a:off x="5703244" y="2520522"/>
            <a:ext cx="790617" cy="715353"/>
            <a:chOff x="5703244" y="2520522"/>
            <a:chExt cx="790617" cy="715353"/>
          </a:xfrm>
        </p:grpSpPr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57706AE6-F597-4370-A45D-6F92E2D6A5DA}"/>
                </a:ext>
              </a:extLst>
            </p:cNvPr>
            <p:cNvSpPr/>
            <p:nvPr/>
          </p:nvSpPr>
          <p:spPr>
            <a:xfrm>
              <a:off x="6025294" y="2776197"/>
              <a:ext cx="147939" cy="177573"/>
            </a:xfrm>
            <a:custGeom>
              <a:avLst/>
              <a:gdLst>
                <a:gd name="connsiteX0" fmla="*/ 76003 w 147939"/>
                <a:gd name="connsiteY0" fmla="*/ 152213 h 177573"/>
                <a:gd name="connsiteX1" fmla="*/ 73902 w 147939"/>
                <a:gd name="connsiteY1" fmla="*/ 152213 h 177573"/>
                <a:gd name="connsiteX2" fmla="*/ 41988 w 147939"/>
                <a:gd name="connsiteY2" fmla="*/ 146905 h 177573"/>
                <a:gd name="connsiteX3" fmla="*/ 18867 w 147939"/>
                <a:gd name="connsiteY3" fmla="*/ 131750 h 177573"/>
                <a:gd name="connsiteX4" fmla="*/ 4711 w 147939"/>
                <a:gd name="connsiteY4" fmla="*/ 107691 h 177573"/>
                <a:gd name="connsiteX5" fmla="*/ 4711 w 147939"/>
                <a:gd name="connsiteY5" fmla="*/ 44247 h 177573"/>
                <a:gd name="connsiteX6" fmla="*/ 18738 w 147939"/>
                <a:gd name="connsiteY6" fmla="*/ 20274 h 177573"/>
                <a:gd name="connsiteX7" fmla="*/ 41902 w 147939"/>
                <a:gd name="connsiteY7" fmla="*/ 5205 h 177573"/>
                <a:gd name="connsiteX8" fmla="*/ 105901 w 147939"/>
                <a:gd name="connsiteY8" fmla="*/ 5205 h 177573"/>
                <a:gd name="connsiteX9" fmla="*/ 129022 w 147939"/>
                <a:gd name="connsiteY9" fmla="*/ 20274 h 177573"/>
                <a:gd name="connsiteX10" fmla="*/ 143092 w 147939"/>
                <a:gd name="connsiteY10" fmla="*/ 44247 h 177573"/>
                <a:gd name="connsiteX11" fmla="*/ 147853 w 147939"/>
                <a:gd name="connsiteY11" fmla="*/ 76055 h 177573"/>
                <a:gd name="connsiteX12" fmla="*/ 138330 w 147939"/>
                <a:gd name="connsiteY12" fmla="*/ 118650 h 177573"/>
                <a:gd name="connsiteX13" fmla="*/ 110234 w 147939"/>
                <a:gd name="connsiteY13" fmla="*/ 144807 h 177573"/>
                <a:gd name="connsiteX14" fmla="*/ 145108 w 147939"/>
                <a:gd name="connsiteY14" fmla="*/ 177514 h 177573"/>
                <a:gd name="connsiteX15" fmla="*/ 100711 w 147939"/>
                <a:gd name="connsiteY15" fmla="*/ 177514 h 177573"/>
                <a:gd name="connsiteX16" fmla="*/ 40529 w 147939"/>
                <a:gd name="connsiteY16" fmla="*/ 76055 h 177573"/>
                <a:gd name="connsiteX17" fmla="*/ 42416 w 147939"/>
                <a:gd name="connsiteY17" fmla="*/ 93692 h 177573"/>
                <a:gd name="connsiteX18" fmla="*/ 48336 w 147939"/>
                <a:gd name="connsiteY18" fmla="*/ 108761 h 177573"/>
                <a:gd name="connsiteX19" fmla="*/ 58674 w 147939"/>
                <a:gd name="connsiteY19" fmla="*/ 119207 h 177573"/>
                <a:gd name="connsiteX20" fmla="*/ 89129 w 147939"/>
                <a:gd name="connsiteY20" fmla="*/ 119207 h 177573"/>
                <a:gd name="connsiteX21" fmla="*/ 99467 w 147939"/>
                <a:gd name="connsiteY21" fmla="*/ 108761 h 177573"/>
                <a:gd name="connsiteX22" fmla="*/ 105387 w 147939"/>
                <a:gd name="connsiteY22" fmla="*/ 93692 h 177573"/>
                <a:gd name="connsiteX23" fmla="*/ 107274 w 147939"/>
                <a:gd name="connsiteY23" fmla="*/ 76055 h 177573"/>
                <a:gd name="connsiteX24" fmla="*/ 105387 w 147939"/>
                <a:gd name="connsiteY24" fmla="*/ 58032 h 177573"/>
                <a:gd name="connsiteX25" fmla="*/ 99467 w 147939"/>
                <a:gd name="connsiteY25" fmla="*/ 43048 h 177573"/>
                <a:gd name="connsiteX26" fmla="*/ 89129 w 147939"/>
                <a:gd name="connsiteY26" fmla="*/ 32860 h 177573"/>
                <a:gd name="connsiteX27" fmla="*/ 58674 w 147939"/>
                <a:gd name="connsiteY27" fmla="*/ 32860 h 177573"/>
                <a:gd name="connsiteX28" fmla="*/ 48336 w 147939"/>
                <a:gd name="connsiteY28" fmla="*/ 43048 h 177573"/>
                <a:gd name="connsiteX29" fmla="*/ 42416 w 147939"/>
                <a:gd name="connsiteY29" fmla="*/ 58032 h 177573"/>
                <a:gd name="connsiteX30" fmla="*/ 40529 w 147939"/>
                <a:gd name="connsiteY30" fmla="*/ 76055 h 177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7939" h="177573">
                  <a:moveTo>
                    <a:pt x="76003" y="152213"/>
                  </a:moveTo>
                  <a:lnTo>
                    <a:pt x="73902" y="152213"/>
                  </a:lnTo>
                  <a:cubicBezTo>
                    <a:pt x="63027" y="152411"/>
                    <a:pt x="52209" y="150612"/>
                    <a:pt x="41988" y="146905"/>
                  </a:cubicBezTo>
                  <a:cubicBezTo>
                    <a:pt x="33237" y="143653"/>
                    <a:pt x="25333" y="138473"/>
                    <a:pt x="18867" y="131750"/>
                  </a:cubicBezTo>
                  <a:cubicBezTo>
                    <a:pt x="12447" y="124857"/>
                    <a:pt x="7615" y="116645"/>
                    <a:pt x="4711" y="107691"/>
                  </a:cubicBezTo>
                  <a:cubicBezTo>
                    <a:pt x="-1637" y="87018"/>
                    <a:pt x="-1637" y="64921"/>
                    <a:pt x="4711" y="44247"/>
                  </a:cubicBezTo>
                  <a:cubicBezTo>
                    <a:pt x="7580" y="35331"/>
                    <a:pt x="12367" y="27149"/>
                    <a:pt x="18738" y="20274"/>
                  </a:cubicBezTo>
                  <a:cubicBezTo>
                    <a:pt x="25226" y="13576"/>
                    <a:pt x="33143" y="8426"/>
                    <a:pt x="41902" y="5205"/>
                  </a:cubicBezTo>
                  <a:cubicBezTo>
                    <a:pt x="62655" y="-1815"/>
                    <a:pt x="85148" y="-1815"/>
                    <a:pt x="105901" y="5205"/>
                  </a:cubicBezTo>
                  <a:cubicBezTo>
                    <a:pt x="114652" y="8415"/>
                    <a:pt x="122558" y="13568"/>
                    <a:pt x="129022" y="20274"/>
                  </a:cubicBezTo>
                  <a:cubicBezTo>
                    <a:pt x="135416" y="27139"/>
                    <a:pt x="140220" y="35323"/>
                    <a:pt x="143092" y="44247"/>
                  </a:cubicBezTo>
                  <a:cubicBezTo>
                    <a:pt x="146400" y="54521"/>
                    <a:pt x="148008" y="65264"/>
                    <a:pt x="147853" y="76055"/>
                  </a:cubicBezTo>
                  <a:cubicBezTo>
                    <a:pt x="148279" y="90823"/>
                    <a:pt x="145006" y="105464"/>
                    <a:pt x="138330" y="118650"/>
                  </a:cubicBezTo>
                  <a:cubicBezTo>
                    <a:pt x="132190" y="130283"/>
                    <a:pt x="122288" y="139502"/>
                    <a:pt x="110234" y="144807"/>
                  </a:cubicBezTo>
                  <a:lnTo>
                    <a:pt x="145108" y="177514"/>
                  </a:lnTo>
                  <a:lnTo>
                    <a:pt x="100711" y="177514"/>
                  </a:lnTo>
                  <a:close/>
                  <a:moveTo>
                    <a:pt x="40529" y="76055"/>
                  </a:moveTo>
                  <a:cubicBezTo>
                    <a:pt x="40499" y="81986"/>
                    <a:pt x="41132" y="87901"/>
                    <a:pt x="42416" y="93692"/>
                  </a:cubicBezTo>
                  <a:cubicBezTo>
                    <a:pt x="43535" y="99009"/>
                    <a:pt x="45536" y="104102"/>
                    <a:pt x="48336" y="108761"/>
                  </a:cubicBezTo>
                  <a:cubicBezTo>
                    <a:pt x="50903" y="113012"/>
                    <a:pt x="54447" y="116592"/>
                    <a:pt x="58674" y="119207"/>
                  </a:cubicBezTo>
                  <a:cubicBezTo>
                    <a:pt x="68159" y="124401"/>
                    <a:pt x="79645" y="124401"/>
                    <a:pt x="89129" y="119207"/>
                  </a:cubicBezTo>
                  <a:cubicBezTo>
                    <a:pt x="93357" y="116592"/>
                    <a:pt x="96900" y="113012"/>
                    <a:pt x="99467" y="108761"/>
                  </a:cubicBezTo>
                  <a:cubicBezTo>
                    <a:pt x="102249" y="104093"/>
                    <a:pt x="104248" y="99003"/>
                    <a:pt x="105387" y="93692"/>
                  </a:cubicBezTo>
                  <a:cubicBezTo>
                    <a:pt x="106650" y="87898"/>
                    <a:pt x="107282" y="81985"/>
                    <a:pt x="107274" y="76055"/>
                  </a:cubicBezTo>
                  <a:cubicBezTo>
                    <a:pt x="107294" y="69997"/>
                    <a:pt x="106661" y="63955"/>
                    <a:pt x="105387" y="58032"/>
                  </a:cubicBezTo>
                  <a:cubicBezTo>
                    <a:pt x="104256" y="52745"/>
                    <a:pt x="102256" y="47682"/>
                    <a:pt x="99467" y="43048"/>
                  </a:cubicBezTo>
                  <a:cubicBezTo>
                    <a:pt x="96893" y="38872"/>
                    <a:pt x="93347" y="35377"/>
                    <a:pt x="89129" y="32860"/>
                  </a:cubicBezTo>
                  <a:cubicBezTo>
                    <a:pt x="79615" y="27783"/>
                    <a:pt x="68189" y="27783"/>
                    <a:pt x="58674" y="32860"/>
                  </a:cubicBezTo>
                  <a:cubicBezTo>
                    <a:pt x="54457" y="35377"/>
                    <a:pt x="50911" y="38872"/>
                    <a:pt x="48336" y="43048"/>
                  </a:cubicBezTo>
                  <a:cubicBezTo>
                    <a:pt x="45529" y="47673"/>
                    <a:pt x="43527" y="52739"/>
                    <a:pt x="42416" y="58032"/>
                  </a:cubicBezTo>
                  <a:cubicBezTo>
                    <a:pt x="41122" y="63951"/>
                    <a:pt x="40489" y="69996"/>
                    <a:pt x="40529" y="76055"/>
                  </a:cubicBezTo>
                  <a:close/>
                </a:path>
              </a:pathLst>
            </a:custGeom>
            <a:solidFill>
              <a:srgbClr val="1D1D1B"/>
            </a:solidFill>
            <a:ln w="424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69" name="Grafik 106">
              <a:extLst>
                <a:ext uri="{FF2B5EF4-FFF2-40B4-BE49-F238E27FC236}">
                  <a16:creationId xmlns:a16="http://schemas.microsoft.com/office/drawing/2014/main" id="{CC8C0F80-C951-4A3A-BB47-067AA58DAA77}"/>
                </a:ext>
              </a:extLst>
            </p:cNvPr>
            <p:cNvGrpSpPr/>
            <p:nvPr/>
          </p:nvGrpSpPr>
          <p:grpSpPr>
            <a:xfrm>
              <a:off x="5703244" y="2520522"/>
              <a:ext cx="790617" cy="715353"/>
              <a:chOff x="5703244" y="2520522"/>
              <a:chExt cx="790617" cy="715353"/>
            </a:xfrm>
            <a:solidFill>
              <a:srgbClr val="1D1D1B"/>
            </a:solidFill>
          </p:grpSpPr>
          <p:sp>
            <p:nvSpPr>
              <p:cNvPr id="71" name="Freihandform: Form 70">
                <a:extLst>
                  <a:ext uri="{FF2B5EF4-FFF2-40B4-BE49-F238E27FC236}">
                    <a16:creationId xmlns:a16="http://schemas.microsoft.com/office/drawing/2014/main" id="{77671B2E-C61A-40FA-A273-334FC857B5AA}"/>
                  </a:ext>
                </a:extLst>
              </p:cNvPr>
              <p:cNvSpPr/>
              <p:nvPr/>
            </p:nvSpPr>
            <p:spPr>
              <a:xfrm>
                <a:off x="5703244" y="2734941"/>
                <a:ext cx="582997" cy="493128"/>
              </a:xfrm>
              <a:custGeom>
                <a:avLst/>
                <a:gdLst>
                  <a:gd name="connsiteX0" fmla="*/ 194816 w 582997"/>
                  <a:gd name="connsiteY0" fmla="*/ 479181 h 493128"/>
                  <a:gd name="connsiteX1" fmla="*/ 186237 w 582997"/>
                  <a:gd name="connsiteY1" fmla="*/ 471604 h 493128"/>
                  <a:gd name="connsiteX2" fmla="*/ 166677 w 582997"/>
                  <a:gd name="connsiteY2" fmla="*/ 441637 h 493128"/>
                  <a:gd name="connsiteX3" fmla="*/ 156210 w 582997"/>
                  <a:gd name="connsiteY3" fmla="*/ 392278 h 493128"/>
                  <a:gd name="connsiteX4" fmla="*/ 156210 w 582997"/>
                  <a:gd name="connsiteY4" fmla="*/ 352422 h 493128"/>
                  <a:gd name="connsiteX5" fmla="*/ 164489 w 582997"/>
                  <a:gd name="connsiteY5" fmla="*/ 292489 h 493128"/>
                  <a:gd name="connsiteX6" fmla="*/ 168092 w 582997"/>
                  <a:gd name="connsiteY6" fmla="*/ 276392 h 493128"/>
                  <a:gd name="connsiteX7" fmla="*/ 165990 w 582997"/>
                  <a:gd name="connsiteY7" fmla="*/ 272967 h 493128"/>
                  <a:gd name="connsiteX8" fmla="*/ 126398 w 582997"/>
                  <a:gd name="connsiteY8" fmla="*/ 260553 h 493128"/>
                  <a:gd name="connsiteX9" fmla="*/ 101776 w 582997"/>
                  <a:gd name="connsiteY9" fmla="*/ 250749 h 493128"/>
                  <a:gd name="connsiteX10" fmla="*/ 68618 w 582997"/>
                  <a:gd name="connsiteY10" fmla="*/ 234524 h 493128"/>
                  <a:gd name="connsiteX11" fmla="*/ 21905 w 582997"/>
                  <a:gd name="connsiteY11" fmla="*/ 197323 h 493128"/>
                  <a:gd name="connsiteX12" fmla="*/ 2216 w 582997"/>
                  <a:gd name="connsiteY12" fmla="*/ 161106 h 493128"/>
                  <a:gd name="connsiteX13" fmla="*/ 3846 w 582997"/>
                  <a:gd name="connsiteY13" fmla="*/ 119837 h 493128"/>
                  <a:gd name="connsiteX14" fmla="*/ 23578 w 582997"/>
                  <a:gd name="connsiteY14" fmla="*/ 87131 h 493128"/>
                  <a:gd name="connsiteX15" fmla="*/ 35117 w 582997"/>
                  <a:gd name="connsiteY15" fmla="*/ 75401 h 493128"/>
                  <a:gd name="connsiteX16" fmla="*/ 36275 w 582997"/>
                  <a:gd name="connsiteY16" fmla="*/ 71120 h 493128"/>
                  <a:gd name="connsiteX17" fmla="*/ 35717 w 582997"/>
                  <a:gd name="connsiteY17" fmla="*/ 41538 h 493128"/>
                  <a:gd name="connsiteX18" fmla="*/ 68790 w 582997"/>
                  <a:gd name="connsiteY18" fmla="*/ 3994 h 493128"/>
                  <a:gd name="connsiteX19" fmla="*/ 97529 w 582997"/>
                  <a:gd name="connsiteY19" fmla="*/ 655 h 493128"/>
                  <a:gd name="connsiteX20" fmla="*/ 145057 w 582997"/>
                  <a:gd name="connsiteY20" fmla="*/ 56650 h 493128"/>
                  <a:gd name="connsiteX21" fmla="*/ 87818 w 582997"/>
                  <a:gd name="connsiteY21" fmla="*/ 110790 h 493128"/>
                  <a:gd name="connsiteX22" fmla="*/ 67245 w 582997"/>
                  <a:gd name="connsiteY22" fmla="*/ 106267 h 493128"/>
                  <a:gd name="connsiteX23" fmla="*/ 53948 w 582997"/>
                  <a:gd name="connsiteY23" fmla="*/ 97962 h 493128"/>
                  <a:gd name="connsiteX24" fmla="*/ 49873 w 582997"/>
                  <a:gd name="connsiteY24" fmla="*/ 98218 h 493128"/>
                  <a:gd name="connsiteX25" fmla="*/ 30141 w 582997"/>
                  <a:gd name="connsiteY25" fmla="*/ 125916 h 493128"/>
                  <a:gd name="connsiteX26" fmla="*/ 27396 w 582997"/>
                  <a:gd name="connsiteY26" fmla="*/ 151131 h 493128"/>
                  <a:gd name="connsiteX27" fmla="*/ 40607 w 582997"/>
                  <a:gd name="connsiteY27" fmla="*/ 178230 h 493128"/>
                  <a:gd name="connsiteX28" fmla="*/ 62441 w 582997"/>
                  <a:gd name="connsiteY28" fmla="*/ 198650 h 493128"/>
                  <a:gd name="connsiteX29" fmla="*/ 98773 w 582997"/>
                  <a:gd name="connsiteY29" fmla="*/ 220312 h 493128"/>
                  <a:gd name="connsiteX30" fmla="*/ 123481 w 582997"/>
                  <a:gd name="connsiteY30" fmla="*/ 230971 h 493128"/>
                  <a:gd name="connsiteX31" fmla="*/ 162087 w 582997"/>
                  <a:gd name="connsiteY31" fmla="*/ 244199 h 493128"/>
                  <a:gd name="connsiteX32" fmla="*/ 189969 w 582997"/>
                  <a:gd name="connsiteY32" fmla="*/ 251391 h 493128"/>
                  <a:gd name="connsiteX33" fmla="*/ 286269 w 582997"/>
                  <a:gd name="connsiteY33" fmla="*/ 267702 h 493128"/>
                  <a:gd name="connsiteX34" fmla="*/ 319555 w 582997"/>
                  <a:gd name="connsiteY34" fmla="*/ 270784 h 493128"/>
                  <a:gd name="connsiteX35" fmla="*/ 382268 w 582997"/>
                  <a:gd name="connsiteY35" fmla="*/ 272711 h 493128"/>
                  <a:gd name="connsiteX36" fmla="*/ 451973 w 582997"/>
                  <a:gd name="connsiteY36" fmla="*/ 270442 h 493128"/>
                  <a:gd name="connsiteX37" fmla="*/ 507737 w 582997"/>
                  <a:gd name="connsiteY37" fmla="*/ 264834 h 493128"/>
                  <a:gd name="connsiteX38" fmla="*/ 555694 w 582997"/>
                  <a:gd name="connsiteY38" fmla="*/ 257427 h 493128"/>
                  <a:gd name="connsiteX39" fmla="*/ 574139 w 582997"/>
                  <a:gd name="connsiteY39" fmla="*/ 253489 h 493128"/>
                  <a:gd name="connsiteX40" fmla="*/ 577099 w 582997"/>
                  <a:gd name="connsiteY40" fmla="*/ 254945 h 493128"/>
                  <a:gd name="connsiteX41" fmla="*/ 582761 w 582997"/>
                  <a:gd name="connsiteY41" fmla="*/ 276349 h 493128"/>
                  <a:gd name="connsiteX42" fmla="*/ 580788 w 582997"/>
                  <a:gd name="connsiteY42" fmla="*/ 279175 h 493128"/>
                  <a:gd name="connsiteX43" fmla="*/ 520134 w 582997"/>
                  <a:gd name="connsiteY43" fmla="*/ 290048 h 493128"/>
                  <a:gd name="connsiteX44" fmla="*/ 456863 w 582997"/>
                  <a:gd name="connsiteY44" fmla="*/ 296641 h 493128"/>
                  <a:gd name="connsiteX45" fmla="*/ 396424 w 582997"/>
                  <a:gd name="connsiteY45" fmla="*/ 299295 h 493128"/>
                  <a:gd name="connsiteX46" fmla="*/ 370300 w 582997"/>
                  <a:gd name="connsiteY46" fmla="*/ 299295 h 493128"/>
                  <a:gd name="connsiteX47" fmla="*/ 346451 w 582997"/>
                  <a:gd name="connsiteY47" fmla="*/ 298396 h 493128"/>
                  <a:gd name="connsiteX48" fmla="*/ 313807 w 582997"/>
                  <a:gd name="connsiteY48" fmla="*/ 296812 h 493128"/>
                  <a:gd name="connsiteX49" fmla="*/ 221540 w 582997"/>
                  <a:gd name="connsiteY49" fmla="*/ 285254 h 493128"/>
                  <a:gd name="connsiteX50" fmla="*/ 197819 w 582997"/>
                  <a:gd name="connsiteY50" fmla="*/ 280502 h 493128"/>
                  <a:gd name="connsiteX51" fmla="*/ 193872 w 582997"/>
                  <a:gd name="connsiteY51" fmla="*/ 283070 h 493128"/>
                  <a:gd name="connsiteX52" fmla="*/ 184778 w 582997"/>
                  <a:gd name="connsiteY52" fmla="*/ 333329 h 493128"/>
                  <a:gd name="connsiteX53" fmla="*/ 182076 w 582997"/>
                  <a:gd name="connsiteY53" fmla="*/ 365479 h 493128"/>
                  <a:gd name="connsiteX54" fmla="*/ 189497 w 582997"/>
                  <a:gd name="connsiteY54" fmla="*/ 425798 h 493128"/>
                  <a:gd name="connsiteX55" fmla="*/ 205926 w 582997"/>
                  <a:gd name="connsiteY55" fmla="*/ 453239 h 493128"/>
                  <a:gd name="connsiteX56" fmla="*/ 239556 w 582997"/>
                  <a:gd name="connsiteY56" fmla="*/ 466082 h 493128"/>
                  <a:gd name="connsiteX57" fmla="*/ 278762 w 582997"/>
                  <a:gd name="connsiteY57" fmla="*/ 457135 h 493128"/>
                  <a:gd name="connsiteX58" fmla="*/ 330236 w 582997"/>
                  <a:gd name="connsiteY58" fmla="*/ 426654 h 493128"/>
                  <a:gd name="connsiteX59" fmla="*/ 394837 w 582997"/>
                  <a:gd name="connsiteY59" fmla="*/ 367577 h 493128"/>
                  <a:gd name="connsiteX60" fmla="*/ 429582 w 582997"/>
                  <a:gd name="connsiteY60" fmla="*/ 327079 h 493128"/>
                  <a:gd name="connsiteX61" fmla="*/ 437517 w 582997"/>
                  <a:gd name="connsiteY61" fmla="*/ 317190 h 493128"/>
                  <a:gd name="connsiteX62" fmla="*/ 440777 w 582997"/>
                  <a:gd name="connsiteY62" fmla="*/ 315734 h 493128"/>
                  <a:gd name="connsiteX63" fmla="*/ 470418 w 582997"/>
                  <a:gd name="connsiteY63" fmla="*/ 314750 h 493128"/>
                  <a:gd name="connsiteX64" fmla="*/ 471791 w 582997"/>
                  <a:gd name="connsiteY64" fmla="*/ 315092 h 493128"/>
                  <a:gd name="connsiteX65" fmla="*/ 471276 w 582997"/>
                  <a:gd name="connsiteY65" fmla="*/ 316462 h 493128"/>
                  <a:gd name="connsiteX66" fmla="*/ 462182 w 582997"/>
                  <a:gd name="connsiteY66" fmla="*/ 328834 h 493128"/>
                  <a:gd name="connsiteX67" fmla="*/ 445024 w 582997"/>
                  <a:gd name="connsiteY67" fmla="*/ 350239 h 493128"/>
                  <a:gd name="connsiteX68" fmla="*/ 411180 w 582997"/>
                  <a:gd name="connsiteY68" fmla="*/ 388767 h 493128"/>
                  <a:gd name="connsiteX69" fmla="*/ 371716 w 582997"/>
                  <a:gd name="connsiteY69" fmla="*/ 426996 h 493128"/>
                  <a:gd name="connsiteX70" fmla="*/ 350054 w 582997"/>
                  <a:gd name="connsiteY70" fmla="*/ 444805 h 493128"/>
                  <a:gd name="connsiteX71" fmla="*/ 306901 w 582997"/>
                  <a:gd name="connsiteY71" fmla="*/ 473616 h 493128"/>
                  <a:gd name="connsiteX72" fmla="*/ 253625 w 582997"/>
                  <a:gd name="connsiteY72" fmla="*/ 492067 h 493128"/>
                  <a:gd name="connsiteX73" fmla="*/ 214419 w 582997"/>
                  <a:gd name="connsiteY73" fmla="*/ 489156 h 493128"/>
                  <a:gd name="connsiteX74" fmla="*/ 209743 w 582997"/>
                  <a:gd name="connsiteY74" fmla="*/ 487658 h 493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</a:cxnLst>
                <a:rect l="l" t="t" r="r" b="b"/>
                <a:pathLst>
                  <a:path w="582997" h="493128">
                    <a:moveTo>
                      <a:pt x="194816" y="479181"/>
                    </a:moveTo>
                    <a:cubicBezTo>
                      <a:pt x="191942" y="476656"/>
                      <a:pt x="188982" y="474258"/>
                      <a:pt x="186237" y="471604"/>
                    </a:cubicBezTo>
                    <a:cubicBezTo>
                      <a:pt x="177724" y="463062"/>
                      <a:pt x="171065" y="452861"/>
                      <a:pt x="166677" y="441637"/>
                    </a:cubicBezTo>
                    <a:cubicBezTo>
                      <a:pt x="160558" y="425851"/>
                      <a:pt x="157024" y="409185"/>
                      <a:pt x="156210" y="392278"/>
                    </a:cubicBezTo>
                    <a:cubicBezTo>
                      <a:pt x="155374" y="379006"/>
                      <a:pt x="155374" y="365694"/>
                      <a:pt x="156210" y="352422"/>
                    </a:cubicBezTo>
                    <a:cubicBezTo>
                      <a:pt x="157598" y="332279"/>
                      <a:pt x="160364" y="312255"/>
                      <a:pt x="164489" y="292489"/>
                    </a:cubicBezTo>
                    <a:cubicBezTo>
                      <a:pt x="165561" y="287095"/>
                      <a:pt x="166934" y="281786"/>
                      <a:pt x="168092" y="276392"/>
                    </a:cubicBezTo>
                    <a:cubicBezTo>
                      <a:pt x="168650" y="273738"/>
                      <a:pt x="168564" y="273738"/>
                      <a:pt x="165990" y="272967"/>
                    </a:cubicBezTo>
                    <a:cubicBezTo>
                      <a:pt x="152778" y="268686"/>
                      <a:pt x="139481" y="265005"/>
                      <a:pt x="126398" y="260553"/>
                    </a:cubicBezTo>
                    <a:cubicBezTo>
                      <a:pt x="117819" y="257727"/>
                      <a:pt x="109926" y="254131"/>
                      <a:pt x="101776" y="250749"/>
                    </a:cubicBezTo>
                    <a:cubicBezTo>
                      <a:pt x="90337" y="246165"/>
                      <a:pt x="79254" y="240742"/>
                      <a:pt x="68618" y="234524"/>
                    </a:cubicBezTo>
                    <a:cubicBezTo>
                      <a:pt x="51096" y="224783"/>
                      <a:pt x="35311" y="212212"/>
                      <a:pt x="21905" y="197323"/>
                    </a:cubicBezTo>
                    <a:cubicBezTo>
                      <a:pt x="12645" y="186918"/>
                      <a:pt x="5909" y="174526"/>
                      <a:pt x="2216" y="161106"/>
                    </a:cubicBezTo>
                    <a:cubicBezTo>
                      <a:pt x="-1285" y="147485"/>
                      <a:pt x="-718" y="133140"/>
                      <a:pt x="3846" y="119837"/>
                    </a:cubicBezTo>
                    <a:cubicBezTo>
                      <a:pt x="8077" y="107686"/>
                      <a:pt x="14797" y="96547"/>
                      <a:pt x="23578" y="87131"/>
                    </a:cubicBezTo>
                    <a:cubicBezTo>
                      <a:pt x="27224" y="82850"/>
                      <a:pt x="31170" y="79168"/>
                      <a:pt x="35117" y="75401"/>
                    </a:cubicBezTo>
                    <a:cubicBezTo>
                      <a:pt x="36457" y="74419"/>
                      <a:pt x="36938" y="72642"/>
                      <a:pt x="36275" y="71120"/>
                    </a:cubicBezTo>
                    <a:cubicBezTo>
                      <a:pt x="33186" y="61527"/>
                      <a:pt x="32992" y="51240"/>
                      <a:pt x="35717" y="41538"/>
                    </a:cubicBezTo>
                    <a:cubicBezTo>
                      <a:pt x="40007" y="24422"/>
                      <a:pt x="52329" y="10433"/>
                      <a:pt x="68790" y="3994"/>
                    </a:cubicBezTo>
                    <a:cubicBezTo>
                      <a:pt x="77859" y="187"/>
                      <a:pt x="87826" y="-971"/>
                      <a:pt x="97529" y="655"/>
                    </a:cubicBezTo>
                    <a:cubicBezTo>
                      <a:pt x="125324" y="4561"/>
                      <a:pt x="145767" y="28646"/>
                      <a:pt x="145057" y="56650"/>
                    </a:cubicBezTo>
                    <a:cubicBezTo>
                      <a:pt x="144231" y="87375"/>
                      <a:pt x="118604" y="111614"/>
                      <a:pt x="87818" y="110790"/>
                    </a:cubicBezTo>
                    <a:cubicBezTo>
                      <a:pt x="80735" y="110600"/>
                      <a:pt x="73753" y="109065"/>
                      <a:pt x="67245" y="106267"/>
                    </a:cubicBezTo>
                    <a:cubicBezTo>
                      <a:pt x="62475" y="104077"/>
                      <a:pt x="58006" y="101286"/>
                      <a:pt x="53948" y="97962"/>
                    </a:cubicBezTo>
                    <a:cubicBezTo>
                      <a:pt x="51932" y="96378"/>
                      <a:pt x="51846" y="96420"/>
                      <a:pt x="49873" y="98218"/>
                    </a:cubicBezTo>
                    <a:cubicBezTo>
                      <a:pt x="41375" y="105926"/>
                      <a:pt x="34644" y="115374"/>
                      <a:pt x="30141" y="125916"/>
                    </a:cubicBezTo>
                    <a:cubicBezTo>
                      <a:pt x="26695" y="133851"/>
                      <a:pt x="25738" y="142642"/>
                      <a:pt x="27396" y="151131"/>
                    </a:cubicBezTo>
                    <a:cubicBezTo>
                      <a:pt x="29395" y="161146"/>
                      <a:pt x="33945" y="170479"/>
                      <a:pt x="40607" y="178230"/>
                    </a:cubicBezTo>
                    <a:cubicBezTo>
                      <a:pt x="47062" y="185863"/>
                      <a:pt x="54390" y="192717"/>
                      <a:pt x="62441" y="198650"/>
                    </a:cubicBezTo>
                    <a:cubicBezTo>
                      <a:pt x="73872" y="206949"/>
                      <a:pt x="86033" y="214199"/>
                      <a:pt x="98773" y="220312"/>
                    </a:cubicBezTo>
                    <a:cubicBezTo>
                      <a:pt x="106752" y="224378"/>
                      <a:pt x="115245" y="227461"/>
                      <a:pt x="123481" y="230971"/>
                    </a:cubicBezTo>
                    <a:cubicBezTo>
                      <a:pt x="136094" y="236091"/>
                      <a:pt x="148983" y="240507"/>
                      <a:pt x="162087" y="244199"/>
                    </a:cubicBezTo>
                    <a:cubicBezTo>
                      <a:pt x="171266" y="246939"/>
                      <a:pt x="180660" y="249037"/>
                      <a:pt x="189969" y="251391"/>
                    </a:cubicBezTo>
                    <a:cubicBezTo>
                      <a:pt x="221633" y="259135"/>
                      <a:pt x="253817" y="264586"/>
                      <a:pt x="286269" y="267702"/>
                    </a:cubicBezTo>
                    <a:cubicBezTo>
                      <a:pt x="297336" y="268900"/>
                      <a:pt x="308445" y="270270"/>
                      <a:pt x="319555" y="270784"/>
                    </a:cubicBezTo>
                    <a:cubicBezTo>
                      <a:pt x="340460" y="271726"/>
                      <a:pt x="361364" y="272368"/>
                      <a:pt x="382268" y="272711"/>
                    </a:cubicBezTo>
                    <a:cubicBezTo>
                      <a:pt x="405517" y="273096"/>
                      <a:pt x="428767" y="272240"/>
                      <a:pt x="451973" y="270442"/>
                    </a:cubicBezTo>
                    <a:cubicBezTo>
                      <a:pt x="470532" y="268986"/>
                      <a:pt x="489120" y="267117"/>
                      <a:pt x="507737" y="264834"/>
                    </a:cubicBezTo>
                    <a:cubicBezTo>
                      <a:pt x="523780" y="262864"/>
                      <a:pt x="539737" y="260082"/>
                      <a:pt x="555694" y="257427"/>
                    </a:cubicBezTo>
                    <a:cubicBezTo>
                      <a:pt x="561914" y="256443"/>
                      <a:pt x="568005" y="254859"/>
                      <a:pt x="574139" y="253489"/>
                    </a:cubicBezTo>
                    <a:cubicBezTo>
                      <a:pt x="575640" y="253147"/>
                      <a:pt x="576670" y="253489"/>
                      <a:pt x="577099" y="254945"/>
                    </a:cubicBezTo>
                    <a:lnTo>
                      <a:pt x="582761" y="276349"/>
                    </a:lnTo>
                    <a:cubicBezTo>
                      <a:pt x="583275" y="278147"/>
                      <a:pt x="582761" y="278790"/>
                      <a:pt x="580788" y="279175"/>
                    </a:cubicBezTo>
                    <a:cubicBezTo>
                      <a:pt x="560713" y="283456"/>
                      <a:pt x="540466" y="287095"/>
                      <a:pt x="520134" y="290048"/>
                    </a:cubicBezTo>
                    <a:cubicBezTo>
                      <a:pt x="499115" y="293131"/>
                      <a:pt x="478010" y="294843"/>
                      <a:pt x="456863" y="296641"/>
                    </a:cubicBezTo>
                    <a:cubicBezTo>
                      <a:pt x="436745" y="298354"/>
                      <a:pt x="416627" y="298953"/>
                      <a:pt x="396424" y="299295"/>
                    </a:cubicBezTo>
                    <a:cubicBezTo>
                      <a:pt x="387845" y="299295"/>
                      <a:pt x="379008" y="299295"/>
                      <a:pt x="370300" y="299295"/>
                    </a:cubicBezTo>
                    <a:cubicBezTo>
                      <a:pt x="362365" y="299295"/>
                      <a:pt x="354386" y="298782"/>
                      <a:pt x="346451" y="298396"/>
                    </a:cubicBezTo>
                    <a:cubicBezTo>
                      <a:pt x="335555" y="297925"/>
                      <a:pt x="324703" y="297540"/>
                      <a:pt x="313807" y="296812"/>
                    </a:cubicBezTo>
                    <a:cubicBezTo>
                      <a:pt x="282855" y="294728"/>
                      <a:pt x="252048" y="290868"/>
                      <a:pt x="221540" y="285254"/>
                    </a:cubicBezTo>
                    <a:cubicBezTo>
                      <a:pt x="213604" y="283798"/>
                      <a:pt x="205711" y="282086"/>
                      <a:pt x="197819" y="280502"/>
                    </a:cubicBezTo>
                    <a:cubicBezTo>
                      <a:pt x="194687" y="279860"/>
                      <a:pt x="194601" y="279817"/>
                      <a:pt x="193872" y="283070"/>
                    </a:cubicBezTo>
                    <a:cubicBezTo>
                      <a:pt x="189879" y="299636"/>
                      <a:pt x="186842" y="316416"/>
                      <a:pt x="184778" y="333329"/>
                    </a:cubicBezTo>
                    <a:cubicBezTo>
                      <a:pt x="183577" y="343989"/>
                      <a:pt x="182376" y="354734"/>
                      <a:pt x="182076" y="365479"/>
                    </a:cubicBezTo>
                    <a:cubicBezTo>
                      <a:pt x="180926" y="385866"/>
                      <a:pt x="183439" y="406294"/>
                      <a:pt x="189497" y="425798"/>
                    </a:cubicBezTo>
                    <a:cubicBezTo>
                      <a:pt x="192663" y="436139"/>
                      <a:pt x="198302" y="445556"/>
                      <a:pt x="205926" y="453239"/>
                    </a:cubicBezTo>
                    <a:cubicBezTo>
                      <a:pt x="214952" y="461854"/>
                      <a:pt x="227072" y="466482"/>
                      <a:pt x="239556" y="466082"/>
                    </a:cubicBezTo>
                    <a:cubicBezTo>
                      <a:pt x="253098" y="465787"/>
                      <a:pt x="266438" y="462743"/>
                      <a:pt x="278762" y="457135"/>
                    </a:cubicBezTo>
                    <a:cubicBezTo>
                      <a:pt x="297128" y="449159"/>
                      <a:pt x="314421" y="438920"/>
                      <a:pt x="330236" y="426654"/>
                    </a:cubicBezTo>
                    <a:cubicBezTo>
                      <a:pt x="353491" y="408922"/>
                      <a:pt x="375110" y="389151"/>
                      <a:pt x="394837" y="367577"/>
                    </a:cubicBezTo>
                    <a:cubicBezTo>
                      <a:pt x="406933" y="354520"/>
                      <a:pt x="418600" y="341078"/>
                      <a:pt x="429582" y="327079"/>
                    </a:cubicBezTo>
                    <a:cubicBezTo>
                      <a:pt x="432155" y="323740"/>
                      <a:pt x="434944" y="320529"/>
                      <a:pt x="437517" y="317190"/>
                    </a:cubicBezTo>
                    <a:cubicBezTo>
                      <a:pt x="438275" y="316170"/>
                      <a:pt x="439511" y="315619"/>
                      <a:pt x="440777" y="315734"/>
                    </a:cubicBezTo>
                    <a:lnTo>
                      <a:pt x="470418" y="314750"/>
                    </a:lnTo>
                    <a:cubicBezTo>
                      <a:pt x="470885" y="314823"/>
                      <a:pt x="471344" y="314938"/>
                      <a:pt x="471791" y="315092"/>
                    </a:cubicBezTo>
                    <a:cubicBezTo>
                      <a:pt x="471671" y="315567"/>
                      <a:pt x="471499" y="316026"/>
                      <a:pt x="471276" y="316462"/>
                    </a:cubicBezTo>
                    <a:cubicBezTo>
                      <a:pt x="468273" y="320743"/>
                      <a:pt x="465356" y="324810"/>
                      <a:pt x="462182" y="328834"/>
                    </a:cubicBezTo>
                    <a:cubicBezTo>
                      <a:pt x="456606" y="336026"/>
                      <a:pt x="450944" y="343090"/>
                      <a:pt x="445024" y="350239"/>
                    </a:cubicBezTo>
                    <a:cubicBezTo>
                      <a:pt x="434257" y="363595"/>
                      <a:pt x="422933" y="376481"/>
                      <a:pt x="411180" y="388767"/>
                    </a:cubicBezTo>
                    <a:cubicBezTo>
                      <a:pt x="398678" y="402165"/>
                      <a:pt x="385507" y="414924"/>
                      <a:pt x="371716" y="426996"/>
                    </a:cubicBezTo>
                    <a:cubicBezTo>
                      <a:pt x="364638" y="433118"/>
                      <a:pt x="357518" y="439197"/>
                      <a:pt x="350054" y="444805"/>
                    </a:cubicBezTo>
                    <a:cubicBezTo>
                      <a:pt x="336483" y="455570"/>
                      <a:pt x="322051" y="465206"/>
                      <a:pt x="306901" y="473616"/>
                    </a:cubicBezTo>
                    <a:cubicBezTo>
                      <a:pt x="290341" y="482784"/>
                      <a:pt x="272317" y="489026"/>
                      <a:pt x="253625" y="492067"/>
                    </a:cubicBezTo>
                    <a:cubicBezTo>
                      <a:pt x="240504" y="494062"/>
                      <a:pt x="227100" y="493067"/>
                      <a:pt x="214419" y="489156"/>
                    </a:cubicBezTo>
                    <a:lnTo>
                      <a:pt x="209743" y="487658"/>
                    </a:lnTo>
                    <a:close/>
                  </a:path>
                </a:pathLst>
              </a:custGeom>
              <a:solidFill>
                <a:srgbClr val="1D1D1B"/>
              </a:solidFill>
              <a:ln w="42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2" name="Freihandform: Form 71">
                <a:extLst>
                  <a:ext uri="{FF2B5EF4-FFF2-40B4-BE49-F238E27FC236}">
                    <a16:creationId xmlns:a16="http://schemas.microsoft.com/office/drawing/2014/main" id="{E325CB38-0B44-44B0-AA9D-A8F0F669E899}"/>
                  </a:ext>
                </a:extLst>
              </p:cNvPr>
              <p:cNvSpPr/>
              <p:nvPr/>
            </p:nvSpPr>
            <p:spPr>
              <a:xfrm>
                <a:off x="6107631" y="2642958"/>
                <a:ext cx="386230" cy="592917"/>
              </a:xfrm>
              <a:custGeom>
                <a:avLst/>
                <a:gdLst>
                  <a:gd name="connsiteX0" fmla="*/ 215779 w 386230"/>
                  <a:gd name="connsiteY0" fmla="*/ 549417 h 592917"/>
                  <a:gd name="connsiteX1" fmla="*/ 206342 w 386230"/>
                  <a:gd name="connsiteY1" fmla="*/ 559862 h 592917"/>
                  <a:gd name="connsiteX2" fmla="*/ 179060 w 386230"/>
                  <a:gd name="connsiteY2" fmla="*/ 576644 h 592917"/>
                  <a:gd name="connsiteX3" fmla="*/ 136165 w 386230"/>
                  <a:gd name="connsiteY3" fmla="*/ 579255 h 592917"/>
                  <a:gd name="connsiteX4" fmla="*/ 115618 w 386230"/>
                  <a:gd name="connsiteY4" fmla="*/ 574417 h 592917"/>
                  <a:gd name="connsiteX5" fmla="*/ 111672 w 386230"/>
                  <a:gd name="connsiteY5" fmla="*/ 575445 h 592917"/>
                  <a:gd name="connsiteX6" fmla="*/ 50460 w 386230"/>
                  <a:gd name="connsiteY6" fmla="*/ 588716 h 592917"/>
                  <a:gd name="connsiteX7" fmla="*/ 18675 w 386230"/>
                  <a:gd name="connsiteY7" fmla="*/ 519407 h 592917"/>
                  <a:gd name="connsiteX8" fmla="*/ 81988 w 386230"/>
                  <a:gd name="connsiteY8" fmla="*/ 483019 h 592917"/>
                  <a:gd name="connsiteX9" fmla="*/ 111672 w 386230"/>
                  <a:gd name="connsiteY9" fmla="*/ 499543 h 592917"/>
                  <a:gd name="connsiteX10" fmla="*/ 125999 w 386230"/>
                  <a:gd name="connsiteY10" fmla="*/ 546292 h 592917"/>
                  <a:gd name="connsiteX11" fmla="*/ 128015 w 386230"/>
                  <a:gd name="connsiteY11" fmla="*/ 550273 h 592917"/>
                  <a:gd name="connsiteX12" fmla="*/ 164176 w 386230"/>
                  <a:gd name="connsiteY12" fmla="*/ 553098 h 592917"/>
                  <a:gd name="connsiteX13" fmla="*/ 192872 w 386230"/>
                  <a:gd name="connsiteY13" fmla="*/ 535247 h 592917"/>
                  <a:gd name="connsiteX14" fmla="*/ 207500 w 386230"/>
                  <a:gd name="connsiteY14" fmla="*/ 498602 h 592917"/>
                  <a:gd name="connsiteX15" fmla="*/ 210073 w 386230"/>
                  <a:gd name="connsiteY15" fmla="*/ 456092 h 592917"/>
                  <a:gd name="connsiteX16" fmla="*/ 203296 w 386230"/>
                  <a:gd name="connsiteY16" fmla="*/ 401509 h 592917"/>
                  <a:gd name="connsiteX17" fmla="*/ 188283 w 386230"/>
                  <a:gd name="connsiteY17" fmla="*/ 343031 h 592917"/>
                  <a:gd name="connsiteX18" fmla="*/ 178417 w 386230"/>
                  <a:gd name="connsiteY18" fmla="*/ 313536 h 592917"/>
                  <a:gd name="connsiteX19" fmla="*/ 160701 w 386230"/>
                  <a:gd name="connsiteY19" fmla="*/ 269698 h 592917"/>
                  <a:gd name="connsiteX20" fmla="*/ 133463 w 386230"/>
                  <a:gd name="connsiteY20" fmla="*/ 212334 h 592917"/>
                  <a:gd name="connsiteX21" fmla="*/ 97516 w 386230"/>
                  <a:gd name="connsiteY21" fmla="*/ 149147 h 592917"/>
                  <a:gd name="connsiteX22" fmla="*/ 81045 w 386230"/>
                  <a:gd name="connsiteY22" fmla="*/ 123204 h 592917"/>
                  <a:gd name="connsiteX23" fmla="*/ 67747 w 386230"/>
                  <a:gd name="connsiteY23" fmla="*/ 103897 h 592917"/>
                  <a:gd name="connsiteX24" fmla="*/ 49130 w 386230"/>
                  <a:gd name="connsiteY24" fmla="*/ 77997 h 592917"/>
                  <a:gd name="connsiteX25" fmla="*/ 28626 w 386230"/>
                  <a:gd name="connsiteY25" fmla="*/ 52311 h 592917"/>
                  <a:gd name="connsiteX26" fmla="*/ 1817 w 386230"/>
                  <a:gd name="connsiteY26" fmla="*/ 21103 h 592917"/>
                  <a:gd name="connsiteX27" fmla="*/ 1817 w 386230"/>
                  <a:gd name="connsiteY27" fmla="*/ 15580 h 592917"/>
                  <a:gd name="connsiteX28" fmla="*/ 16230 w 386230"/>
                  <a:gd name="connsiteY28" fmla="*/ 1239 h 592917"/>
                  <a:gd name="connsiteX29" fmla="*/ 20219 w 386230"/>
                  <a:gd name="connsiteY29" fmla="*/ 1539 h 592917"/>
                  <a:gd name="connsiteX30" fmla="*/ 72208 w 386230"/>
                  <a:gd name="connsiteY30" fmla="*/ 64683 h 592917"/>
                  <a:gd name="connsiteX31" fmla="*/ 96530 w 386230"/>
                  <a:gd name="connsiteY31" fmla="*/ 99273 h 592917"/>
                  <a:gd name="connsiteX32" fmla="*/ 108240 w 386230"/>
                  <a:gd name="connsiteY32" fmla="*/ 116397 h 592917"/>
                  <a:gd name="connsiteX33" fmla="*/ 115232 w 386230"/>
                  <a:gd name="connsiteY33" fmla="*/ 127442 h 592917"/>
                  <a:gd name="connsiteX34" fmla="*/ 129516 w 386230"/>
                  <a:gd name="connsiteY34" fmla="*/ 150688 h 592917"/>
                  <a:gd name="connsiteX35" fmla="*/ 164604 w 386230"/>
                  <a:gd name="connsiteY35" fmla="*/ 214902 h 592917"/>
                  <a:gd name="connsiteX36" fmla="*/ 195275 w 386230"/>
                  <a:gd name="connsiteY36" fmla="*/ 283398 h 592917"/>
                  <a:gd name="connsiteX37" fmla="*/ 208701 w 386230"/>
                  <a:gd name="connsiteY37" fmla="*/ 319829 h 592917"/>
                  <a:gd name="connsiteX38" fmla="*/ 212990 w 386230"/>
                  <a:gd name="connsiteY38" fmla="*/ 332671 h 592917"/>
                  <a:gd name="connsiteX39" fmla="*/ 215693 w 386230"/>
                  <a:gd name="connsiteY39" fmla="*/ 334041 h 592917"/>
                  <a:gd name="connsiteX40" fmla="*/ 241687 w 386230"/>
                  <a:gd name="connsiteY40" fmla="*/ 325479 h 592917"/>
                  <a:gd name="connsiteX41" fmla="*/ 290888 w 386230"/>
                  <a:gd name="connsiteY41" fmla="*/ 304374 h 592917"/>
                  <a:gd name="connsiteX42" fmla="*/ 334985 w 386230"/>
                  <a:gd name="connsiteY42" fmla="*/ 274408 h 592917"/>
                  <a:gd name="connsiteX43" fmla="*/ 349226 w 386230"/>
                  <a:gd name="connsiteY43" fmla="*/ 258397 h 592917"/>
                  <a:gd name="connsiteX44" fmla="*/ 356732 w 386230"/>
                  <a:gd name="connsiteY44" fmla="*/ 211306 h 592917"/>
                  <a:gd name="connsiteX45" fmla="*/ 339574 w 386230"/>
                  <a:gd name="connsiteY45" fmla="*/ 185620 h 592917"/>
                  <a:gd name="connsiteX46" fmla="*/ 318813 w 386230"/>
                  <a:gd name="connsiteY46" fmla="*/ 168496 h 592917"/>
                  <a:gd name="connsiteX47" fmla="*/ 286427 w 386230"/>
                  <a:gd name="connsiteY47" fmla="*/ 149917 h 592917"/>
                  <a:gd name="connsiteX48" fmla="*/ 245076 w 386230"/>
                  <a:gd name="connsiteY48" fmla="*/ 133264 h 592917"/>
                  <a:gd name="connsiteX49" fmla="*/ 148433 w 386230"/>
                  <a:gd name="connsiteY49" fmla="*/ 109676 h 592917"/>
                  <a:gd name="connsiteX50" fmla="*/ 125613 w 386230"/>
                  <a:gd name="connsiteY50" fmla="*/ 106251 h 592917"/>
                  <a:gd name="connsiteX51" fmla="*/ 121709 w 386230"/>
                  <a:gd name="connsiteY51" fmla="*/ 103683 h 592917"/>
                  <a:gd name="connsiteX52" fmla="*/ 106524 w 386230"/>
                  <a:gd name="connsiteY52" fmla="*/ 79153 h 592917"/>
                  <a:gd name="connsiteX53" fmla="*/ 105881 w 386230"/>
                  <a:gd name="connsiteY53" fmla="*/ 77526 h 592917"/>
                  <a:gd name="connsiteX54" fmla="*/ 107640 w 386230"/>
                  <a:gd name="connsiteY54" fmla="*/ 77184 h 592917"/>
                  <a:gd name="connsiteX55" fmla="*/ 136680 w 386230"/>
                  <a:gd name="connsiteY55" fmla="*/ 80822 h 592917"/>
                  <a:gd name="connsiteX56" fmla="*/ 195661 w 386230"/>
                  <a:gd name="connsiteY56" fmla="*/ 91739 h 592917"/>
                  <a:gd name="connsiteX57" fmla="*/ 258073 w 386230"/>
                  <a:gd name="connsiteY57" fmla="*/ 109590 h 592917"/>
                  <a:gd name="connsiteX58" fmla="*/ 287800 w 386230"/>
                  <a:gd name="connsiteY58" fmla="*/ 121149 h 592917"/>
                  <a:gd name="connsiteX59" fmla="*/ 301998 w 386230"/>
                  <a:gd name="connsiteY59" fmla="*/ 127999 h 592917"/>
                  <a:gd name="connsiteX60" fmla="*/ 319414 w 386230"/>
                  <a:gd name="connsiteY60" fmla="*/ 137117 h 592917"/>
                  <a:gd name="connsiteX61" fmla="*/ 363038 w 386230"/>
                  <a:gd name="connsiteY61" fmla="*/ 171750 h 592917"/>
                  <a:gd name="connsiteX62" fmla="*/ 382684 w 386230"/>
                  <a:gd name="connsiteY62" fmla="*/ 204970 h 592917"/>
                  <a:gd name="connsiteX63" fmla="*/ 381869 w 386230"/>
                  <a:gd name="connsiteY63" fmla="*/ 252061 h 592917"/>
                  <a:gd name="connsiteX64" fmla="*/ 379853 w 386230"/>
                  <a:gd name="connsiteY64" fmla="*/ 257284 h 592917"/>
                  <a:gd name="connsiteX65" fmla="*/ 371274 w 386230"/>
                  <a:gd name="connsiteY65" fmla="*/ 272738 h 592917"/>
                  <a:gd name="connsiteX66" fmla="*/ 367456 w 386230"/>
                  <a:gd name="connsiteY66" fmla="*/ 277832 h 592917"/>
                  <a:gd name="connsiteX67" fmla="*/ 351671 w 386230"/>
                  <a:gd name="connsiteY67" fmla="*/ 294571 h 592917"/>
                  <a:gd name="connsiteX68" fmla="*/ 302513 w 386230"/>
                  <a:gd name="connsiteY68" fmla="*/ 327962 h 592917"/>
                  <a:gd name="connsiteX69" fmla="*/ 261033 w 386230"/>
                  <a:gd name="connsiteY69" fmla="*/ 346413 h 592917"/>
                  <a:gd name="connsiteX70" fmla="*/ 224186 w 386230"/>
                  <a:gd name="connsiteY70" fmla="*/ 358785 h 592917"/>
                  <a:gd name="connsiteX71" fmla="*/ 221870 w 386230"/>
                  <a:gd name="connsiteY71" fmla="*/ 363066 h 592917"/>
                  <a:gd name="connsiteX72" fmla="*/ 232894 w 386230"/>
                  <a:gd name="connsiteY72" fmla="*/ 415722 h 592917"/>
                  <a:gd name="connsiteX73" fmla="*/ 235811 w 386230"/>
                  <a:gd name="connsiteY73" fmla="*/ 488499 h 592917"/>
                  <a:gd name="connsiteX74" fmla="*/ 225516 w 386230"/>
                  <a:gd name="connsiteY74" fmla="*/ 530795 h 592917"/>
                  <a:gd name="connsiteX75" fmla="*/ 225516 w 386230"/>
                  <a:gd name="connsiteY75" fmla="*/ 532635 h 592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</a:cxnLst>
                <a:rect l="l" t="t" r="r" b="b"/>
                <a:pathLst>
                  <a:path w="386230" h="592917">
                    <a:moveTo>
                      <a:pt x="215779" y="549417"/>
                    </a:moveTo>
                    <a:cubicBezTo>
                      <a:pt x="212647" y="552927"/>
                      <a:pt x="209645" y="556523"/>
                      <a:pt x="206342" y="559862"/>
                    </a:cubicBezTo>
                    <a:cubicBezTo>
                      <a:pt x="198747" y="567583"/>
                      <a:pt x="189384" y="573342"/>
                      <a:pt x="179060" y="576644"/>
                    </a:cubicBezTo>
                    <a:cubicBezTo>
                      <a:pt x="165213" y="581117"/>
                      <a:pt x="150455" y="582016"/>
                      <a:pt x="136165" y="579255"/>
                    </a:cubicBezTo>
                    <a:cubicBezTo>
                      <a:pt x="129259" y="578013"/>
                      <a:pt x="122438" y="576215"/>
                      <a:pt x="115618" y="574417"/>
                    </a:cubicBezTo>
                    <a:cubicBezTo>
                      <a:pt x="114221" y="573828"/>
                      <a:pt x="112602" y="574249"/>
                      <a:pt x="111672" y="575445"/>
                    </a:cubicBezTo>
                    <a:cubicBezTo>
                      <a:pt x="96014" y="592133"/>
                      <a:pt x="71645" y="597417"/>
                      <a:pt x="50460" y="588716"/>
                    </a:cubicBezTo>
                    <a:cubicBezTo>
                      <a:pt x="23107" y="577699"/>
                      <a:pt x="9151" y="547268"/>
                      <a:pt x="18675" y="519407"/>
                    </a:cubicBezTo>
                    <a:cubicBezTo>
                      <a:pt x="27662" y="493159"/>
                      <a:pt x="54729" y="477603"/>
                      <a:pt x="81988" y="483019"/>
                    </a:cubicBezTo>
                    <a:cubicBezTo>
                      <a:pt x="93420" y="485160"/>
                      <a:pt x="103840" y="490961"/>
                      <a:pt x="111672" y="499543"/>
                    </a:cubicBezTo>
                    <a:cubicBezTo>
                      <a:pt x="123600" y="511980"/>
                      <a:pt x="128915" y="529324"/>
                      <a:pt x="125999" y="546292"/>
                    </a:cubicBezTo>
                    <a:cubicBezTo>
                      <a:pt x="125527" y="549331"/>
                      <a:pt x="125570" y="549588"/>
                      <a:pt x="128015" y="550273"/>
                    </a:cubicBezTo>
                    <a:cubicBezTo>
                      <a:pt x="139685" y="554003"/>
                      <a:pt x="152066" y="554971"/>
                      <a:pt x="164176" y="553098"/>
                    </a:cubicBezTo>
                    <a:cubicBezTo>
                      <a:pt x="175667" y="551005"/>
                      <a:pt x="185929" y="544622"/>
                      <a:pt x="192872" y="535247"/>
                    </a:cubicBezTo>
                    <a:cubicBezTo>
                      <a:pt x="200616" y="524376"/>
                      <a:pt x="205632" y="511809"/>
                      <a:pt x="207500" y="498602"/>
                    </a:cubicBezTo>
                    <a:cubicBezTo>
                      <a:pt x="209984" y="484577"/>
                      <a:pt x="210848" y="470313"/>
                      <a:pt x="210073" y="456092"/>
                    </a:cubicBezTo>
                    <a:cubicBezTo>
                      <a:pt x="209190" y="437754"/>
                      <a:pt x="206925" y="419508"/>
                      <a:pt x="203296" y="401509"/>
                    </a:cubicBezTo>
                    <a:cubicBezTo>
                      <a:pt x="199328" y="381766"/>
                      <a:pt x="194317" y="362246"/>
                      <a:pt x="188283" y="343031"/>
                    </a:cubicBezTo>
                    <a:cubicBezTo>
                      <a:pt x="185237" y="333100"/>
                      <a:pt x="182106" y="323211"/>
                      <a:pt x="178417" y="313536"/>
                    </a:cubicBezTo>
                    <a:cubicBezTo>
                      <a:pt x="172797" y="298809"/>
                      <a:pt x="166792" y="284211"/>
                      <a:pt x="160701" y="269698"/>
                    </a:cubicBezTo>
                    <a:cubicBezTo>
                      <a:pt x="152508" y="250134"/>
                      <a:pt x="143243" y="231170"/>
                      <a:pt x="133463" y="212334"/>
                    </a:cubicBezTo>
                    <a:cubicBezTo>
                      <a:pt x="122224" y="190929"/>
                      <a:pt x="110342" y="169738"/>
                      <a:pt x="97516" y="149147"/>
                    </a:cubicBezTo>
                    <a:cubicBezTo>
                      <a:pt x="92069" y="140585"/>
                      <a:pt x="86664" y="131766"/>
                      <a:pt x="81045" y="123204"/>
                    </a:cubicBezTo>
                    <a:cubicBezTo>
                      <a:pt x="76755" y="116654"/>
                      <a:pt x="72251" y="110361"/>
                      <a:pt x="67747" y="103897"/>
                    </a:cubicBezTo>
                    <a:cubicBezTo>
                      <a:pt x="61613" y="95335"/>
                      <a:pt x="55522" y="86473"/>
                      <a:pt x="49130" y="77997"/>
                    </a:cubicBezTo>
                    <a:cubicBezTo>
                      <a:pt x="42739" y="69521"/>
                      <a:pt x="35661" y="60531"/>
                      <a:pt x="28626" y="52311"/>
                    </a:cubicBezTo>
                    <a:cubicBezTo>
                      <a:pt x="19833" y="41780"/>
                      <a:pt x="10782" y="31506"/>
                      <a:pt x="1817" y="21103"/>
                    </a:cubicBezTo>
                    <a:cubicBezTo>
                      <a:pt x="-585" y="18320"/>
                      <a:pt x="-757" y="18192"/>
                      <a:pt x="1817" y="15580"/>
                    </a:cubicBezTo>
                    <a:cubicBezTo>
                      <a:pt x="6535" y="10657"/>
                      <a:pt x="11340" y="5905"/>
                      <a:pt x="16230" y="1239"/>
                    </a:cubicBezTo>
                    <a:cubicBezTo>
                      <a:pt x="18160" y="-602"/>
                      <a:pt x="18417" y="-473"/>
                      <a:pt x="20219" y="1539"/>
                    </a:cubicBezTo>
                    <a:cubicBezTo>
                      <a:pt x="38644" y="21664"/>
                      <a:pt x="55998" y="42741"/>
                      <a:pt x="72208" y="64683"/>
                    </a:cubicBezTo>
                    <a:cubicBezTo>
                      <a:pt x="80530" y="76070"/>
                      <a:pt x="88465" y="87715"/>
                      <a:pt x="96530" y="99273"/>
                    </a:cubicBezTo>
                    <a:cubicBezTo>
                      <a:pt x="100519" y="104924"/>
                      <a:pt x="104380" y="110661"/>
                      <a:pt x="108240" y="116397"/>
                    </a:cubicBezTo>
                    <a:cubicBezTo>
                      <a:pt x="110642" y="119993"/>
                      <a:pt x="112916" y="123718"/>
                      <a:pt x="115232" y="127442"/>
                    </a:cubicBezTo>
                    <a:cubicBezTo>
                      <a:pt x="120036" y="135148"/>
                      <a:pt x="124841" y="142853"/>
                      <a:pt x="129516" y="150688"/>
                    </a:cubicBezTo>
                    <a:cubicBezTo>
                      <a:pt x="142084" y="171579"/>
                      <a:pt x="153666" y="192984"/>
                      <a:pt x="164604" y="214902"/>
                    </a:cubicBezTo>
                    <a:cubicBezTo>
                      <a:pt x="175543" y="236821"/>
                      <a:pt x="186052" y="260109"/>
                      <a:pt x="195275" y="283398"/>
                    </a:cubicBezTo>
                    <a:cubicBezTo>
                      <a:pt x="200079" y="295427"/>
                      <a:pt x="204326" y="307671"/>
                      <a:pt x="208701" y="319829"/>
                    </a:cubicBezTo>
                    <a:cubicBezTo>
                      <a:pt x="210245" y="324109"/>
                      <a:pt x="211618" y="328390"/>
                      <a:pt x="212990" y="332671"/>
                    </a:cubicBezTo>
                    <a:cubicBezTo>
                      <a:pt x="213462" y="334384"/>
                      <a:pt x="214234" y="334512"/>
                      <a:pt x="215693" y="334041"/>
                    </a:cubicBezTo>
                    <a:cubicBezTo>
                      <a:pt x="224272" y="331173"/>
                      <a:pt x="233108" y="328519"/>
                      <a:pt x="241687" y="325479"/>
                    </a:cubicBezTo>
                    <a:cubicBezTo>
                      <a:pt x="258589" y="319670"/>
                      <a:pt x="275034" y="312616"/>
                      <a:pt x="290888" y="304374"/>
                    </a:cubicBezTo>
                    <a:cubicBezTo>
                      <a:pt x="306819" y="296323"/>
                      <a:pt x="321641" y="286250"/>
                      <a:pt x="334985" y="274408"/>
                    </a:cubicBezTo>
                    <a:cubicBezTo>
                      <a:pt x="340331" y="269633"/>
                      <a:pt x="345110" y="264261"/>
                      <a:pt x="349226" y="258397"/>
                    </a:cubicBezTo>
                    <a:cubicBezTo>
                      <a:pt x="359220" y="243927"/>
                      <a:pt x="363167" y="228430"/>
                      <a:pt x="356732" y="211306"/>
                    </a:cubicBezTo>
                    <a:cubicBezTo>
                      <a:pt x="352928" y="201614"/>
                      <a:pt x="347076" y="192853"/>
                      <a:pt x="339574" y="185620"/>
                    </a:cubicBezTo>
                    <a:cubicBezTo>
                      <a:pt x="333184" y="179300"/>
                      <a:pt x="326236" y="173569"/>
                      <a:pt x="318813" y="168496"/>
                    </a:cubicBezTo>
                    <a:cubicBezTo>
                      <a:pt x="308542" y="161435"/>
                      <a:pt x="297711" y="155221"/>
                      <a:pt x="286427" y="149917"/>
                    </a:cubicBezTo>
                    <a:cubicBezTo>
                      <a:pt x="272998" y="143527"/>
                      <a:pt x="259188" y="137966"/>
                      <a:pt x="245076" y="133264"/>
                    </a:cubicBezTo>
                    <a:cubicBezTo>
                      <a:pt x="213561" y="122782"/>
                      <a:pt x="181238" y="114893"/>
                      <a:pt x="148433" y="109676"/>
                    </a:cubicBezTo>
                    <a:cubicBezTo>
                      <a:pt x="140841" y="108435"/>
                      <a:pt x="133205" y="107321"/>
                      <a:pt x="125613" y="106251"/>
                    </a:cubicBezTo>
                    <a:cubicBezTo>
                      <a:pt x="123948" y="106144"/>
                      <a:pt x="122464" y="105167"/>
                      <a:pt x="121709" y="103683"/>
                    </a:cubicBezTo>
                    <a:cubicBezTo>
                      <a:pt x="116733" y="95463"/>
                      <a:pt x="111586" y="87329"/>
                      <a:pt x="106524" y="79153"/>
                    </a:cubicBezTo>
                    <a:cubicBezTo>
                      <a:pt x="106259" y="78632"/>
                      <a:pt x="106043" y="78087"/>
                      <a:pt x="105881" y="77526"/>
                    </a:cubicBezTo>
                    <a:cubicBezTo>
                      <a:pt x="106448" y="77330"/>
                      <a:pt x="107040" y="77215"/>
                      <a:pt x="107640" y="77184"/>
                    </a:cubicBezTo>
                    <a:cubicBezTo>
                      <a:pt x="117334" y="78382"/>
                      <a:pt x="127028" y="79410"/>
                      <a:pt x="136680" y="80822"/>
                    </a:cubicBezTo>
                    <a:cubicBezTo>
                      <a:pt x="156454" y="83733"/>
                      <a:pt x="176186" y="87201"/>
                      <a:pt x="195661" y="91739"/>
                    </a:cubicBezTo>
                    <a:cubicBezTo>
                      <a:pt x="216808" y="96420"/>
                      <a:pt x="237651" y="102382"/>
                      <a:pt x="258073" y="109590"/>
                    </a:cubicBezTo>
                    <a:cubicBezTo>
                      <a:pt x="268082" y="113272"/>
                      <a:pt x="277991" y="117125"/>
                      <a:pt x="287800" y="121149"/>
                    </a:cubicBezTo>
                    <a:cubicBezTo>
                      <a:pt x="292647" y="123161"/>
                      <a:pt x="297322" y="125644"/>
                      <a:pt x="301998" y="127999"/>
                    </a:cubicBezTo>
                    <a:cubicBezTo>
                      <a:pt x="307832" y="130952"/>
                      <a:pt x="313794" y="133778"/>
                      <a:pt x="319414" y="137117"/>
                    </a:cubicBezTo>
                    <a:cubicBezTo>
                      <a:pt x="335640" y="146373"/>
                      <a:pt x="350352" y="158052"/>
                      <a:pt x="363038" y="171750"/>
                    </a:cubicBezTo>
                    <a:cubicBezTo>
                      <a:pt x="371813" y="181352"/>
                      <a:pt x="378502" y="192663"/>
                      <a:pt x="382684" y="204970"/>
                    </a:cubicBezTo>
                    <a:cubicBezTo>
                      <a:pt x="387611" y="220329"/>
                      <a:pt x="387325" y="236881"/>
                      <a:pt x="381869" y="252061"/>
                    </a:cubicBezTo>
                    <a:cubicBezTo>
                      <a:pt x="381269" y="253816"/>
                      <a:pt x="380539" y="255528"/>
                      <a:pt x="379853" y="257284"/>
                    </a:cubicBezTo>
                    <a:lnTo>
                      <a:pt x="371274" y="272738"/>
                    </a:lnTo>
                    <a:cubicBezTo>
                      <a:pt x="369987" y="274450"/>
                      <a:pt x="368872" y="276248"/>
                      <a:pt x="367456" y="277832"/>
                    </a:cubicBezTo>
                    <a:cubicBezTo>
                      <a:pt x="362266" y="283483"/>
                      <a:pt x="357290" y="289391"/>
                      <a:pt x="351671" y="294571"/>
                    </a:cubicBezTo>
                    <a:cubicBezTo>
                      <a:pt x="336851" y="307841"/>
                      <a:pt x="320319" y="319071"/>
                      <a:pt x="302513" y="327962"/>
                    </a:cubicBezTo>
                    <a:cubicBezTo>
                      <a:pt x="289103" y="335007"/>
                      <a:pt x="275247" y="341171"/>
                      <a:pt x="261033" y="346413"/>
                    </a:cubicBezTo>
                    <a:cubicBezTo>
                      <a:pt x="248851" y="350694"/>
                      <a:pt x="236497" y="354718"/>
                      <a:pt x="224186" y="358785"/>
                    </a:cubicBezTo>
                    <a:cubicBezTo>
                      <a:pt x="221226" y="359770"/>
                      <a:pt x="221055" y="359941"/>
                      <a:pt x="221870" y="363066"/>
                    </a:cubicBezTo>
                    <a:cubicBezTo>
                      <a:pt x="226159" y="380490"/>
                      <a:pt x="230191" y="397956"/>
                      <a:pt x="232894" y="415722"/>
                    </a:cubicBezTo>
                    <a:cubicBezTo>
                      <a:pt x="236887" y="439766"/>
                      <a:pt x="237867" y="464213"/>
                      <a:pt x="235811" y="488499"/>
                    </a:cubicBezTo>
                    <a:cubicBezTo>
                      <a:pt x="234820" y="503080"/>
                      <a:pt x="231338" y="517385"/>
                      <a:pt x="225516" y="530795"/>
                    </a:cubicBezTo>
                    <a:cubicBezTo>
                      <a:pt x="225424" y="531405"/>
                      <a:pt x="225424" y="532025"/>
                      <a:pt x="225516" y="532635"/>
                    </a:cubicBezTo>
                    <a:close/>
                  </a:path>
                </a:pathLst>
              </a:custGeom>
              <a:solidFill>
                <a:srgbClr val="1D1D1B"/>
              </a:solidFill>
              <a:ln w="42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3" name="Freihandform: Form 72">
                <a:extLst>
                  <a:ext uri="{FF2B5EF4-FFF2-40B4-BE49-F238E27FC236}">
                    <a16:creationId xmlns:a16="http://schemas.microsoft.com/office/drawing/2014/main" id="{A2EBBEC9-6EF8-47A3-9203-28D8DACA1AC1}"/>
                  </a:ext>
                </a:extLst>
              </p:cNvPr>
              <p:cNvSpPr/>
              <p:nvPr/>
            </p:nvSpPr>
            <p:spPr>
              <a:xfrm>
                <a:off x="5852640" y="2520522"/>
                <a:ext cx="527022" cy="452700"/>
              </a:xfrm>
              <a:custGeom>
                <a:avLst/>
                <a:gdLst>
                  <a:gd name="connsiteX0" fmla="*/ 106031 w 527022"/>
                  <a:gd name="connsiteY0" fmla="*/ 275564 h 452700"/>
                  <a:gd name="connsiteX1" fmla="*/ 117356 w 527022"/>
                  <a:gd name="connsiteY1" fmla="*/ 255443 h 452700"/>
                  <a:gd name="connsiteX2" fmla="*/ 132412 w 527022"/>
                  <a:gd name="connsiteY2" fmla="*/ 231256 h 452700"/>
                  <a:gd name="connsiteX3" fmla="*/ 141634 w 527022"/>
                  <a:gd name="connsiteY3" fmla="*/ 216658 h 452700"/>
                  <a:gd name="connsiteX4" fmla="*/ 155661 w 527022"/>
                  <a:gd name="connsiteY4" fmla="*/ 195981 h 452700"/>
                  <a:gd name="connsiteX5" fmla="*/ 165999 w 527022"/>
                  <a:gd name="connsiteY5" fmla="*/ 181169 h 452700"/>
                  <a:gd name="connsiteX6" fmla="*/ 177924 w 527022"/>
                  <a:gd name="connsiteY6" fmla="*/ 165115 h 452700"/>
                  <a:gd name="connsiteX7" fmla="*/ 195082 w 527022"/>
                  <a:gd name="connsiteY7" fmla="*/ 143710 h 452700"/>
                  <a:gd name="connsiteX8" fmla="*/ 219747 w 527022"/>
                  <a:gd name="connsiteY8" fmla="*/ 114771 h 452700"/>
                  <a:gd name="connsiteX9" fmla="*/ 222878 w 527022"/>
                  <a:gd name="connsiteY9" fmla="*/ 111389 h 452700"/>
                  <a:gd name="connsiteX10" fmla="*/ 222621 w 527022"/>
                  <a:gd name="connsiteY10" fmla="*/ 108264 h 452700"/>
                  <a:gd name="connsiteX11" fmla="*/ 205463 w 527022"/>
                  <a:gd name="connsiteY11" fmla="*/ 92810 h 452700"/>
                  <a:gd name="connsiteX12" fmla="*/ 181656 w 527022"/>
                  <a:gd name="connsiteY12" fmla="*/ 73417 h 452700"/>
                  <a:gd name="connsiteX13" fmla="*/ 166171 w 527022"/>
                  <a:gd name="connsiteY13" fmla="*/ 62672 h 452700"/>
                  <a:gd name="connsiteX14" fmla="*/ 134900 w 527022"/>
                  <a:gd name="connsiteY14" fmla="*/ 44520 h 452700"/>
                  <a:gd name="connsiteX15" fmla="*/ 84026 w 527022"/>
                  <a:gd name="connsiteY15" fmla="*/ 30736 h 452700"/>
                  <a:gd name="connsiteX16" fmla="*/ 56487 w 527022"/>
                  <a:gd name="connsiteY16" fmla="*/ 38142 h 452700"/>
                  <a:gd name="connsiteX17" fmla="*/ 42847 w 527022"/>
                  <a:gd name="connsiteY17" fmla="*/ 51413 h 452700"/>
                  <a:gd name="connsiteX18" fmla="*/ 29034 w 527022"/>
                  <a:gd name="connsiteY18" fmla="*/ 89000 h 452700"/>
                  <a:gd name="connsiteX19" fmla="*/ 29377 w 527022"/>
                  <a:gd name="connsiteY19" fmla="*/ 156810 h 452700"/>
                  <a:gd name="connsiteX20" fmla="*/ 39930 w 527022"/>
                  <a:gd name="connsiteY20" fmla="*/ 210793 h 452700"/>
                  <a:gd name="connsiteX21" fmla="*/ 57603 w 527022"/>
                  <a:gd name="connsiteY21" fmla="*/ 268115 h 452700"/>
                  <a:gd name="connsiteX22" fmla="*/ 69828 w 527022"/>
                  <a:gd name="connsiteY22" fmla="*/ 299666 h 452700"/>
                  <a:gd name="connsiteX23" fmla="*/ 69356 w 527022"/>
                  <a:gd name="connsiteY23" fmla="*/ 305402 h 452700"/>
                  <a:gd name="connsiteX24" fmla="*/ 61978 w 527022"/>
                  <a:gd name="connsiteY24" fmla="*/ 318245 h 452700"/>
                  <a:gd name="connsiteX25" fmla="*/ 56144 w 527022"/>
                  <a:gd name="connsiteY25" fmla="*/ 329975 h 452700"/>
                  <a:gd name="connsiteX26" fmla="*/ 54686 w 527022"/>
                  <a:gd name="connsiteY26" fmla="*/ 331516 h 452700"/>
                  <a:gd name="connsiteX27" fmla="*/ 53656 w 527022"/>
                  <a:gd name="connsiteY27" fmla="*/ 329975 h 452700"/>
                  <a:gd name="connsiteX28" fmla="*/ 44219 w 527022"/>
                  <a:gd name="connsiteY28" fmla="*/ 307671 h 452700"/>
                  <a:gd name="connsiteX29" fmla="*/ 20069 w 527022"/>
                  <a:gd name="connsiteY29" fmla="*/ 239176 h 452700"/>
                  <a:gd name="connsiteX30" fmla="*/ 1453 w 527022"/>
                  <a:gd name="connsiteY30" fmla="*/ 148034 h 452700"/>
                  <a:gd name="connsiteX31" fmla="*/ 2525 w 527022"/>
                  <a:gd name="connsiteY31" fmla="*/ 84890 h 452700"/>
                  <a:gd name="connsiteX32" fmla="*/ 12391 w 527022"/>
                  <a:gd name="connsiteY32" fmla="*/ 51113 h 452700"/>
                  <a:gd name="connsiteX33" fmla="*/ 32552 w 527022"/>
                  <a:gd name="connsiteY33" fmla="*/ 22859 h 452700"/>
                  <a:gd name="connsiteX34" fmla="*/ 79179 w 527022"/>
                  <a:gd name="connsiteY34" fmla="*/ 4194 h 452700"/>
                  <a:gd name="connsiteX35" fmla="*/ 126921 w 527022"/>
                  <a:gd name="connsiteY35" fmla="*/ 12370 h 452700"/>
                  <a:gd name="connsiteX36" fmla="*/ 164112 w 527022"/>
                  <a:gd name="connsiteY36" fmla="*/ 29922 h 452700"/>
                  <a:gd name="connsiteX37" fmla="*/ 180884 w 527022"/>
                  <a:gd name="connsiteY37" fmla="*/ 40796 h 452700"/>
                  <a:gd name="connsiteX38" fmla="*/ 199414 w 527022"/>
                  <a:gd name="connsiteY38" fmla="*/ 53639 h 452700"/>
                  <a:gd name="connsiteX39" fmla="*/ 233044 w 527022"/>
                  <a:gd name="connsiteY39" fmla="*/ 81636 h 452700"/>
                  <a:gd name="connsiteX40" fmla="*/ 240465 w 527022"/>
                  <a:gd name="connsiteY40" fmla="*/ 88700 h 452700"/>
                  <a:gd name="connsiteX41" fmla="*/ 244454 w 527022"/>
                  <a:gd name="connsiteY41" fmla="*/ 88700 h 452700"/>
                  <a:gd name="connsiteX42" fmla="*/ 264658 w 527022"/>
                  <a:gd name="connsiteY42" fmla="*/ 69778 h 452700"/>
                  <a:gd name="connsiteX43" fmla="*/ 306824 w 527022"/>
                  <a:gd name="connsiteY43" fmla="*/ 36386 h 452700"/>
                  <a:gd name="connsiteX44" fmla="*/ 344701 w 527022"/>
                  <a:gd name="connsiteY44" fmla="*/ 14339 h 452700"/>
                  <a:gd name="connsiteX45" fmla="*/ 397591 w 527022"/>
                  <a:gd name="connsiteY45" fmla="*/ 84 h 452700"/>
                  <a:gd name="connsiteX46" fmla="*/ 444046 w 527022"/>
                  <a:gd name="connsiteY46" fmla="*/ 12413 h 452700"/>
                  <a:gd name="connsiteX47" fmla="*/ 465494 w 527022"/>
                  <a:gd name="connsiteY47" fmla="*/ 34546 h 452700"/>
                  <a:gd name="connsiteX48" fmla="*/ 481279 w 527022"/>
                  <a:gd name="connsiteY48" fmla="*/ 74401 h 452700"/>
                  <a:gd name="connsiteX49" fmla="*/ 484110 w 527022"/>
                  <a:gd name="connsiteY49" fmla="*/ 77270 h 452700"/>
                  <a:gd name="connsiteX50" fmla="*/ 524861 w 527022"/>
                  <a:gd name="connsiteY50" fmla="*/ 116269 h 452700"/>
                  <a:gd name="connsiteX51" fmla="*/ 523788 w 527022"/>
                  <a:gd name="connsiteY51" fmla="*/ 148805 h 452700"/>
                  <a:gd name="connsiteX52" fmla="*/ 516024 w 527022"/>
                  <a:gd name="connsiteY52" fmla="*/ 164173 h 452700"/>
                  <a:gd name="connsiteX53" fmla="*/ 493419 w 527022"/>
                  <a:gd name="connsiteY53" fmla="*/ 182110 h 452700"/>
                  <a:gd name="connsiteX54" fmla="*/ 442759 w 527022"/>
                  <a:gd name="connsiteY54" fmla="*/ 178686 h 452700"/>
                  <a:gd name="connsiteX55" fmla="*/ 416422 w 527022"/>
                  <a:gd name="connsiteY55" fmla="*/ 139044 h 452700"/>
                  <a:gd name="connsiteX56" fmla="*/ 452110 w 527022"/>
                  <a:gd name="connsiteY56" fmla="*/ 79110 h 452700"/>
                  <a:gd name="connsiteX57" fmla="*/ 454084 w 527022"/>
                  <a:gd name="connsiteY57" fmla="*/ 75643 h 452700"/>
                  <a:gd name="connsiteX58" fmla="*/ 439070 w 527022"/>
                  <a:gd name="connsiteY58" fmla="*/ 43536 h 452700"/>
                  <a:gd name="connsiteX59" fmla="*/ 407628 w 527022"/>
                  <a:gd name="connsiteY59" fmla="*/ 26883 h 452700"/>
                  <a:gd name="connsiteX60" fmla="*/ 374556 w 527022"/>
                  <a:gd name="connsiteY60" fmla="*/ 31164 h 452700"/>
                  <a:gd name="connsiteX61" fmla="*/ 338567 w 527022"/>
                  <a:gd name="connsiteY61" fmla="*/ 47560 h 452700"/>
                  <a:gd name="connsiteX62" fmla="*/ 285977 w 527022"/>
                  <a:gd name="connsiteY62" fmla="*/ 86088 h 452700"/>
                  <a:gd name="connsiteX63" fmla="*/ 235832 w 527022"/>
                  <a:gd name="connsiteY63" fmla="*/ 136390 h 452700"/>
                  <a:gd name="connsiteX64" fmla="*/ 203918 w 527022"/>
                  <a:gd name="connsiteY64" fmla="*/ 175218 h 452700"/>
                  <a:gd name="connsiteX65" fmla="*/ 182128 w 527022"/>
                  <a:gd name="connsiteY65" fmla="*/ 204500 h 452700"/>
                  <a:gd name="connsiteX66" fmla="*/ 166943 w 527022"/>
                  <a:gd name="connsiteY66" fmla="*/ 226675 h 452700"/>
                  <a:gd name="connsiteX67" fmla="*/ 141205 w 527022"/>
                  <a:gd name="connsiteY67" fmla="*/ 267687 h 452700"/>
                  <a:gd name="connsiteX68" fmla="*/ 126793 w 527022"/>
                  <a:gd name="connsiteY68" fmla="*/ 292174 h 452700"/>
                  <a:gd name="connsiteX69" fmla="*/ 109635 w 527022"/>
                  <a:gd name="connsiteY69" fmla="*/ 324453 h 452700"/>
                  <a:gd name="connsiteX70" fmla="*/ 93806 w 527022"/>
                  <a:gd name="connsiteY70" fmla="*/ 357373 h 452700"/>
                  <a:gd name="connsiteX71" fmla="*/ 77849 w 527022"/>
                  <a:gd name="connsiteY71" fmla="*/ 394832 h 452700"/>
                  <a:gd name="connsiteX72" fmla="*/ 60691 w 527022"/>
                  <a:gd name="connsiteY72" fmla="*/ 439696 h 452700"/>
                  <a:gd name="connsiteX73" fmla="*/ 57217 w 527022"/>
                  <a:gd name="connsiteY73" fmla="*/ 450655 h 452700"/>
                  <a:gd name="connsiteX74" fmla="*/ 54514 w 527022"/>
                  <a:gd name="connsiteY74" fmla="*/ 452539 h 452700"/>
                  <a:gd name="connsiteX75" fmla="*/ 34096 w 527022"/>
                  <a:gd name="connsiteY75" fmla="*/ 447188 h 452700"/>
                  <a:gd name="connsiteX76" fmla="*/ 31865 w 527022"/>
                  <a:gd name="connsiteY76" fmla="*/ 442436 h 452700"/>
                  <a:gd name="connsiteX77" fmla="*/ 40873 w 527022"/>
                  <a:gd name="connsiteY77" fmla="*/ 415894 h 452700"/>
                  <a:gd name="connsiteX78" fmla="*/ 50825 w 527022"/>
                  <a:gd name="connsiteY78" fmla="*/ 389309 h 452700"/>
                  <a:gd name="connsiteX79" fmla="*/ 57560 w 527022"/>
                  <a:gd name="connsiteY79" fmla="*/ 373384 h 452700"/>
                  <a:gd name="connsiteX80" fmla="*/ 63308 w 527022"/>
                  <a:gd name="connsiteY80" fmla="*/ 359985 h 452700"/>
                  <a:gd name="connsiteX81" fmla="*/ 68884 w 527022"/>
                  <a:gd name="connsiteY81" fmla="*/ 347142 h 452700"/>
                  <a:gd name="connsiteX82" fmla="*/ 75747 w 527022"/>
                  <a:gd name="connsiteY82" fmla="*/ 332929 h 452700"/>
                  <a:gd name="connsiteX83" fmla="*/ 91704 w 527022"/>
                  <a:gd name="connsiteY83" fmla="*/ 300479 h 452700"/>
                  <a:gd name="connsiteX84" fmla="*/ 105774 w 527022"/>
                  <a:gd name="connsiteY84" fmla="*/ 275264 h 452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</a:cxnLst>
                <a:rect l="l" t="t" r="r" b="b"/>
                <a:pathLst>
                  <a:path w="527022" h="452700">
                    <a:moveTo>
                      <a:pt x="106031" y="275564"/>
                    </a:moveTo>
                    <a:cubicBezTo>
                      <a:pt x="109806" y="268843"/>
                      <a:pt x="113409" y="262079"/>
                      <a:pt x="117356" y="255443"/>
                    </a:cubicBezTo>
                    <a:cubicBezTo>
                      <a:pt x="122246" y="247310"/>
                      <a:pt x="127350" y="239304"/>
                      <a:pt x="132412" y="231256"/>
                    </a:cubicBezTo>
                    <a:cubicBezTo>
                      <a:pt x="135457" y="226376"/>
                      <a:pt x="138460" y="221453"/>
                      <a:pt x="141634" y="216658"/>
                    </a:cubicBezTo>
                    <a:cubicBezTo>
                      <a:pt x="146224" y="209680"/>
                      <a:pt x="150943" y="202830"/>
                      <a:pt x="155661" y="195981"/>
                    </a:cubicBezTo>
                    <a:cubicBezTo>
                      <a:pt x="159050" y="191015"/>
                      <a:pt x="162482" y="186049"/>
                      <a:pt x="165999" y="181169"/>
                    </a:cubicBezTo>
                    <a:cubicBezTo>
                      <a:pt x="169516" y="176288"/>
                      <a:pt x="173849" y="170381"/>
                      <a:pt x="177924" y="165115"/>
                    </a:cubicBezTo>
                    <a:cubicBezTo>
                      <a:pt x="183500" y="157923"/>
                      <a:pt x="189077" y="150774"/>
                      <a:pt x="195082" y="143710"/>
                    </a:cubicBezTo>
                    <a:cubicBezTo>
                      <a:pt x="203189" y="133950"/>
                      <a:pt x="211511" y="124403"/>
                      <a:pt x="219747" y="114771"/>
                    </a:cubicBezTo>
                    <a:cubicBezTo>
                      <a:pt x="220733" y="113615"/>
                      <a:pt x="221806" y="112502"/>
                      <a:pt x="222878" y="111389"/>
                    </a:cubicBezTo>
                    <a:cubicBezTo>
                      <a:pt x="223950" y="110276"/>
                      <a:pt x="223908" y="109377"/>
                      <a:pt x="222621" y="108264"/>
                    </a:cubicBezTo>
                    <a:cubicBezTo>
                      <a:pt x="216873" y="103169"/>
                      <a:pt x="211382" y="97776"/>
                      <a:pt x="205463" y="92810"/>
                    </a:cubicBezTo>
                    <a:cubicBezTo>
                      <a:pt x="197656" y="86160"/>
                      <a:pt x="189720" y="79696"/>
                      <a:pt x="181656" y="73417"/>
                    </a:cubicBezTo>
                    <a:cubicBezTo>
                      <a:pt x="176680" y="69607"/>
                      <a:pt x="171318" y="66268"/>
                      <a:pt x="166171" y="62672"/>
                    </a:cubicBezTo>
                    <a:cubicBezTo>
                      <a:pt x="156250" y="55796"/>
                      <a:pt x="145793" y="49726"/>
                      <a:pt x="134900" y="44520"/>
                    </a:cubicBezTo>
                    <a:cubicBezTo>
                      <a:pt x="119206" y="36142"/>
                      <a:pt x="101811" y="31428"/>
                      <a:pt x="84026" y="30736"/>
                    </a:cubicBezTo>
                    <a:cubicBezTo>
                      <a:pt x="74320" y="30475"/>
                      <a:pt x="64748" y="33049"/>
                      <a:pt x="56487" y="38142"/>
                    </a:cubicBezTo>
                    <a:cubicBezTo>
                      <a:pt x="51030" y="41526"/>
                      <a:pt x="46376" y="46054"/>
                      <a:pt x="42847" y="51413"/>
                    </a:cubicBezTo>
                    <a:cubicBezTo>
                      <a:pt x="35559" y="62790"/>
                      <a:pt x="30845" y="75617"/>
                      <a:pt x="29034" y="89000"/>
                    </a:cubicBezTo>
                    <a:cubicBezTo>
                      <a:pt x="25909" y="111504"/>
                      <a:pt x="26025" y="134338"/>
                      <a:pt x="29377" y="156810"/>
                    </a:cubicBezTo>
                    <a:cubicBezTo>
                      <a:pt x="31822" y="174997"/>
                      <a:pt x="35346" y="193023"/>
                      <a:pt x="39930" y="210793"/>
                    </a:cubicBezTo>
                    <a:cubicBezTo>
                      <a:pt x="44777" y="230229"/>
                      <a:pt x="50911" y="249322"/>
                      <a:pt x="57603" y="268115"/>
                    </a:cubicBezTo>
                    <a:cubicBezTo>
                      <a:pt x="61377" y="278732"/>
                      <a:pt x="65624" y="289220"/>
                      <a:pt x="69828" y="299666"/>
                    </a:cubicBezTo>
                    <a:cubicBezTo>
                      <a:pt x="70695" y="301527"/>
                      <a:pt x="70515" y="303707"/>
                      <a:pt x="69356" y="305402"/>
                    </a:cubicBezTo>
                    <a:cubicBezTo>
                      <a:pt x="66739" y="309683"/>
                      <a:pt x="64294" y="313964"/>
                      <a:pt x="61978" y="318245"/>
                    </a:cubicBezTo>
                    <a:cubicBezTo>
                      <a:pt x="59662" y="322526"/>
                      <a:pt x="58117" y="326079"/>
                      <a:pt x="56144" y="329975"/>
                    </a:cubicBezTo>
                    <a:cubicBezTo>
                      <a:pt x="55739" y="330559"/>
                      <a:pt x="55247" y="331079"/>
                      <a:pt x="54686" y="331516"/>
                    </a:cubicBezTo>
                    <a:cubicBezTo>
                      <a:pt x="54303" y="331029"/>
                      <a:pt x="53959" y="330514"/>
                      <a:pt x="53656" y="329975"/>
                    </a:cubicBezTo>
                    <a:cubicBezTo>
                      <a:pt x="50482" y="322526"/>
                      <a:pt x="47222" y="315163"/>
                      <a:pt x="44219" y="307671"/>
                    </a:cubicBezTo>
                    <a:cubicBezTo>
                      <a:pt x="35125" y="285153"/>
                      <a:pt x="27061" y="262336"/>
                      <a:pt x="20069" y="239176"/>
                    </a:cubicBezTo>
                    <a:cubicBezTo>
                      <a:pt x="11005" y="209447"/>
                      <a:pt x="4772" y="178931"/>
                      <a:pt x="1453" y="148034"/>
                    </a:cubicBezTo>
                    <a:cubicBezTo>
                      <a:pt x="-861" y="127025"/>
                      <a:pt x="-501" y="105808"/>
                      <a:pt x="2525" y="84890"/>
                    </a:cubicBezTo>
                    <a:cubicBezTo>
                      <a:pt x="4372" y="73260"/>
                      <a:pt x="7687" y="61911"/>
                      <a:pt x="12391" y="51113"/>
                    </a:cubicBezTo>
                    <a:cubicBezTo>
                      <a:pt x="16997" y="40358"/>
                      <a:pt x="23874" y="30720"/>
                      <a:pt x="32552" y="22859"/>
                    </a:cubicBezTo>
                    <a:cubicBezTo>
                      <a:pt x="45376" y="11302"/>
                      <a:pt x="61907" y="4685"/>
                      <a:pt x="79179" y="4194"/>
                    </a:cubicBezTo>
                    <a:cubicBezTo>
                      <a:pt x="95482" y="3695"/>
                      <a:pt x="111718" y="6476"/>
                      <a:pt x="126921" y="12370"/>
                    </a:cubicBezTo>
                    <a:cubicBezTo>
                      <a:pt x="139829" y="17075"/>
                      <a:pt x="152278" y="22950"/>
                      <a:pt x="164112" y="29922"/>
                    </a:cubicBezTo>
                    <a:cubicBezTo>
                      <a:pt x="169859" y="33304"/>
                      <a:pt x="175393" y="37029"/>
                      <a:pt x="180884" y="40796"/>
                    </a:cubicBezTo>
                    <a:cubicBezTo>
                      <a:pt x="187146" y="45077"/>
                      <a:pt x="193366" y="49358"/>
                      <a:pt x="199414" y="53639"/>
                    </a:cubicBezTo>
                    <a:cubicBezTo>
                      <a:pt x="211112" y="62371"/>
                      <a:pt x="222338" y="71717"/>
                      <a:pt x="233044" y="81636"/>
                    </a:cubicBezTo>
                    <a:lnTo>
                      <a:pt x="240465" y="88700"/>
                    </a:lnTo>
                    <a:cubicBezTo>
                      <a:pt x="242481" y="90498"/>
                      <a:pt x="242481" y="90541"/>
                      <a:pt x="244454" y="88700"/>
                    </a:cubicBezTo>
                    <a:cubicBezTo>
                      <a:pt x="251189" y="82407"/>
                      <a:pt x="257838" y="75857"/>
                      <a:pt x="264658" y="69778"/>
                    </a:cubicBezTo>
                    <a:cubicBezTo>
                      <a:pt x="277890" y="57649"/>
                      <a:pt x="291982" y="46490"/>
                      <a:pt x="306824" y="36386"/>
                    </a:cubicBezTo>
                    <a:cubicBezTo>
                      <a:pt x="318824" y="28016"/>
                      <a:pt x="331492" y="20642"/>
                      <a:pt x="344701" y="14339"/>
                    </a:cubicBezTo>
                    <a:cubicBezTo>
                      <a:pt x="361210" y="6138"/>
                      <a:pt x="379188" y="1292"/>
                      <a:pt x="397591" y="84"/>
                    </a:cubicBezTo>
                    <a:cubicBezTo>
                      <a:pt x="414004" y="-927"/>
                      <a:pt x="430304" y="3399"/>
                      <a:pt x="444046" y="12413"/>
                    </a:cubicBezTo>
                    <a:cubicBezTo>
                      <a:pt x="452667" y="18214"/>
                      <a:pt x="459973" y="25753"/>
                      <a:pt x="465494" y="34546"/>
                    </a:cubicBezTo>
                    <a:cubicBezTo>
                      <a:pt x="473149" y="46758"/>
                      <a:pt x="478499" y="60266"/>
                      <a:pt x="481279" y="74401"/>
                    </a:cubicBezTo>
                    <a:cubicBezTo>
                      <a:pt x="481414" y="75910"/>
                      <a:pt x="482601" y="77112"/>
                      <a:pt x="484110" y="77270"/>
                    </a:cubicBezTo>
                    <a:cubicBezTo>
                      <a:pt x="503911" y="81682"/>
                      <a:pt x="519614" y="96711"/>
                      <a:pt x="524861" y="116269"/>
                    </a:cubicBezTo>
                    <a:cubicBezTo>
                      <a:pt x="528007" y="126949"/>
                      <a:pt x="527631" y="138354"/>
                      <a:pt x="523788" y="148805"/>
                    </a:cubicBezTo>
                    <a:cubicBezTo>
                      <a:pt x="521995" y="154290"/>
                      <a:pt x="519377" y="159472"/>
                      <a:pt x="516024" y="164173"/>
                    </a:cubicBezTo>
                    <a:cubicBezTo>
                      <a:pt x="510306" y="172133"/>
                      <a:pt x="502478" y="178344"/>
                      <a:pt x="493419" y="182110"/>
                    </a:cubicBezTo>
                    <a:cubicBezTo>
                      <a:pt x="477010" y="189433"/>
                      <a:pt x="458029" y="188150"/>
                      <a:pt x="442759" y="178686"/>
                    </a:cubicBezTo>
                    <a:cubicBezTo>
                      <a:pt x="428222" y="170341"/>
                      <a:pt x="418465" y="155656"/>
                      <a:pt x="416422" y="139044"/>
                    </a:cubicBezTo>
                    <a:cubicBezTo>
                      <a:pt x="412547" y="113143"/>
                      <a:pt x="427462" y="88095"/>
                      <a:pt x="452110" y="79110"/>
                    </a:cubicBezTo>
                    <a:cubicBezTo>
                      <a:pt x="454641" y="78169"/>
                      <a:pt x="454727" y="78169"/>
                      <a:pt x="454084" y="75643"/>
                    </a:cubicBezTo>
                    <a:cubicBezTo>
                      <a:pt x="451606" y="63935"/>
                      <a:pt x="446470" y="52951"/>
                      <a:pt x="439070" y="43536"/>
                    </a:cubicBezTo>
                    <a:cubicBezTo>
                      <a:pt x="431293" y="33951"/>
                      <a:pt x="419941" y="27939"/>
                      <a:pt x="407628" y="26883"/>
                    </a:cubicBezTo>
                    <a:cubicBezTo>
                      <a:pt x="396428" y="26091"/>
                      <a:pt x="385183" y="27547"/>
                      <a:pt x="374556" y="31164"/>
                    </a:cubicBezTo>
                    <a:cubicBezTo>
                      <a:pt x="361966" y="35226"/>
                      <a:pt x="349889" y="40728"/>
                      <a:pt x="338567" y="47560"/>
                    </a:cubicBezTo>
                    <a:cubicBezTo>
                      <a:pt x="319844" y="58698"/>
                      <a:pt x="302234" y="71599"/>
                      <a:pt x="285977" y="86088"/>
                    </a:cubicBezTo>
                    <a:cubicBezTo>
                      <a:pt x="268163" y="101727"/>
                      <a:pt x="251411" y="118531"/>
                      <a:pt x="235832" y="136390"/>
                    </a:cubicBezTo>
                    <a:cubicBezTo>
                      <a:pt x="224765" y="148933"/>
                      <a:pt x="214385" y="162076"/>
                      <a:pt x="203918" y="175218"/>
                    </a:cubicBezTo>
                    <a:cubicBezTo>
                      <a:pt x="196369" y="184765"/>
                      <a:pt x="189248" y="194654"/>
                      <a:pt x="182128" y="204500"/>
                    </a:cubicBezTo>
                    <a:cubicBezTo>
                      <a:pt x="176894" y="211778"/>
                      <a:pt x="172004" y="219312"/>
                      <a:pt x="166943" y="226675"/>
                    </a:cubicBezTo>
                    <a:cubicBezTo>
                      <a:pt x="157763" y="240032"/>
                      <a:pt x="149484" y="253902"/>
                      <a:pt x="141205" y="267687"/>
                    </a:cubicBezTo>
                    <a:cubicBezTo>
                      <a:pt x="136272" y="275778"/>
                      <a:pt x="131297" y="283869"/>
                      <a:pt x="126793" y="292174"/>
                    </a:cubicBezTo>
                    <a:cubicBezTo>
                      <a:pt x="120959" y="302834"/>
                      <a:pt x="115254" y="313579"/>
                      <a:pt x="109635" y="324453"/>
                    </a:cubicBezTo>
                    <a:cubicBezTo>
                      <a:pt x="104015" y="335326"/>
                      <a:pt x="98825" y="346285"/>
                      <a:pt x="93806" y="357373"/>
                    </a:cubicBezTo>
                    <a:cubicBezTo>
                      <a:pt x="88230" y="369745"/>
                      <a:pt x="82868" y="382246"/>
                      <a:pt x="77849" y="394832"/>
                    </a:cubicBezTo>
                    <a:cubicBezTo>
                      <a:pt x="71930" y="409687"/>
                      <a:pt x="66482" y="424798"/>
                      <a:pt x="60691" y="439696"/>
                    </a:cubicBezTo>
                    <a:cubicBezTo>
                      <a:pt x="59361" y="443292"/>
                      <a:pt x="58246" y="446974"/>
                      <a:pt x="57217" y="450655"/>
                    </a:cubicBezTo>
                    <a:cubicBezTo>
                      <a:pt x="56788" y="452197"/>
                      <a:pt x="56101" y="452924"/>
                      <a:pt x="54514" y="452539"/>
                    </a:cubicBezTo>
                    <a:cubicBezTo>
                      <a:pt x="47694" y="450784"/>
                      <a:pt x="40831" y="449157"/>
                      <a:pt x="34096" y="447188"/>
                    </a:cubicBezTo>
                    <a:cubicBezTo>
                      <a:pt x="30879" y="446246"/>
                      <a:pt x="30793" y="445689"/>
                      <a:pt x="31865" y="442436"/>
                    </a:cubicBezTo>
                    <a:cubicBezTo>
                      <a:pt x="34782" y="433574"/>
                      <a:pt x="37699" y="424713"/>
                      <a:pt x="40873" y="415894"/>
                    </a:cubicBezTo>
                    <a:cubicBezTo>
                      <a:pt x="44048" y="407075"/>
                      <a:pt x="47393" y="398128"/>
                      <a:pt x="50825" y="389309"/>
                    </a:cubicBezTo>
                    <a:cubicBezTo>
                      <a:pt x="52927" y="383958"/>
                      <a:pt x="55115" y="378692"/>
                      <a:pt x="57560" y="373384"/>
                    </a:cubicBezTo>
                    <a:cubicBezTo>
                      <a:pt x="59490" y="369103"/>
                      <a:pt x="61377" y="364437"/>
                      <a:pt x="63308" y="359985"/>
                    </a:cubicBezTo>
                    <a:cubicBezTo>
                      <a:pt x="65238" y="355532"/>
                      <a:pt x="66954" y="351423"/>
                      <a:pt x="68884" y="347142"/>
                    </a:cubicBezTo>
                    <a:cubicBezTo>
                      <a:pt x="70814" y="342861"/>
                      <a:pt x="73474" y="337638"/>
                      <a:pt x="75747" y="332929"/>
                    </a:cubicBezTo>
                    <a:cubicBezTo>
                      <a:pt x="81066" y="322098"/>
                      <a:pt x="86171" y="311182"/>
                      <a:pt x="91704" y="300479"/>
                    </a:cubicBezTo>
                    <a:cubicBezTo>
                      <a:pt x="95994" y="291917"/>
                      <a:pt x="101055" y="283655"/>
                      <a:pt x="105774" y="275264"/>
                    </a:cubicBezTo>
                    <a:close/>
                  </a:path>
                </a:pathLst>
              </a:custGeom>
              <a:solidFill>
                <a:srgbClr val="1D1D1B"/>
              </a:solidFill>
              <a:ln w="42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74" name="Gruppieren 73">
            <a:extLst>
              <a:ext uri="{FF2B5EF4-FFF2-40B4-BE49-F238E27FC236}">
                <a16:creationId xmlns:a16="http://schemas.microsoft.com/office/drawing/2014/main" id="{7F466799-7B43-4E82-AA42-E4915A6504DD}"/>
              </a:ext>
            </a:extLst>
          </p:cNvPr>
          <p:cNvGrpSpPr/>
          <p:nvPr/>
        </p:nvGrpSpPr>
        <p:grpSpPr>
          <a:xfrm>
            <a:off x="4448482" y="2484974"/>
            <a:ext cx="761335" cy="786278"/>
            <a:chOff x="4448482" y="2484974"/>
            <a:chExt cx="761335" cy="786278"/>
          </a:xfrm>
        </p:grpSpPr>
        <p:sp>
          <p:nvSpPr>
            <p:cNvPr id="75" name="Freihandform: Form 74">
              <a:extLst>
                <a:ext uri="{FF2B5EF4-FFF2-40B4-BE49-F238E27FC236}">
                  <a16:creationId xmlns:a16="http://schemas.microsoft.com/office/drawing/2014/main" id="{17AF22D7-F417-4883-B6F1-2AE15920831F}"/>
                </a:ext>
              </a:extLst>
            </p:cNvPr>
            <p:cNvSpPr/>
            <p:nvPr/>
          </p:nvSpPr>
          <p:spPr>
            <a:xfrm>
              <a:off x="4742665" y="2484974"/>
              <a:ext cx="39559" cy="64844"/>
            </a:xfrm>
            <a:custGeom>
              <a:avLst/>
              <a:gdLst>
                <a:gd name="connsiteX0" fmla="*/ 0 w 39559"/>
                <a:gd name="connsiteY0" fmla="*/ 0 h 64844"/>
                <a:gd name="connsiteX1" fmla="*/ 39559 w 39559"/>
                <a:gd name="connsiteY1" fmla="*/ 0 h 64844"/>
                <a:gd name="connsiteX2" fmla="*/ 39559 w 39559"/>
                <a:gd name="connsiteY2" fmla="*/ 64844 h 64844"/>
                <a:gd name="connsiteX3" fmla="*/ 0 w 39559"/>
                <a:gd name="connsiteY3" fmla="*/ 64844 h 6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9" h="64844">
                  <a:moveTo>
                    <a:pt x="0" y="0"/>
                  </a:moveTo>
                  <a:lnTo>
                    <a:pt x="39559" y="0"/>
                  </a:lnTo>
                  <a:lnTo>
                    <a:pt x="39559" y="64844"/>
                  </a:lnTo>
                  <a:lnTo>
                    <a:pt x="0" y="64844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ihandform: Form 75">
              <a:extLst>
                <a:ext uri="{FF2B5EF4-FFF2-40B4-BE49-F238E27FC236}">
                  <a16:creationId xmlns:a16="http://schemas.microsoft.com/office/drawing/2014/main" id="{7DE39E1E-B553-4830-BECE-00A52A9D18D1}"/>
                </a:ext>
              </a:extLst>
            </p:cNvPr>
            <p:cNvSpPr/>
            <p:nvPr/>
          </p:nvSpPr>
          <p:spPr>
            <a:xfrm>
              <a:off x="4876123" y="2484974"/>
              <a:ext cx="39559" cy="64844"/>
            </a:xfrm>
            <a:custGeom>
              <a:avLst/>
              <a:gdLst>
                <a:gd name="connsiteX0" fmla="*/ 0 w 39559"/>
                <a:gd name="connsiteY0" fmla="*/ 0 h 64844"/>
                <a:gd name="connsiteX1" fmla="*/ 39559 w 39559"/>
                <a:gd name="connsiteY1" fmla="*/ 0 h 64844"/>
                <a:gd name="connsiteX2" fmla="*/ 39559 w 39559"/>
                <a:gd name="connsiteY2" fmla="*/ 64844 h 64844"/>
                <a:gd name="connsiteX3" fmla="*/ 0 w 39559"/>
                <a:gd name="connsiteY3" fmla="*/ 64844 h 6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9" h="64844">
                  <a:moveTo>
                    <a:pt x="0" y="0"/>
                  </a:moveTo>
                  <a:lnTo>
                    <a:pt x="39559" y="0"/>
                  </a:lnTo>
                  <a:lnTo>
                    <a:pt x="39559" y="64844"/>
                  </a:lnTo>
                  <a:lnTo>
                    <a:pt x="0" y="64844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Freihandform: Form 76">
              <a:extLst>
                <a:ext uri="{FF2B5EF4-FFF2-40B4-BE49-F238E27FC236}">
                  <a16:creationId xmlns:a16="http://schemas.microsoft.com/office/drawing/2014/main" id="{BCCCC66C-84E3-46FD-94CE-2ABEE3F893DA}"/>
                </a:ext>
              </a:extLst>
            </p:cNvPr>
            <p:cNvSpPr/>
            <p:nvPr/>
          </p:nvSpPr>
          <p:spPr>
            <a:xfrm>
              <a:off x="4671917" y="2484974"/>
              <a:ext cx="39559" cy="64844"/>
            </a:xfrm>
            <a:custGeom>
              <a:avLst/>
              <a:gdLst>
                <a:gd name="connsiteX0" fmla="*/ 0 w 39559"/>
                <a:gd name="connsiteY0" fmla="*/ 0 h 64844"/>
                <a:gd name="connsiteX1" fmla="*/ 39559 w 39559"/>
                <a:gd name="connsiteY1" fmla="*/ 0 h 64844"/>
                <a:gd name="connsiteX2" fmla="*/ 39559 w 39559"/>
                <a:gd name="connsiteY2" fmla="*/ 64844 h 64844"/>
                <a:gd name="connsiteX3" fmla="*/ 0 w 39559"/>
                <a:gd name="connsiteY3" fmla="*/ 64844 h 6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9" h="64844">
                  <a:moveTo>
                    <a:pt x="0" y="0"/>
                  </a:moveTo>
                  <a:lnTo>
                    <a:pt x="39559" y="0"/>
                  </a:lnTo>
                  <a:lnTo>
                    <a:pt x="39559" y="64844"/>
                  </a:lnTo>
                  <a:lnTo>
                    <a:pt x="0" y="64844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ihandform: Form 77">
              <a:extLst>
                <a:ext uri="{FF2B5EF4-FFF2-40B4-BE49-F238E27FC236}">
                  <a16:creationId xmlns:a16="http://schemas.microsoft.com/office/drawing/2014/main" id="{C386A020-CF3D-4B5B-9BA7-3179B94E69DE}"/>
                </a:ext>
              </a:extLst>
            </p:cNvPr>
            <p:cNvSpPr/>
            <p:nvPr/>
          </p:nvSpPr>
          <p:spPr>
            <a:xfrm>
              <a:off x="4946871" y="2484974"/>
              <a:ext cx="39559" cy="64844"/>
            </a:xfrm>
            <a:custGeom>
              <a:avLst/>
              <a:gdLst>
                <a:gd name="connsiteX0" fmla="*/ 0 w 39559"/>
                <a:gd name="connsiteY0" fmla="*/ 0 h 64844"/>
                <a:gd name="connsiteX1" fmla="*/ 39559 w 39559"/>
                <a:gd name="connsiteY1" fmla="*/ 0 h 64844"/>
                <a:gd name="connsiteX2" fmla="*/ 39559 w 39559"/>
                <a:gd name="connsiteY2" fmla="*/ 64844 h 64844"/>
                <a:gd name="connsiteX3" fmla="*/ 0 w 39559"/>
                <a:gd name="connsiteY3" fmla="*/ 64844 h 6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9" h="64844">
                  <a:moveTo>
                    <a:pt x="0" y="0"/>
                  </a:moveTo>
                  <a:lnTo>
                    <a:pt x="39559" y="0"/>
                  </a:lnTo>
                  <a:lnTo>
                    <a:pt x="39559" y="64844"/>
                  </a:lnTo>
                  <a:lnTo>
                    <a:pt x="0" y="64844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" name="Freihandform: Form 78">
              <a:extLst>
                <a:ext uri="{FF2B5EF4-FFF2-40B4-BE49-F238E27FC236}">
                  <a16:creationId xmlns:a16="http://schemas.microsoft.com/office/drawing/2014/main" id="{1F52F6A6-BEBF-43D6-80D3-C6BD919A01D4}"/>
                </a:ext>
              </a:extLst>
            </p:cNvPr>
            <p:cNvSpPr/>
            <p:nvPr/>
          </p:nvSpPr>
          <p:spPr>
            <a:xfrm>
              <a:off x="4601218" y="2484974"/>
              <a:ext cx="39559" cy="64844"/>
            </a:xfrm>
            <a:custGeom>
              <a:avLst/>
              <a:gdLst>
                <a:gd name="connsiteX0" fmla="*/ 0 w 39559"/>
                <a:gd name="connsiteY0" fmla="*/ 0 h 64844"/>
                <a:gd name="connsiteX1" fmla="*/ 39559 w 39559"/>
                <a:gd name="connsiteY1" fmla="*/ 0 h 64844"/>
                <a:gd name="connsiteX2" fmla="*/ 39559 w 39559"/>
                <a:gd name="connsiteY2" fmla="*/ 64844 h 64844"/>
                <a:gd name="connsiteX3" fmla="*/ 0 w 39559"/>
                <a:gd name="connsiteY3" fmla="*/ 64844 h 6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9" h="64844">
                  <a:moveTo>
                    <a:pt x="0" y="0"/>
                  </a:moveTo>
                  <a:lnTo>
                    <a:pt x="39559" y="0"/>
                  </a:lnTo>
                  <a:lnTo>
                    <a:pt x="39559" y="64844"/>
                  </a:lnTo>
                  <a:lnTo>
                    <a:pt x="0" y="64844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" name="Freihandform: Form 79">
              <a:extLst>
                <a:ext uri="{FF2B5EF4-FFF2-40B4-BE49-F238E27FC236}">
                  <a16:creationId xmlns:a16="http://schemas.microsoft.com/office/drawing/2014/main" id="{9F622C81-FE56-4E89-AE01-FC9B814CA9B0}"/>
                </a:ext>
              </a:extLst>
            </p:cNvPr>
            <p:cNvSpPr/>
            <p:nvPr/>
          </p:nvSpPr>
          <p:spPr>
            <a:xfrm>
              <a:off x="5017570" y="2484974"/>
              <a:ext cx="39559" cy="64844"/>
            </a:xfrm>
            <a:custGeom>
              <a:avLst/>
              <a:gdLst>
                <a:gd name="connsiteX0" fmla="*/ 0 w 39559"/>
                <a:gd name="connsiteY0" fmla="*/ 0 h 64844"/>
                <a:gd name="connsiteX1" fmla="*/ 39559 w 39559"/>
                <a:gd name="connsiteY1" fmla="*/ 0 h 64844"/>
                <a:gd name="connsiteX2" fmla="*/ 39559 w 39559"/>
                <a:gd name="connsiteY2" fmla="*/ 64844 h 64844"/>
                <a:gd name="connsiteX3" fmla="*/ 0 w 39559"/>
                <a:gd name="connsiteY3" fmla="*/ 64844 h 6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9" h="64844">
                  <a:moveTo>
                    <a:pt x="0" y="0"/>
                  </a:moveTo>
                  <a:lnTo>
                    <a:pt x="39559" y="0"/>
                  </a:lnTo>
                  <a:lnTo>
                    <a:pt x="39559" y="64844"/>
                  </a:lnTo>
                  <a:lnTo>
                    <a:pt x="0" y="64844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1" name="Freihandform: Form 80">
              <a:extLst>
                <a:ext uri="{FF2B5EF4-FFF2-40B4-BE49-F238E27FC236}">
                  <a16:creationId xmlns:a16="http://schemas.microsoft.com/office/drawing/2014/main" id="{FAB45603-E84D-47C5-88B8-A1B99FD7DA7F}"/>
                </a:ext>
              </a:extLst>
            </p:cNvPr>
            <p:cNvSpPr/>
            <p:nvPr/>
          </p:nvSpPr>
          <p:spPr>
            <a:xfrm>
              <a:off x="4809394" y="2484974"/>
              <a:ext cx="39559" cy="64844"/>
            </a:xfrm>
            <a:custGeom>
              <a:avLst/>
              <a:gdLst>
                <a:gd name="connsiteX0" fmla="*/ 0 w 39559"/>
                <a:gd name="connsiteY0" fmla="*/ 0 h 64844"/>
                <a:gd name="connsiteX1" fmla="*/ 39559 w 39559"/>
                <a:gd name="connsiteY1" fmla="*/ 0 h 64844"/>
                <a:gd name="connsiteX2" fmla="*/ 39559 w 39559"/>
                <a:gd name="connsiteY2" fmla="*/ 64844 h 64844"/>
                <a:gd name="connsiteX3" fmla="*/ 0 w 39559"/>
                <a:gd name="connsiteY3" fmla="*/ 64844 h 6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9" h="64844">
                  <a:moveTo>
                    <a:pt x="0" y="0"/>
                  </a:moveTo>
                  <a:lnTo>
                    <a:pt x="39559" y="0"/>
                  </a:lnTo>
                  <a:lnTo>
                    <a:pt x="39559" y="64844"/>
                  </a:lnTo>
                  <a:lnTo>
                    <a:pt x="0" y="64844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2" name="Freihandform: Form 81">
              <a:extLst>
                <a:ext uri="{FF2B5EF4-FFF2-40B4-BE49-F238E27FC236}">
                  <a16:creationId xmlns:a16="http://schemas.microsoft.com/office/drawing/2014/main" id="{C654CB06-4B2C-4072-AEE8-24DA1BC2ECE8}"/>
                </a:ext>
              </a:extLst>
            </p:cNvPr>
            <p:cNvSpPr/>
            <p:nvPr/>
          </p:nvSpPr>
          <p:spPr>
            <a:xfrm>
              <a:off x="4742665" y="3206408"/>
              <a:ext cx="39559" cy="64844"/>
            </a:xfrm>
            <a:custGeom>
              <a:avLst/>
              <a:gdLst>
                <a:gd name="connsiteX0" fmla="*/ 0 w 39559"/>
                <a:gd name="connsiteY0" fmla="*/ 0 h 64844"/>
                <a:gd name="connsiteX1" fmla="*/ 39559 w 39559"/>
                <a:gd name="connsiteY1" fmla="*/ 0 h 64844"/>
                <a:gd name="connsiteX2" fmla="*/ 39559 w 39559"/>
                <a:gd name="connsiteY2" fmla="*/ 64844 h 64844"/>
                <a:gd name="connsiteX3" fmla="*/ 0 w 39559"/>
                <a:gd name="connsiteY3" fmla="*/ 64844 h 6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9" h="64844">
                  <a:moveTo>
                    <a:pt x="0" y="0"/>
                  </a:moveTo>
                  <a:lnTo>
                    <a:pt x="39559" y="0"/>
                  </a:lnTo>
                  <a:lnTo>
                    <a:pt x="39559" y="64844"/>
                  </a:lnTo>
                  <a:lnTo>
                    <a:pt x="0" y="64844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3" name="Freihandform: Form 82">
              <a:extLst>
                <a:ext uri="{FF2B5EF4-FFF2-40B4-BE49-F238E27FC236}">
                  <a16:creationId xmlns:a16="http://schemas.microsoft.com/office/drawing/2014/main" id="{C4B5F53C-03CA-45BA-8643-2E218775E4DF}"/>
                </a:ext>
              </a:extLst>
            </p:cNvPr>
            <p:cNvSpPr/>
            <p:nvPr/>
          </p:nvSpPr>
          <p:spPr>
            <a:xfrm>
              <a:off x="4876123" y="3206408"/>
              <a:ext cx="39559" cy="64844"/>
            </a:xfrm>
            <a:custGeom>
              <a:avLst/>
              <a:gdLst>
                <a:gd name="connsiteX0" fmla="*/ 0 w 39559"/>
                <a:gd name="connsiteY0" fmla="*/ 0 h 64844"/>
                <a:gd name="connsiteX1" fmla="*/ 39559 w 39559"/>
                <a:gd name="connsiteY1" fmla="*/ 0 h 64844"/>
                <a:gd name="connsiteX2" fmla="*/ 39559 w 39559"/>
                <a:gd name="connsiteY2" fmla="*/ 64844 h 64844"/>
                <a:gd name="connsiteX3" fmla="*/ 0 w 39559"/>
                <a:gd name="connsiteY3" fmla="*/ 64844 h 6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9" h="64844">
                  <a:moveTo>
                    <a:pt x="0" y="0"/>
                  </a:moveTo>
                  <a:lnTo>
                    <a:pt x="39559" y="0"/>
                  </a:lnTo>
                  <a:lnTo>
                    <a:pt x="39559" y="64844"/>
                  </a:lnTo>
                  <a:lnTo>
                    <a:pt x="0" y="64844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4" name="Freihandform: Form 83">
              <a:extLst>
                <a:ext uri="{FF2B5EF4-FFF2-40B4-BE49-F238E27FC236}">
                  <a16:creationId xmlns:a16="http://schemas.microsoft.com/office/drawing/2014/main" id="{FDFECD7D-3E10-4E8B-A03F-AB6D8412DADA}"/>
                </a:ext>
              </a:extLst>
            </p:cNvPr>
            <p:cNvSpPr/>
            <p:nvPr/>
          </p:nvSpPr>
          <p:spPr>
            <a:xfrm>
              <a:off x="4671917" y="3206408"/>
              <a:ext cx="39559" cy="64844"/>
            </a:xfrm>
            <a:custGeom>
              <a:avLst/>
              <a:gdLst>
                <a:gd name="connsiteX0" fmla="*/ 0 w 39559"/>
                <a:gd name="connsiteY0" fmla="*/ 0 h 64844"/>
                <a:gd name="connsiteX1" fmla="*/ 39559 w 39559"/>
                <a:gd name="connsiteY1" fmla="*/ 0 h 64844"/>
                <a:gd name="connsiteX2" fmla="*/ 39559 w 39559"/>
                <a:gd name="connsiteY2" fmla="*/ 64844 h 64844"/>
                <a:gd name="connsiteX3" fmla="*/ 0 w 39559"/>
                <a:gd name="connsiteY3" fmla="*/ 64844 h 6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9" h="64844">
                  <a:moveTo>
                    <a:pt x="0" y="0"/>
                  </a:moveTo>
                  <a:lnTo>
                    <a:pt x="39559" y="0"/>
                  </a:lnTo>
                  <a:lnTo>
                    <a:pt x="39559" y="64844"/>
                  </a:lnTo>
                  <a:lnTo>
                    <a:pt x="0" y="64844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5" name="Freihandform: Form 84">
              <a:extLst>
                <a:ext uri="{FF2B5EF4-FFF2-40B4-BE49-F238E27FC236}">
                  <a16:creationId xmlns:a16="http://schemas.microsoft.com/office/drawing/2014/main" id="{3019600A-CEBE-4F8E-A320-A1CC9B9AE9C3}"/>
                </a:ext>
              </a:extLst>
            </p:cNvPr>
            <p:cNvSpPr/>
            <p:nvPr/>
          </p:nvSpPr>
          <p:spPr>
            <a:xfrm>
              <a:off x="4946871" y="3206408"/>
              <a:ext cx="39559" cy="64844"/>
            </a:xfrm>
            <a:custGeom>
              <a:avLst/>
              <a:gdLst>
                <a:gd name="connsiteX0" fmla="*/ 0 w 39559"/>
                <a:gd name="connsiteY0" fmla="*/ 0 h 64844"/>
                <a:gd name="connsiteX1" fmla="*/ 39559 w 39559"/>
                <a:gd name="connsiteY1" fmla="*/ 0 h 64844"/>
                <a:gd name="connsiteX2" fmla="*/ 39559 w 39559"/>
                <a:gd name="connsiteY2" fmla="*/ 64844 h 64844"/>
                <a:gd name="connsiteX3" fmla="*/ 0 w 39559"/>
                <a:gd name="connsiteY3" fmla="*/ 64844 h 6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9" h="64844">
                  <a:moveTo>
                    <a:pt x="0" y="0"/>
                  </a:moveTo>
                  <a:lnTo>
                    <a:pt x="39559" y="0"/>
                  </a:lnTo>
                  <a:lnTo>
                    <a:pt x="39559" y="64844"/>
                  </a:lnTo>
                  <a:lnTo>
                    <a:pt x="0" y="64844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6" name="Freihandform: Form 85">
              <a:extLst>
                <a:ext uri="{FF2B5EF4-FFF2-40B4-BE49-F238E27FC236}">
                  <a16:creationId xmlns:a16="http://schemas.microsoft.com/office/drawing/2014/main" id="{0700CBEB-9381-43F7-BCC8-2E54BF6C52A4}"/>
                </a:ext>
              </a:extLst>
            </p:cNvPr>
            <p:cNvSpPr/>
            <p:nvPr/>
          </p:nvSpPr>
          <p:spPr>
            <a:xfrm>
              <a:off x="4601218" y="3206408"/>
              <a:ext cx="39559" cy="64844"/>
            </a:xfrm>
            <a:custGeom>
              <a:avLst/>
              <a:gdLst>
                <a:gd name="connsiteX0" fmla="*/ 0 w 39559"/>
                <a:gd name="connsiteY0" fmla="*/ 0 h 64844"/>
                <a:gd name="connsiteX1" fmla="*/ 39559 w 39559"/>
                <a:gd name="connsiteY1" fmla="*/ 0 h 64844"/>
                <a:gd name="connsiteX2" fmla="*/ 39559 w 39559"/>
                <a:gd name="connsiteY2" fmla="*/ 64844 h 64844"/>
                <a:gd name="connsiteX3" fmla="*/ 0 w 39559"/>
                <a:gd name="connsiteY3" fmla="*/ 64844 h 6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9" h="64844">
                  <a:moveTo>
                    <a:pt x="0" y="0"/>
                  </a:moveTo>
                  <a:lnTo>
                    <a:pt x="39559" y="0"/>
                  </a:lnTo>
                  <a:lnTo>
                    <a:pt x="39559" y="64844"/>
                  </a:lnTo>
                  <a:lnTo>
                    <a:pt x="0" y="64844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7" name="Freihandform: Form 86">
              <a:extLst>
                <a:ext uri="{FF2B5EF4-FFF2-40B4-BE49-F238E27FC236}">
                  <a16:creationId xmlns:a16="http://schemas.microsoft.com/office/drawing/2014/main" id="{36B339C6-C16C-4308-B3E0-32F8D4B339F0}"/>
                </a:ext>
              </a:extLst>
            </p:cNvPr>
            <p:cNvSpPr/>
            <p:nvPr/>
          </p:nvSpPr>
          <p:spPr>
            <a:xfrm>
              <a:off x="5017570" y="3206408"/>
              <a:ext cx="39559" cy="64844"/>
            </a:xfrm>
            <a:custGeom>
              <a:avLst/>
              <a:gdLst>
                <a:gd name="connsiteX0" fmla="*/ 0 w 39559"/>
                <a:gd name="connsiteY0" fmla="*/ 0 h 64844"/>
                <a:gd name="connsiteX1" fmla="*/ 39559 w 39559"/>
                <a:gd name="connsiteY1" fmla="*/ 0 h 64844"/>
                <a:gd name="connsiteX2" fmla="*/ 39559 w 39559"/>
                <a:gd name="connsiteY2" fmla="*/ 64844 h 64844"/>
                <a:gd name="connsiteX3" fmla="*/ 0 w 39559"/>
                <a:gd name="connsiteY3" fmla="*/ 64844 h 6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9" h="64844">
                  <a:moveTo>
                    <a:pt x="0" y="0"/>
                  </a:moveTo>
                  <a:lnTo>
                    <a:pt x="39559" y="0"/>
                  </a:lnTo>
                  <a:lnTo>
                    <a:pt x="39559" y="64844"/>
                  </a:lnTo>
                  <a:lnTo>
                    <a:pt x="0" y="64844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8" name="Freihandform: Form 87">
              <a:extLst>
                <a:ext uri="{FF2B5EF4-FFF2-40B4-BE49-F238E27FC236}">
                  <a16:creationId xmlns:a16="http://schemas.microsoft.com/office/drawing/2014/main" id="{DA91A8B7-279B-473D-934F-B31523E8AD8F}"/>
                </a:ext>
              </a:extLst>
            </p:cNvPr>
            <p:cNvSpPr/>
            <p:nvPr/>
          </p:nvSpPr>
          <p:spPr>
            <a:xfrm>
              <a:off x="4809394" y="3206408"/>
              <a:ext cx="39559" cy="64844"/>
            </a:xfrm>
            <a:custGeom>
              <a:avLst/>
              <a:gdLst>
                <a:gd name="connsiteX0" fmla="*/ 0 w 39559"/>
                <a:gd name="connsiteY0" fmla="*/ 0 h 64844"/>
                <a:gd name="connsiteX1" fmla="*/ 39559 w 39559"/>
                <a:gd name="connsiteY1" fmla="*/ 0 h 64844"/>
                <a:gd name="connsiteX2" fmla="*/ 39559 w 39559"/>
                <a:gd name="connsiteY2" fmla="*/ 64844 h 64844"/>
                <a:gd name="connsiteX3" fmla="*/ 0 w 39559"/>
                <a:gd name="connsiteY3" fmla="*/ 64844 h 6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9" h="64844">
                  <a:moveTo>
                    <a:pt x="0" y="0"/>
                  </a:moveTo>
                  <a:lnTo>
                    <a:pt x="39559" y="0"/>
                  </a:lnTo>
                  <a:lnTo>
                    <a:pt x="39559" y="64844"/>
                  </a:lnTo>
                  <a:lnTo>
                    <a:pt x="0" y="64844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9" name="Freihandform: Form 88">
              <a:extLst>
                <a:ext uri="{FF2B5EF4-FFF2-40B4-BE49-F238E27FC236}">
                  <a16:creationId xmlns:a16="http://schemas.microsoft.com/office/drawing/2014/main" id="{4EAB42A8-5BB8-4B20-A4F0-2100E8C8D3F5}"/>
                </a:ext>
              </a:extLst>
            </p:cNvPr>
            <p:cNvSpPr/>
            <p:nvPr/>
          </p:nvSpPr>
          <p:spPr>
            <a:xfrm>
              <a:off x="5147202" y="2788517"/>
              <a:ext cx="62615" cy="40974"/>
            </a:xfrm>
            <a:custGeom>
              <a:avLst/>
              <a:gdLst>
                <a:gd name="connsiteX0" fmla="*/ 0 w 62615"/>
                <a:gd name="connsiteY0" fmla="*/ 0 h 40974"/>
                <a:gd name="connsiteX1" fmla="*/ 62616 w 62615"/>
                <a:gd name="connsiteY1" fmla="*/ 0 h 40974"/>
                <a:gd name="connsiteX2" fmla="*/ 62616 w 62615"/>
                <a:gd name="connsiteY2" fmla="*/ 40974 h 40974"/>
                <a:gd name="connsiteX3" fmla="*/ 0 w 62615"/>
                <a:gd name="connsiteY3" fmla="*/ 40974 h 4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15" h="40974">
                  <a:moveTo>
                    <a:pt x="0" y="0"/>
                  </a:moveTo>
                  <a:lnTo>
                    <a:pt x="62616" y="0"/>
                  </a:lnTo>
                  <a:lnTo>
                    <a:pt x="62616" y="40974"/>
                  </a:lnTo>
                  <a:lnTo>
                    <a:pt x="0" y="40974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0" name="Freihandform: Form 89">
              <a:extLst>
                <a:ext uri="{FF2B5EF4-FFF2-40B4-BE49-F238E27FC236}">
                  <a16:creationId xmlns:a16="http://schemas.microsoft.com/office/drawing/2014/main" id="{4B75EE7D-8DFA-4F89-B77A-36A93DB5DEB3}"/>
                </a:ext>
              </a:extLst>
            </p:cNvPr>
            <p:cNvSpPr/>
            <p:nvPr/>
          </p:nvSpPr>
          <p:spPr>
            <a:xfrm>
              <a:off x="5147202" y="2926734"/>
              <a:ext cx="62615" cy="40974"/>
            </a:xfrm>
            <a:custGeom>
              <a:avLst/>
              <a:gdLst>
                <a:gd name="connsiteX0" fmla="*/ 0 w 62615"/>
                <a:gd name="connsiteY0" fmla="*/ 0 h 40974"/>
                <a:gd name="connsiteX1" fmla="*/ 62616 w 62615"/>
                <a:gd name="connsiteY1" fmla="*/ 0 h 40974"/>
                <a:gd name="connsiteX2" fmla="*/ 62616 w 62615"/>
                <a:gd name="connsiteY2" fmla="*/ 40974 h 40974"/>
                <a:gd name="connsiteX3" fmla="*/ 0 w 62615"/>
                <a:gd name="connsiteY3" fmla="*/ 40974 h 4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15" h="40974">
                  <a:moveTo>
                    <a:pt x="0" y="0"/>
                  </a:moveTo>
                  <a:lnTo>
                    <a:pt x="62616" y="0"/>
                  </a:lnTo>
                  <a:lnTo>
                    <a:pt x="62616" y="40974"/>
                  </a:lnTo>
                  <a:lnTo>
                    <a:pt x="0" y="40974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" name="Freihandform: Form 90">
              <a:extLst>
                <a:ext uri="{FF2B5EF4-FFF2-40B4-BE49-F238E27FC236}">
                  <a16:creationId xmlns:a16="http://schemas.microsoft.com/office/drawing/2014/main" id="{BE1C26B9-D838-422E-A17C-BFC7ADC0C065}"/>
                </a:ext>
              </a:extLst>
            </p:cNvPr>
            <p:cNvSpPr/>
            <p:nvPr/>
          </p:nvSpPr>
          <p:spPr>
            <a:xfrm>
              <a:off x="5147202" y="2715288"/>
              <a:ext cx="62615" cy="40926"/>
            </a:xfrm>
            <a:custGeom>
              <a:avLst/>
              <a:gdLst>
                <a:gd name="connsiteX0" fmla="*/ 0 w 62615"/>
                <a:gd name="connsiteY0" fmla="*/ 0 h 40926"/>
                <a:gd name="connsiteX1" fmla="*/ 62616 w 62615"/>
                <a:gd name="connsiteY1" fmla="*/ 0 h 40926"/>
                <a:gd name="connsiteX2" fmla="*/ 62616 w 62615"/>
                <a:gd name="connsiteY2" fmla="*/ 40927 h 40926"/>
                <a:gd name="connsiteX3" fmla="*/ 0 w 62615"/>
                <a:gd name="connsiteY3" fmla="*/ 40927 h 40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15" h="40926">
                  <a:moveTo>
                    <a:pt x="0" y="0"/>
                  </a:moveTo>
                  <a:lnTo>
                    <a:pt x="62616" y="0"/>
                  </a:lnTo>
                  <a:lnTo>
                    <a:pt x="62616" y="40927"/>
                  </a:lnTo>
                  <a:lnTo>
                    <a:pt x="0" y="40927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" name="Freihandform: Form 91">
              <a:extLst>
                <a:ext uri="{FF2B5EF4-FFF2-40B4-BE49-F238E27FC236}">
                  <a16:creationId xmlns:a16="http://schemas.microsoft.com/office/drawing/2014/main" id="{880BBF38-F49A-48D6-81CC-5643BEC2F102}"/>
                </a:ext>
              </a:extLst>
            </p:cNvPr>
            <p:cNvSpPr/>
            <p:nvPr/>
          </p:nvSpPr>
          <p:spPr>
            <a:xfrm>
              <a:off x="5147202" y="2999964"/>
              <a:ext cx="62615" cy="40974"/>
            </a:xfrm>
            <a:custGeom>
              <a:avLst/>
              <a:gdLst>
                <a:gd name="connsiteX0" fmla="*/ 0 w 62615"/>
                <a:gd name="connsiteY0" fmla="*/ 0 h 40974"/>
                <a:gd name="connsiteX1" fmla="*/ 62616 w 62615"/>
                <a:gd name="connsiteY1" fmla="*/ 0 h 40974"/>
                <a:gd name="connsiteX2" fmla="*/ 62616 w 62615"/>
                <a:gd name="connsiteY2" fmla="*/ 40974 h 40974"/>
                <a:gd name="connsiteX3" fmla="*/ 0 w 62615"/>
                <a:gd name="connsiteY3" fmla="*/ 40974 h 4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15" h="40974">
                  <a:moveTo>
                    <a:pt x="0" y="0"/>
                  </a:moveTo>
                  <a:lnTo>
                    <a:pt x="62616" y="0"/>
                  </a:lnTo>
                  <a:lnTo>
                    <a:pt x="62616" y="40974"/>
                  </a:lnTo>
                  <a:lnTo>
                    <a:pt x="0" y="40974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" name="Freihandform: Form 92">
              <a:extLst>
                <a:ext uri="{FF2B5EF4-FFF2-40B4-BE49-F238E27FC236}">
                  <a16:creationId xmlns:a16="http://schemas.microsoft.com/office/drawing/2014/main" id="{404E0523-6BA1-4C4B-B1F5-39DD05C57CAF}"/>
                </a:ext>
              </a:extLst>
            </p:cNvPr>
            <p:cNvSpPr/>
            <p:nvPr/>
          </p:nvSpPr>
          <p:spPr>
            <a:xfrm>
              <a:off x="5147202" y="2642058"/>
              <a:ext cx="62615" cy="40974"/>
            </a:xfrm>
            <a:custGeom>
              <a:avLst/>
              <a:gdLst>
                <a:gd name="connsiteX0" fmla="*/ 0 w 62615"/>
                <a:gd name="connsiteY0" fmla="*/ 0 h 40974"/>
                <a:gd name="connsiteX1" fmla="*/ 62616 w 62615"/>
                <a:gd name="connsiteY1" fmla="*/ 0 h 40974"/>
                <a:gd name="connsiteX2" fmla="*/ 62616 w 62615"/>
                <a:gd name="connsiteY2" fmla="*/ 40974 h 40974"/>
                <a:gd name="connsiteX3" fmla="*/ 0 w 62615"/>
                <a:gd name="connsiteY3" fmla="*/ 40974 h 4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15" h="40974">
                  <a:moveTo>
                    <a:pt x="0" y="0"/>
                  </a:moveTo>
                  <a:lnTo>
                    <a:pt x="62616" y="0"/>
                  </a:lnTo>
                  <a:lnTo>
                    <a:pt x="62616" y="40974"/>
                  </a:lnTo>
                  <a:lnTo>
                    <a:pt x="0" y="40974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" name="Freihandform: Form 93">
              <a:extLst>
                <a:ext uri="{FF2B5EF4-FFF2-40B4-BE49-F238E27FC236}">
                  <a16:creationId xmlns:a16="http://schemas.microsoft.com/office/drawing/2014/main" id="{324B336E-4F50-4980-BA10-602519A283E1}"/>
                </a:ext>
              </a:extLst>
            </p:cNvPr>
            <p:cNvSpPr/>
            <p:nvPr/>
          </p:nvSpPr>
          <p:spPr>
            <a:xfrm>
              <a:off x="5147202" y="3073194"/>
              <a:ext cx="62615" cy="40974"/>
            </a:xfrm>
            <a:custGeom>
              <a:avLst/>
              <a:gdLst>
                <a:gd name="connsiteX0" fmla="*/ 0 w 62615"/>
                <a:gd name="connsiteY0" fmla="*/ 0 h 40974"/>
                <a:gd name="connsiteX1" fmla="*/ 62616 w 62615"/>
                <a:gd name="connsiteY1" fmla="*/ 0 h 40974"/>
                <a:gd name="connsiteX2" fmla="*/ 62616 w 62615"/>
                <a:gd name="connsiteY2" fmla="*/ 40974 h 40974"/>
                <a:gd name="connsiteX3" fmla="*/ 0 w 62615"/>
                <a:gd name="connsiteY3" fmla="*/ 40974 h 4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15" h="40974">
                  <a:moveTo>
                    <a:pt x="0" y="0"/>
                  </a:moveTo>
                  <a:lnTo>
                    <a:pt x="62616" y="0"/>
                  </a:lnTo>
                  <a:lnTo>
                    <a:pt x="62616" y="40974"/>
                  </a:lnTo>
                  <a:lnTo>
                    <a:pt x="0" y="40974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" name="Freihandform: Form 94">
              <a:extLst>
                <a:ext uri="{FF2B5EF4-FFF2-40B4-BE49-F238E27FC236}">
                  <a16:creationId xmlns:a16="http://schemas.microsoft.com/office/drawing/2014/main" id="{E569A76A-3C99-4478-83F2-66DBCCBCE826}"/>
                </a:ext>
              </a:extLst>
            </p:cNvPr>
            <p:cNvSpPr/>
            <p:nvPr/>
          </p:nvSpPr>
          <p:spPr>
            <a:xfrm>
              <a:off x="5147202" y="2857650"/>
              <a:ext cx="62615" cy="40926"/>
            </a:xfrm>
            <a:custGeom>
              <a:avLst/>
              <a:gdLst>
                <a:gd name="connsiteX0" fmla="*/ 0 w 62615"/>
                <a:gd name="connsiteY0" fmla="*/ 0 h 40926"/>
                <a:gd name="connsiteX1" fmla="*/ 62616 w 62615"/>
                <a:gd name="connsiteY1" fmla="*/ 0 h 40926"/>
                <a:gd name="connsiteX2" fmla="*/ 62616 w 62615"/>
                <a:gd name="connsiteY2" fmla="*/ 40927 h 40926"/>
                <a:gd name="connsiteX3" fmla="*/ 0 w 62615"/>
                <a:gd name="connsiteY3" fmla="*/ 40927 h 40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15" h="40926">
                  <a:moveTo>
                    <a:pt x="0" y="0"/>
                  </a:moveTo>
                  <a:lnTo>
                    <a:pt x="62616" y="0"/>
                  </a:lnTo>
                  <a:lnTo>
                    <a:pt x="62616" y="40927"/>
                  </a:lnTo>
                  <a:lnTo>
                    <a:pt x="0" y="40927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" name="Freihandform: Form 95">
              <a:extLst>
                <a:ext uri="{FF2B5EF4-FFF2-40B4-BE49-F238E27FC236}">
                  <a16:creationId xmlns:a16="http://schemas.microsoft.com/office/drawing/2014/main" id="{5C17E5F6-BBAD-478F-B56D-3B12B000BD27}"/>
                </a:ext>
              </a:extLst>
            </p:cNvPr>
            <p:cNvSpPr/>
            <p:nvPr/>
          </p:nvSpPr>
          <p:spPr>
            <a:xfrm>
              <a:off x="4448482" y="2788517"/>
              <a:ext cx="62615" cy="40974"/>
            </a:xfrm>
            <a:custGeom>
              <a:avLst/>
              <a:gdLst>
                <a:gd name="connsiteX0" fmla="*/ 0 w 62615"/>
                <a:gd name="connsiteY0" fmla="*/ 0 h 40974"/>
                <a:gd name="connsiteX1" fmla="*/ 62616 w 62615"/>
                <a:gd name="connsiteY1" fmla="*/ 0 h 40974"/>
                <a:gd name="connsiteX2" fmla="*/ 62616 w 62615"/>
                <a:gd name="connsiteY2" fmla="*/ 40974 h 40974"/>
                <a:gd name="connsiteX3" fmla="*/ 0 w 62615"/>
                <a:gd name="connsiteY3" fmla="*/ 40974 h 4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15" h="40974">
                  <a:moveTo>
                    <a:pt x="0" y="0"/>
                  </a:moveTo>
                  <a:lnTo>
                    <a:pt x="62616" y="0"/>
                  </a:lnTo>
                  <a:lnTo>
                    <a:pt x="62616" y="40974"/>
                  </a:lnTo>
                  <a:lnTo>
                    <a:pt x="0" y="40974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" name="Freihandform: Form 96">
              <a:extLst>
                <a:ext uri="{FF2B5EF4-FFF2-40B4-BE49-F238E27FC236}">
                  <a16:creationId xmlns:a16="http://schemas.microsoft.com/office/drawing/2014/main" id="{D2953A73-DB97-4B76-9253-C300A6F88B86}"/>
                </a:ext>
              </a:extLst>
            </p:cNvPr>
            <p:cNvSpPr/>
            <p:nvPr/>
          </p:nvSpPr>
          <p:spPr>
            <a:xfrm>
              <a:off x="4448482" y="2926734"/>
              <a:ext cx="62615" cy="40974"/>
            </a:xfrm>
            <a:custGeom>
              <a:avLst/>
              <a:gdLst>
                <a:gd name="connsiteX0" fmla="*/ 0 w 62615"/>
                <a:gd name="connsiteY0" fmla="*/ 0 h 40974"/>
                <a:gd name="connsiteX1" fmla="*/ 62616 w 62615"/>
                <a:gd name="connsiteY1" fmla="*/ 0 h 40974"/>
                <a:gd name="connsiteX2" fmla="*/ 62616 w 62615"/>
                <a:gd name="connsiteY2" fmla="*/ 40974 h 40974"/>
                <a:gd name="connsiteX3" fmla="*/ 0 w 62615"/>
                <a:gd name="connsiteY3" fmla="*/ 40974 h 4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15" h="40974">
                  <a:moveTo>
                    <a:pt x="0" y="0"/>
                  </a:moveTo>
                  <a:lnTo>
                    <a:pt x="62616" y="0"/>
                  </a:lnTo>
                  <a:lnTo>
                    <a:pt x="62616" y="40974"/>
                  </a:lnTo>
                  <a:lnTo>
                    <a:pt x="0" y="40974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" name="Freihandform: Form 97">
              <a:extLst>
                <a:ext uri="{FF2B5EF4-FFF2-40B4-BE49-F238E27FC236}">
                  <a16:creationId xmlns:a16="http://schemas.microsoft.com/office/drawing/2014/main" id="{C770EBF3-4882-4E3E-BE77-2228923ED4BD}"/>
                </a:ext>
              </a:extLst>
            </p:cNvPr>
            <p:cNvSpPr/>
            <p:nvPr/>
          </p:nvSpPr>
          <p:spPr>
            <a:xfrm>
              <a:off x="4448482" y="2715288"/>
              <a:ext cx="62615" cy="40974"/>
            </a:xfrm>
            <a:custGeom>
              <a:avLst/>
              <a:gdLst>
                <a:gd name="connsiteX0" fmla="*/ 0 w 62615"/>
                <a:gd name="connsiteY0" fmla="*/ 0 h 40974"/>
                <a:gd name="connsiteX1" fmla="*/ 62616 w 62615"/>
                <a:gd name="connsiteY1" fmla="*/ 0 h 40974"/>
                <a:gd name="connsiteX2" fmla="*/ 62616 w 62615"/>
                <a:gd name="connsiteY2" fmla="*/ 40974 h 40974"/>
                <a:gd name="connsiteX3" fmla="*/ 0 w 62615"/>
                <a:gd name="connsiteY3" fmla="*/ 40974 h 4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15" h="40974">
                  <a:moveTo>
                    <a:pt x="0" y="0"/>
                  </a:moveTo>
                  <a:lnTo>
                    <a:pt x="62616" y="0"/>
                  </a:lnTo>
                  <a:lnTo>
                    <a:pt x="62616" y="40974"/>
                  </a:lnTo>
                  <a:lnTo>
                    <a:pt x="0" y="40974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" name="Freihandform: Form 98">
              <a:extLst>
                <a:ext uri="{FF2B5EF4-FFF2-40B4-BE49-F238E27FC236}">
                  <a16:creationId xmlns:a16="http://schemas.microsoft.com/office/drawing/2014/main" id="{39733C82-4A10-43EC-8D9A-4A96214AE09E}"/>
                </a:ext>
              </a:extLst>
            </p:cNvPr>
            <p:cNvSpPr/>
            <p:nvPr/>
          </p:nvSpPr>
          <p:spPr>
            <a:xfrm>
              <a:off x="4448482" y="2999964"/>
              <a:ext cx="62615" cy="40974"/>
            </a:xfrm>
            <a:custGeom>
              <a:avLst/>
              <a:gdLst>
                <a:gd name="connsiteX0" fmla="*/ 0 w 62615"/>
                <a:gd name="connsiteY0" fmla="*/ 0 h 40974"/>
                <a:gd name="connsiteX1" fmla="*/ 62616 w 62615"/>
                <a:gd name="connsiteY1" fmla="*/ 0 h 40974"/>
                <a:gd name="connsiteX2" fmla="*/ 62616 w 62615"/>
                <a:gd name="connsiteY2" fmla="*/ 40974 h 40974"/>
                <a:gd name="connsiteX3" fmla="*/ 0 w 62615"/>
                <a:gd name="connsiteY3" fmla="*/ 40974 h 4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15" h="40974">
                  <a:moveTo>
                    <a:pt x="0" y="0"/>
                  </a:moveTo>
                  <a:lnTo>
                    <a:pt x="62616" y="0"/>
                  </a:lnTo>
                  <a:lnTo>
                    <a:pt x="62616" y="40974"/>
                  </a:lnTo>
                  <a:lnTo>
                    <a:pt x="0" y="40974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" name="Freihandform: Form 99">
              <a:extLst>
                <a:ext uri="{FF2B5EF4-FFF2-40B4-BE49-F238E27FC236}">
                  <a16:creationId xmlns:a16="http://schemas.microsoft.com/office/drawing/2014/main" id="{6291FEFC-50A8-4243-AD57-9D80650FEBF1}"/>
                </a:ext>
              </a:extLst>
            </p:cNvPr>
            <p:cNvSpPr/>
            <p:nvPr/>
          </p:nvSpPr>
          <p:spPr>
            <a:xfrm>
              <a:off x="4448482" y="2642058"/>
              <a:ext cx="62615" cy="40974"/>
            </a:xfrm>
            <a:custGeom>
              <a:avLst/>
              <a:gdLst>
                <a:gd name="connsiteX0" fmla="*/ 0 w 62615"/>
                <a:gd name="connsiteY0" fmla="*/ 0 h 40974"/>
                <a:gd name="connsiteX1" fmla="*/ 62616 w 62615"/>
                <a:gd name="connsiteY1" fmla="*/ 0 h 40974"/>
                <a:gd name="connsiteX2" fmla="*/ 62616 w 62615"/>
                <a:gd name="connsiteY2" fmla="*/ 40974 h 40974"/>
                <a:gd name="connsiteX3" fmla="*/ 0 w 62615"/>
                <a:gd name="connsiteY3" fmla="*/ 40974 h 4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15" h="40974">
                  <a:moveTo>
                    <a:pt x="0" y="0"/>
                  </a:moveTo>
                  <a:lnTo>
                    <a:pt x="62616" y="0"/>
                  </a:lnTo>
                  <a:lnTo>
                    <a:pt x="62616" y="40974"/>
                  </a:lnTo>
                  <a:lnTo>
                    <a:pt x="0" y="40974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" name="Freihandform: Form 100">
              <a:extLst>
                <a:ext uri="{FF2B5EF4-FFF2-40B4-BE49-F238E27FC236}">
                  <a16:creationId xmlns:a16="http://schemas.microsoft.com/office/drawing/2014/main" id="{D668F940-E515-4DDC-A9A4-BB0D5FDB4581}"/>
                </a:ext>
              </a:extLst>
            </p:cNvPr>
            <p:cNvSpPr/>
            <p:nvPr/>
          </p:nvSpPr>
          <p:spPr>
            <a:xfrm>
              <a:off x="4448482" y="3073194"/>
              <a:ext cx="62615" cy="40974"/>
            </a:xfrm>
            <a:custGeom>
              <a:avLst/>
              <a:gdLst>
                <a:gd name="connsiteX0" fmla="*/ 0 w 62615"/>
                <a:gd name="connsiteY0" fmla="*/ 0 h 40974"/>
                <a:gd name="connsiteX1" fmla="*/ 62616 w 62615"/>
                <a:gd name="connsiteY1" fmla="*/ 0 h 40974"/>
                <a:gd name="connsiteX2" fmla="*/ 62616 w 62615"/>
                <a:gd name="connsiteY2" fmla="*/ 40974 h 40974"/>
                <a:gd name="connsiteX3" fmla="*/ 0 w 62615"/>
                <a:gd name="connsiteY3" fmla="*/ 40974 h 4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15" h="40974">
                  <a:moveTo>
                    <a:pt x="0" y="0"/>
                  </a:moveTo>
                  <a:lnTo>
                    <a:pt x="62616" y="0"/>
                  </a:lnTo>
                  <a:lnTo>
                    <a:pt x="62616" y="40974"/>
                  </a:lnTo>
                  <a:lnTo>
                    <a:pt x="0" y="40974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" name="Freihandform: Form 101">
              <a:extLst>
                <a:ext uri="{FF2B5EF4-FFF2-40B4-BE49-F238E27FC236}">
                  <a16:creationId xmlns:a16="http://schemas.microsoft.com/office/drawing/2014/main" id="{21FE238B-D66E-427C-9D4C-39D11B5485D1}"/>
                </a:ext>
              </a:extLst>
            </p:cNvPr>
            <p:cNvSpPr/>
            <p:nvPr/>
          </p:nvSpPr>
          <p:spPr>
            <a:xfrm>
              <a:off x="4448482" y="2857650"/>
              <a:ext cx="62615" cy="40926"/>
            </a:xfrm>
            <a:custGeom>
              <a:avLst/>
              <a:gdLst>
                <a:gd name="connsiteX0" fmla="*/ 0 w 62615"/>
                <a:gd name="connsiteY0" fmla="*/ 0 h 40926"/>
                <a:gd name="connsiteX1" fmla="*/ 62616 w 62615"/>
                <a:gd name="connsiteY1" fmla="*/ 0 h 40926"/>
                <a:gd name="connsiteX2" fmla="*/ 62616 w 62615"/>
                <a:gd name="connsiteY2" fmla="*/ 40927 h 40926"/>
                <a:gd name="connsiteX3" fmla="*/ 0 w 62615"/>
                <a:gd name="connsiteY3" fmla="*/ 40927 h 40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15" h="40926">
                  <a:moveTo>
                    <a:pt x="0" y="0"/>
                  </a:moveTo>
                  <a:lnTo>
                    <a:pt x="62616" y="0"/>
                  </a:lnTo>
                  <a:lnTo>
                    <a:pt x="62616" y="40927"/>
                  </a:lnTo>
                  <a:lnTo>
                    <a:pt x="0" y="40927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" name="Freihandform: Form 102">
              <a:extLst>
                <a:ext uri="{FF2B5EF4-FFF2-40B4-BE49-F238E27FC236}">
                  <a16:creationId xmlns:a16="http://schemas.microsoft.com/office/drawing/2014/main" id="{F36DC716-F007-4A4B-9E8A-9E9917D1EF0A}"/>
                </a:ext>
              </a:extLst>
            </p:cNvPr>
            <p:cNvSpPr/>
            <p:nvPr/>
          </p:nvSpPr>
          <p:spPr>
            <a:xfrm>
              <a:off x="4660628" y="2775224"/>
              <a:ext cx="235585" cy="214924"/>
            </a:xfrm>
            <a:custGeom>
              <a:avLst/>
              <a:gdLst>
                <a:gd name="connsiteX0" fmla="*/ 81879 w 235585"/>
                <a:gd name="connsiteY0" fmla="*/ -60 h 214924"/>
                <a:gd name="connsiteX1" fmla="*/ 152387 w 235585"/>
                <a:gd name="connsiteY1" fmla="*/ -60 h 214924"/>
                <a:gd name="connsiteX2" fmla="*/ 235524 w 235585"/>
                <a:gd name="connsiteY2" fmla="*/ 214865 h 214924"/>
                <a:gd name="connsiteX3" fmla="*/ 172477 w 235585"/>
                <a:gd name="connsiteY3" fmla="*/ 214865 h 214924"/>
                <a:gd name="connsiteX4" fmla="*/ 156405 w 235585"/>
                <a:gd name="connsiteY4" fmla="*/ 168983 h 214924"/>
                <a:gd name="connsiteX5" fmla="*/ 75373 w 235585"/>
                <a:gd name="connsiteY5" fmla="*/ 168983 h 214924"/>
                <a:gd name="connsiteX6" fmla="*/ 58392 w 235585"/>
                <a:gd name="connsiteY6" fmla="*/ 214865 h 214924"/>
                <a:gd name="connsiteX7" fmla="*/ -62 w 235585"/>
                <a:gd name="connsiteY7" fmla="*/ 214865 h 214924"/>
                <a:gd name="connsiteX8" fmla="*/ 117133 w 235585"/>
                <a:gd name="connsiteY8" fmla="*/ 44249 h 214924"/>
                <a:gd name="connsiteX9" fmla="*/ 116511 w 235585"/>
                <a:gd name="connsiteY9" fmla="*/ 44249 h 214924"/>
                <a:gd name="connsiteX10" fmla="*/ 88671 w 235585"/>
                <a:gd name="connsiteY10" fmla="*/ 128342 h 214924"/>
                <a:gd name="connsiteX11" fmla="*/ 142772 w 235585"/>
                <a:gd name="connsiteY11" fmla="*/ 128342 h 214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5585" h="214924">
                  <a:moveTo>
                    <a:pt x="81879" y="-60"/>
                  </a:moveTo>
                  <a:lnTo>
                    <a:pt x="152387" y="-60"/>
                  </a:lnTo>
                  <a:lnTo>
                    <a:pt x="235524" y="214865"/>
                  </a:lnTo>
                  <a:lnTo>
                    <a:pt x="172477" y="214865"/>
                  </a:lnTo>
                  <a:lnTo>
                    <a:pt x="156405" y="168983"/>
                  </a:lnTo>
                  <a:lnTo>
                    <a:pt x="75373" y="168983"/>
                  </a:lnTo>
                  <a:lnTo>
                    <a:pt x="58392" y="214865"/>
                  </a:lnTo>
                  <a:lnTo>
                    <a:pt x="-62" y="214865"/>
                  </a:lnTo>
                  <a:close/>
                  <a:moveTo>
                    <a:pt x="117133" y="44249"/>
                  </a:moveTo>
                  <a:lnTo>
                    <a:pt x="116511" y="44249"/>
                  </a:lnTo>
                  <a:lnTo>
                    <a:pt x="88671" y="128342"/>
                  </a:lnTo>
                  <a:lnTo>
                    <a:pt x="142772" y="128342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" name="Freihandform: Form 103">
              <a:extLst>
                <a:ext uri="{FF2B5EF4-FFF2-40B4-BE49-F238E27FC236}">
                  <a16:creationId xmlns:a16="http://schemas.microsoft.com/office/drawing/2014/main" id="{41F674AA-6971-4D25-988B-60267ADBA493}"/>
                </a:ext>
              </a:extLst>
            </p:cNvPr>
            <p:cNvSpPr/>
            <p:nvPr/>
          </p:nvSpPr>
          <p:spPr>
            <a:xfrm>
              <a:off x="4921566" y="2775224"/>
              <a:ext cx="57401" cy="214924"/>
            </a:xfrm>
            <a:custGeom>
              <a:avLst/>
              <a:gdLst>
                <a:gd name="connsiteX0" fmla="*/ -62 w 57401"/>
                <a:gd name="connsiteY0" fmla="*/ -60 h 214924"/>
                <a:gd name="connsiteX1" fmla="*/ 57339 w 57401"/>
                <a:gd name="connsiteY1" fmla="*/ -60 h 214924"/>
                <a:gd name="connsiteX2" fmla="*/ 57339 w 57401"/>
                <a:gd name="connsiteY2" fmla="*/ 214865 h 214924"/>
                <a:gd name="connsiteX3" fmla="*/ -62 w 57401"/>
                <a:gd name="connsiteY3" fmla="*/ 214865 h 214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401" h="214924">
                  <a:moveTo>
                    <a:pt x="-62" y="-60"/>
                  </a:moveTo>
                  <a:lnTo>
                    <a:pt x="57339" y="-60"/>
                  </a:lnTo>
                  <a:lnTo>
                    <a:pt x="57339" y="214865"/>
                  </a:lnTo>
                  <a:lnTo>
                    <a:pt x="-62" y="214865"/>
                  </a:ln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" name="Freihandform: Form 104">
              <a:extLst>
                <a:ext uri="{FF2B5EF4-FFF2-40B4-BE49-F238E27FC236}">
                  <a16:creationId xmlns:a16="http://schemas.microsoft.com/office/drawing/2014/main" id="{881A42AF-1DF7-4751-9E95-A405BD86C3CF}"/>
                </a:ext>
              </a:extLst>
            </p:cNvPr>
            <p:cNvSpPr/>
            <p:nvPr/>
          </p:nvSpPr>
          <p:spPr>
            <a:xfrm>
              <a:off x="4538028" y="2576642"/>
              <a:ext cx="582243" cy="602894"/>
            </a:xfrm>
            <a:custGeom>
              <a:avLst/>
              <a:gdLst>
                <a:gd name="connsiteX0" fmla="*/ 524780 w 582243"/>
                <a:gd name="connsiteY0" fmla="*/ 32290 h 602894"/>
                <a:gd name="connsiteX1" fmla="*/ 549702 w 582243"/>
                <a:gd name="connsiteY1" fmla="*/ 57113 h 602894"/>
                <a:gd name="connsiteX2" fmla="*/ 549702 w 582243"/>
                <a:gd name="connsiteY2" fmla="*/ 545661 h 602894"/>
                <a:gd name="connsiteX3" fmla="*/ 524828 w 582243"/>
                <a:gd name="connsiteY3" fmla="*/ 570436 h 602894"/>
                <a:gd name="connsiteX4" fmla="*/ 524780 w 582243"/>
                <a:gd name="connsiteY4" fmla="*/ 570436 h 602894"/>
                <a:gd name="connsiteX5" fmla="*/ 57339 w 582243"/>
                <a:gd name="connsiteY5" fmla="*/ 570436 h 602894"/>
                <a:gd name="connsiteX6" fmla="*/ 32418 w 582243"/>
                <a:gd name="connsiteY6" fmla="*/ 545661 h 602894"/>
                <a:gd name="connsiteX7" fmla="*/ 32418 w 582243"/>
                <a:gd name="connsiteY7" fmla="*/ 57113 h 602894"/>
                <a:gd name="connsiteX8" fmla="*/ 57339 w 582243"/>
                <a:gd name="connsiteY8" fmla="*/ 32290 h 602894"/>
                <a:gd name="connsiteX9" fmla="*/ 524780 w 582243"/>
                <a:gd name="connsiteY9" fmla="*/ 32290 h 602894"/>
                <a:gd name="connsiteX10" fmla="*/ 524780 w 582243"/>
                <a:gd name="connsiteY10" fmla="*/ -60 h 602894"/>
                <a:gd name="connsiteX11" fmla="*/ 57339 w 582243"/>
                <a:gd name="connsiteY11" fmla="*/ -60 h 602894"/>
                <a:gd name="connsiteX12" fmla="*/ -62 w 582243"/>
                <a:gd name="connsiteY12" fmla="*/ 57113 h 602894"/>
                <a:gd name="connsiteX13" fmla="*/ -62 w 582243"/>
                <a:gd name="connsiteY13" fmla="*/ 545661 h 602894"/>
                <a:gd name="connsiteX14" fmla="*/ 57339 w 582243"/>
                <a:gd name="connsiteY14" fmla="*/ 602835 h 602894"/>
                <a:gd name="connsiteX15" fmla="*/ 524780 w 582243"/>
                <a:gd name="connsiteY15" fmla="*/ 602835 h 602894"/>
                <a:gd name="connsiteX16" fmla="*/ 582181 w 582243"/>
                <a:gd name="connsiteY16" fmla="*/ 545661 h 602894"/>
                <a:gd name="connsiteX17" fmla="*/ 582181 w 582243"/>
                <a:gd name="connsiteY17" fmla="*/ 57113 h 602894"/>
                <a:gd name="connsiteX18" fmla="*/ 524780 w 582243"/>
                <a:gd name="connsiteY18" fmla="*/ -60 h 602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82243" h="602894">
                  <a:moveTo>
                    <a:pt x="524780" y="32290"/>
                  </a:moveTo>
                  <a:cubicBezTo>
                    <a:pt x="538544" y="32290"/>
                    <a:pt x="549702" y="43404"/>
                    <a:pt x="549702" y="57113"/>
                  </a:cubicBezTo>
                  <a:lnTo>
                    <a:pt x="549702" y="545661"/>
                  </a:lnTo>
                  <a:cubicBezTo>
                    <a:pt x="549702" y="559344"/>
                    <a:pt x="538565" y="570436"/>
                    <a:pt x="524828" y="570436"/>
                  </a:cubicBezTo>
                  <a:cubicBezTo>
                    <a:pt x="524812" y="570436"/>
                    <a:pt x="524796" y="570436"/>
                    <a:pt x="524780" y="570436"/>
                  </a:cubicBezTo>
                  <a:lnTo>
                    <a:pt x="57339" y="570436"/>
                  </a:lnTo>
                  <a:cubicBezTo>
                    <a:pt x="43594" y="570436"/>
                    <a:pt x="32444" y="559352"/>
                    <a:pt x="32418" y="545661"/>
                  </a:cubicBezTo>
                  <a:lnTo>
                    <a:pt x="32418" y="57113"/>
                  </a:lnTo>
                  <a:cubicBezTo>
                    <a:pt x="32444" y="43415"/>
                    <a:pt x="43586" y="32317"/>
                    <a:pt x="57339" y="32290"/>
                  </a:cubicBezTo>
                  <a:lnTo>
                    <a:pt x="524780" y="32290"/>
                  </a:lnTo>
                  <a:moveTo>
                    <a:pt x="524780" y="-60"/>
                  </a:moveTo>
                  <a:lnTo>
                    <a:pt x="57339" y="-60"/>
                  </a:lnTo>
                  <a:cubicBezTo>
                    <a:pt x="25637" y="-60"/>
                    <a:pt x="-62" y="25537"/>
                    <a:pt x="-62" y="57113"/>
                  </a:cubicBezTo>
                  <a:lnTo>
                    <a:pt x="-62" y="545661"/>
                  </a:lnTo>
                  <a:cubicBezTo>
                    <a:pt x="-62" y="577237"/>
                    <a:pt x="25637" y="602835"/>
                    <a:pt x="57339" y="602835"/>
                  </a:cubicBezTo>
                  <a:lnTo>
                    <a:pt x="524780" y="602835"/>
                  </a:lnTo>
                  <a:cubicBezTo>
                    <a:pt x="556482" y="602835"/>
                    <a:pt x="582181" y="577237"/>
                    <a:pt x="582181" y="545661"/>
                  </a:cubicBezTo>
                  <a:lnTo>
                    <a:pt x="582181" y="57113"/>
                  </a:lnTo>
                  <a:cubicBezTo>
                    <a:pt x="582181" y="25537"/>
                    <a:pt x="556482" y="-60"/>
                    <a:pt x="524780" y="-60"/>
                  </a:cubicBezTo>
                  <a:close/>
                </a:path>
              </a:pathLst>
            </a:custGeom>
            <a:solidFill>
              <a:srgbClr val="1D1D1B"/>
            </a:solidFill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06" name="Gruppieren 105">
            <a:extLst>
              <a:ext uri="{FF2B5EF4-FFF2-40B4-BE49-F238E27FC236}">
                <a16:creationId xmlns:a16="http://schemas.microsoft.com/office/drawing/2014/main" id="{A3953D17-36F5-46F8-8725-F08381351DC9}"/>
              </a:ext>
            </a:extLst>
          </p:cNvPr>
          <p:cNvGrpSpPr/>
          <p:nvPr/>
        </p:nvGrpSpPr>
        <p:grpSpPr>
          <a:xfrm>
            <a:off x="6992094" y="2510048"/>
            <a:ext cx="751709" cy="760526"/>
            <a:chOff x="6992094" y="2510048"/>
            <a:chExt cx="751709" cy="760526"/>
          </a:xfrm>
        </p:grpSpPr>
        <p:sp>
          <p:nvSpPr>
            <p:cNvPr id="107" name="Freihandform: Form 106">
              <a:extLst>
                <a:ext uri="{FF2B5EF4-FFF2-40B4-BE49-F238E27FC236}">
                  <a16:creationId xmlns:a16="http://schemas.microsoft.com/office/drawing/2014/main" id="{231329D1-6DAE-4D8F-9CFB-68C20896A602}"/>
                </a:ext>
              </a:extLst>
            </p:cNvPr>
            <p:cNvSpPr/>
            <p:nvPr/>
          </p:nvSpPr>
          <p:spPr>
            <a:xfrm>
              <a:off x="7215878" y="3074784"/>
              <a:ext cx="136184" cy="195570"/>
            </a:xfrm>
            <a:custGeom>
              <a:avLst/>
              <a:gdLst>
                <a:gd name="connsiteX0" fmla="*/ 94778 w 136184"/>
                <a:gd name="connsiteY0" fmla="*/ 177720 h 195570"/>
                <a:gd name="connsiteX1" fmla="*/ 124301 w 136184"/>
                <a:gd name="connsiteY1" fmla="*/ 194854 h 195570"/>
                <a:gd name="connsiteX2" fmla="*/ 136128 w 136184"/>
                <a:gd name="connsiteY2" fmla="*/ 195515 h 195570"/>
                <a:gd name="connsiteX3" fmla="*/ 136128 w 136184"/>
                <a:gd name="connsiteY3" fmla="*/ -55 h 195570"/>
                <a:gd name="connsiteX4" fmla="*/ -57 w 136184"/>
                <a:gd name="connsiteY4" fmla="*/ 5803 h 195570"/>
                <a:gd name="connsiteX5" fmla="*/ 35865 w 136184"/>
                <a:gd name="connsiteY5" fmla="*/ 100989 h 195570"/>
                <a:gd name="connsiteX6" fmla="*/ 94778 w 136184"/>
                <a:gd name="connsiteY6" fmla="*/ 177720 h 195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6184" h="195570">
                  <a:moveTo>
                    <a:pt x="94778" y="177720"/>
                  </a:moveTo>
                  <a:cubicBezTo>
                    <a:pt x="103669" y="184926"/>
                    <a:pt x="113629" y="190707"/>
                    <a:pt x="124301" y="194854"/>
                  </a:cubicBezTo>
                  <a:cubicBezTo>
                    <a:pt x="128229" y="195119"/>
                    <a:pt x="132201" y="195383"/>
                    <a:pt x="136128" y="195515"/>
                  </a:cubicBezTo>
                  <a:lnTo>
                    <a:pt x="136128" y="-55"/>
                  </a:lnTo>
                  <a:cubicBezTo>
                    <a:pt x="88159" y="253"/>
                    <a:pt x="42352" y="2235"/>
                    <a:pt x="-57" y="5803"/>
                  </a:cubicBezTo>
                  <a:cubicBezTo>
                    <a:pt x="8469" y="38724"/>
                    <a:pt x="20512" y="70636"/>
                    <a:pt x="35865" y="100989"/>
                  </a:cubicBezTo>
                  <a:cubicBezTo>
                    <a:pt x="53341" y="134862"/>
                    <a:pt x="73199" y="160718"/>
                    <a:pt x="94778" y="177720"/>
                  </a:cubicBezTo>
                  <a:close/>
                </a:path>
              </a:pathLst>
            </a:custGeom>
            <a:solidFill>
              <a:srgbClr val="1D1D1B"/>
            </a:solidFill>
            <a:ln w="43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" name="Freihandform: Form 107">
              <a:extLst>
                <a:ext uri="{FF2B5EF4-FFF2-40B4-BE49-F238E27FC236}">
                  <a16:creationId xmlns:a16="http://schemas.microsoft.com/office/drawing/2014/main" id="{5C465692-DC13-46B4-85B7-D599683919C1}"/>
                </a:ext>
              </a:extLst>
            </p:cNvPr>
            <p:cNvSpPr/>
            <p:nvPr/>
          </p:nvSpPr>
          <p:spPr>
            <a:xfrm>
              <a:off x="7383925" y="2911677"/>
              <a:ext cx="158867" cy="137736"/>
            </a:xfrm>
            <a:custGeom>
              <a:avLst/>
              <a:gdLst>
                <a:gd name="connsiteX0" fmla="*/ 143454 w 158867"/>
                <a:gd name="connsiteY0" fmla="*/ 137681 h 137736"/>
                <a:gd name="connsiteX1" fmla="*/ 158811 w 158867"/>
                <a:gd name="connsiteY1" fmla="*/ -55 h 137736"/>
                <a:gd name="connsiteX2" fmla="*/ -57 w 158867"/>
                <a:gd name="connsiteY2" fmla="*/ -55 h 137736"/>
                <a:gd name="connsiteX3" fmla="*/ -57 w 158867"/>
                <a:gd name="connsiteY3" fmla="*/ 131382 h 137736"/>
                <a:gd name="connsiteX4" fmla="*/ 143454 w 158867"/>
                <a:gd name="connsiteY4" fmla="*/ 137681 h 137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867" h="137736">
                  <a:moveTo>
                    <a:pt x="143454" y="137681"/>
                  </a:moveTo>
                  <a:cubicBezTo>
                    <a:pt x="152907" y="92354"/>
                    <a:pt x="158049" y="46237"/>
                    <a:pt x="158811" y="-55"/>
                  </a:cubicBezTo>
                  <a:lnTo>
                    <a:pt x="-57" y="-55"/>
                  </a:lnTo>
                  <a:lnTo>
                    <a:pt x="-57" y="131382"/>
                  </a:lnTo>
                  <a:cubicBezTo>
                    <a:pt x="50693" y="131734"/>
                    <a:pt x="98971" y="133805"/>
                    <a:pt x="143454" y="137681"/>
                  </a:cubicBezTo>
                  <a:close/>
                </a:path>
              </a:pathLst>
            </a:custGeom>
            <a:solidFill>
              <a:srgbClr val="1D1D1B"/>
            </a:solidFill>
            <a:ln w="43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" name="Freihandform: Form 108">
              <a:extLst>
                <a:ext uri="{FF2B5EF4-FFF2-40B4-BE49-F238E27FC236}">
                  <a16:creationId xmlns:a16="http://schemas.microsoft.com/office/drawing/2014/main" id="{BD8694E6-3B44-4CD3-A0A8-8D8EB38D2409}"/>
                </a:ext>
              </a:extLst>
            </p:cNvPr>
            <p:cNvSpPr/>
            <p:nvPr/>
          </p:nvSpPr>
          <p:spPr>
            <a:xfrm>
              <a:off x="7559076" y="2911677"/>
              <a:ext cx="184683" cy="165530"/>
            </a:xfrm>
            <a:custGeom>
              <a:avLst/>
              <a:gdLst>
                <a:gd name="connsiteX0" fmla="*/ 138070 w 184683"/>
                <a:gd name="connsiteY0" fmla="*/ 165475 h 165530"/>
                <a:gd name="connsiteX1" fmla="*/ 184627 w 184683"/>
                <a:gd name="connsiteY1" fmla="*/ -55 h 165530"/>
                <a:gd name="connsiteX2" fmla="*/ 15389 w 184683"/>
                <a:gd name="connsiteY2" fmla="*/ -55 h 165530"/>
                <a:gd name="connsiteX3" fmla="*/ -57 w 184683"/>
                <a:gd name="connsiteY3" fmla="*/ 140896 h 165530"/>
                <a:gd name="connsiteX4" fmla="*/ 138070 w 184683"/>
                <a:gd name="connsiteY4" fmla="*/ 165475 h 165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683" h="165530">
                  <a:moveTo>
                    <a:pt x="138070" y="165475"/>
                  </a:moveTo>
                  <a:cubicBezTo>
                    <a:pt x="166188" y="114627"/>
                    <a:pt x="182123" y="57970"/>
                    <a:pt x="184627" y="-55"/>
                  </a:cubicBezTo>
                  <a:lnTo>
                    <a:pt x="15389" y="-55"/>
                  </a:lnTo>
                  <a:cubicBezTo>
                    <a:pt x="14591" y="47302"/>
                    <a:pt x="9421" y="94486"/>
                    <a:pt x="-57" y="140896"/>
                  </a:cubicBezTo>
                  <a:cubicBezTo>
                    <a:pt x="67418" y="148120"/>
                    <a:pt x="112033" y="158119"/>
                    <a:pt x="138070" y="165475"/>
                  </a:cubicBezTo>
                  <a:close/>
                </a:path>
              </a:pathLst>
            </a:custGeom>
            <a:solidFill>
              <a:srgbClr val="1D1D1B"/>
            </a:solidFill>
            <a:ln w="43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0" name="Freihandform: Form 109">
              <a:extLst>
                <a:ext uri="{FF2B5EF4-FFF2-40B4-BE49-F238E27FC236}">
                  <a16:creationId xmlns:a16="http://schemas.microsoft.com/office/drawing/2014/main" id="{45D339A8-2E06-4C29-93CB-3D7D7819A02C}"/>
                </a:ext>
              </a:extLst>
            </p:cNvPr>
            <p:cNvSpPr/>
            <p:nvPr/>
          </p:nvSpPr>
          <p:spPr>
            <a:xfrm>
              <a:off x="7466095" y="3083682"/>
              <a:ext cx="213941" cy="174207"/>
            </a:xfrm>
            <a:custGeom>
              <a:avLst/>
              <a:gdLst>
                <a:gd name="connsiteX0" fmla="*/ -57 w 213941"/>
                <a:gd name="connsiteY0" fmla="*/ 174152 h 174207"/>
                <a:gd name="connsiteX1" fmla="*/ 213885 w 213941"/>
                <a:gd name="connsiteY1" fmla="*/ 21704 h 174207"/>
                <a:gd name="connsiteX2" fmla="*/ 85908 w 213941"/>
                <a:gd name="connsiteY2" fmla="*/ -55 h 174207"/>
                <a:gd name="connsiteX3" fmla="*/ 50825 w 213941"/>
                <a:gd name="connsiteY3" fmla="*/ 97377 h 174207"/>
                <a:gd name="connsiteX4" fmla="*/ -57 w 213941"/>
                <a:gd name="connsiteY4" fmla="*/ 174152 h 174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3941" h="174207">
                  <a:moveTo>
                    <a:pt x="-57" y="174152"/>
                  </a:moveTo>
                  <a:cubicBezTo>
                    <a:pt x="87254" y="150565"/>
                    <a:pt x="163176" y="96466"/>
                    <a:pt x="213885" y="21704"/>
                  </a:cubicBezTo>
                  <a:cubicBezTo>
                    <a:pt x="171805" y="11393"/>
                    <a:pt x="129035" y="4121"/>
                    <a:pt x="85908" y="-55"/>
                  </a:cubicBezTo>
                  <a:cubicBezTo>
                    <a:pt x="77464" y="33498"/>
                    <a:pt x="65712" y="66135"/>
                    <a:pt x="50825" y="97377"/>
                  </a:cubicBezTo>
                  <a:cubicBezTo>
                    <a:pt x="37799" y="125360"/>
                    <a:pt x="20648" y="151239"/>
                    <a:pt x="-57" y="174152"/>
                  </a:cubicBezTo>
                  <a:close/>
                </a:path>
              </a:pathLst>
            </a:custGeom>
            <a:solidFill>
              <a:srgbClr val="1D1D1B"/>
            </a:solidFill>
            <a:ln w="43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1" name="Freihandform: Form 110">
              <a:extLst>
                <a:ext uri="{FF2B5EF4-FFF2-40B4-BE49-F238E27FC236}">
                  <a16:creationId xmlns:a16="http://schemas.microsoft.com/office/drawing/2014/main" id="{B0E7236D-00BF-4F6D-8809-5030FC690CF7}"/>
                </a:ext>
              </a:extLst>
            </p:cNvPr>
            <p:cNvSpPr/>
            <p:nvPr/>
          </p:nvSpPr>
          <p:spPr>
            <a:xfrm>
              <a:off x="7055996" y="3083682"/>
              <a:ext cx="213985" cy="174251"/>
            </a:xfrm>
            <a:custGeom>
              <a:avLst/>
              <a:gdLst>
                <a:gd name="connsiteX0" fmla="*/ 127920 w 213985"/>
                <a:gd name="connsiteY0" fmla="*/ -55 h 174251"/>
                <a:gd name="connsiteX1" fmla="*/ -57 w 213985"/>
                <a:gd name="connsiteY1" fmla="*/ 21704 h 174251"/>
                <a:gd name="connsiteX2" fmla="*/ 213929 w 213985"/>
                <a:gd name="connsiteY2" fmla="*/ 174196 h 174251"/>
                <a:gd name="connsiteX3" fmla="*/ 167593 w 213985"/>
                <a:gd name="connsiteY3" fmla="*/ 106627 h 174251"/>
                <a:gd name="connsiteX4" fmla="*/ 127920 w 213985"/>
                <a:gd name="connsiteY4" fmla="*/ -55 h 174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3985" h="174251">
                  <a:moveTo>
                    <a:pt x="127920" y="-55"/>
                  </a:moveTo>
                  <a:cubicBezTo>
                    <a:pt x="84796" y="4146"/>
                    <a:pt x="42029" y="11417"/>
                    <a:pt x="-57" y="21704"/>
                  </a:cubicBezTo>
                  <a:cubicBezTo>
                    <a:pt x="50578" y="96566"/>
                    <a:pt x="126549" y="150705"/>
                    <a:pt x="213929" y="174196"/>
                  </a:cubicBezTo>
                  <a:cubicBezTo>
                    <a:pt x="195465" y="153891"/>
                    <a:pt x="179875" y="131156"/>
                    <a:pt x="167593" y="106627"/>
                  </a:cubicBezTo>
                  <a:cubicBezTo>
                    <a:pt x="150463" y="72637"/>
                    <a:pt x="137158" y="36858"/>
                    <a:pt x="127920" y="-55"/>
                  </a:cubicBezTo>
                  <a:close/>
                </a:path>
              </a:pathLst>
            </a:custGeom>
            <a:solidFill>
              <a:srgbClr val="1D1D1B"/>
            </a:solidFill>
            <a:ln w="43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" name="Freihandform: Form 111">
              <a:extLst>
                <a:ext uri="{FF2B5EF4-FFF2-40B4-BE49-F238E27FC236}">
                  <a16:creationId xmlns:a16="http://schemas.microsoft.com/office/drawing/2014/main" id="{F31EBF29-DC8F-4628-B104-127A9776D4E9}"/>
                </a:ext>
              </a:extLst>
            </p:cNvPr>
            <p:cNvSpPr/>
            <p:nvPr/>
          </p:nvSpPr>
          <p:spPr>
            <a:xfrm>
              <a:off x="7383792" y="3074916"/>
              <a:ext cx="136140" cy="195658"/>
            </a:xfrm>
            <a:custGeom>
              <a:avLst/>
              <a:gdLst>
                <a:gd name="connsiteX0" fmla="*/ 11638 w 136140"/>
                <a:gd name="connsiteY0" fmla="*/ 194810 h 195658"/>
                <a:gd name="connsiteX1" fmla="*/ 104310 w 136140"/>
                <a:gd name="connsiteY1" fmla="*/ 92356 h 195658"/>
                <a:gd name="connsiteX2" fmla="*/ 136084 w 136140"/>
                <a:gd name="connsiteY2" fmla="*/ 5803 h 195658"/>
                <a:gd name="connsiteX3" fmla="*/ -57 w 136140"/>
                <a:gd name="connsiteY3" fmla="*/ -55 h 195658"/>
                <a:gd name="connsiteX4" fmla="*/ -57 w 136140"/>
                <a:gd name="connsiteY4" fmla="*/ 195603 h 195658"/>
                <a:gd name="connsiteX5" fmla="*/ 11638 w 136140"/>
                <a:gd name="connsiteY5" fmla="*/ 194810 h 195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6140" h="195658">
                  <a:moveTo>
                    <a:pt x="11638" y="194810"/>
                  </a:moveTo>
                  <a:cubicBezTo>
                    <a:pt x="45706" y="181948"/>
                    <a:pt x="78627" y="145565"/>
                    <a:pt x="104310" y="92356"/>
                  </a:cubicBezTo>
                  <a:cubicBezTo>
                    <a:pt x="117599" y="64564"/>
                    <a:pt x="128237" y="35585"/>
                    <a:pt x="136084" y="5803"/>
                  </a:cubicBezTo>
                  <a:cubicBezTo>
                    <a:pt x="93675" y="2235"/>
                    <a:pt x="47824" y="253"/>
                    <a:pt x="-57" y="-55"/>
                  </a:cubicBezTo>
                  <a:lnTo>
                    <a:pt x="-57" y="195603"/>
                  </a:lnTo>
                  <a:cubicBezTo>
                    <a:pt x="3827" y="195339"/>
                    <a:pt x="7725" y="195075"/>
                    <a:pt x="11638" y="194810"/>
                  </a:cubicBezTo>
                  <a:close/>
                </a:path>
              </a:pathLst>
            </a:custGeom>
            <a:solidFill>
              <a:srgbClr val="1D1D1B"/>
            </a:solidFill>
            <a:ln w="43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" name="Freihandform: Form 112">
              <a:extLst>
                <a:ext uri="{FF2B5EF4-FFF2-40B4-BE49-F238E27FC236}">
                  <a16:creationId xmlns:a16="http://schemas.microsoft.com/office/drawing/2014/main" id="{1D6A4FB3-E562-4F1B-BF8B-76AA2A42180F}"/>
                </a:ext>
              </a:extLst>
            </p:cNvPr>
            <p:cNvSpPr/>
            <p:nvPr/>
          </p:nvSpPr>
          <p:spPr>
            <a:xfrm>
              <a:off x="6992140" y="2911545"/>
              <a:ext cx="184550" cy="165530"/>
            </a:xfrm>
            <a:custGeom>
              <a:avLst/>
              <a:gdLst>
                <a:gd name="connsiteX0" fmla="*/ 184494 w 184550"/>
                <a:gd name="connsiteY0" fmla="*/ 140896 h 165530"/>
                <a:gd name="connsiteX1" fmla="*/ 169181 w 184550"/>
                <a:gd name="connsiteY1" fmla="*/ -55 h 165530"/>
                <a:gd name="connsiteX2" fmla="*/ -57 w 184550"/>
                <a:gd name="connsiteY2" fmla="*/ -55 h 165530"/>
                <a:gd name="connsiteX3" fmla="*/ 46368 w 184550"/>
                <a:gd name="connsiteY3" fmla="*/ 165475 h 165530"/>
                <a:gd name="connsiteX4" fmla="*/ 184494 w 184550"/>
                <a:gd name="connsiteY4" fmla="*/ 140896 h 165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550" h="165530">
                  <a:moveTo>
                    <a:pt x="184494" y="140896"/>
                  </a:moveTo>
                  <a:cubicBezTo>
                    <a:pt x="175074" y="94480"/>
                    <a:pt x="169948" y="47298"/>
                    <a:pt x="169181" y="-55"/>
                  </a:cubicBezTo>
                  <a:lnTo>
                    <a:pt x="-57" y="-55"/>
                  </a:lnTo>
                  <a:cubicBezTo>
                    <a:pt x="2402" y="57960"/>
                    <a:pt x="18292" y="114618"/>
                    <a:pt x="46368" y="165475"/>
                  </a:cubicBezTo>
                  <a:cubicBezTo>
                    <a:pt x="72316" y="158295"/>
                    <a:pt x="117020" y="148252"/>
                    <a:pt x="184494" y="140896"/>
                  </a:cubicBezTo>
                  <a:close/>
                </a:path>
              </a:pathLst>
            </a:custGeom>
            <a:solidFill>
              <a:srgbClr val="1D1D1B"/>
            </a:solidFill>
            <a:ln w="43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" name="Freihandform: Form 113">
              <a:extLst>
                <a:ext uri="{FF2B5EF4-FFF2-40B4-BE49-F238E27FC236}">
                  <a16:creationId xmlns:a16="http://schemas.microsoft.com/office/drawing/2014/main" id="{571652CD-D72D-410E-951D-520C265D39C1}"/>
                </a:ext>
              </a:extLst>
            </p:cNvPr>
            <p:cNvSpPr/>
            <p:nvPr/>
          </p:nvSpPr>
          <p:spPr>
            <a:xfrm>
              <a:off x="7193196" y="2911677"/>
              <a:ext cx="158867" cy="137736"/>
            </a:xfrm>
            <a:custGeom>
              <a:avLst/>
              <a:gdLst>
                <a:gd name="connsiteX0" fmla="*/ 158811 w 158867"/>
                <a:gd name="connsiteY0" fmla="*/ 131382 h 137736"/>
                <a:gd name="connsiteX1" fmla="*/ 158811 w 158867"/>
                <a:gd name="connsiteY1" fmla="*/ -55 h 137736"/>
                <a:gd name="connsiteX2" fmla="*/ -57 w 158867"/>
                <a:gd name="connsiteY2" fmla="*/ -55 h 137736"/>
                <a:gd name="connsiteX3" fmla="*/ 15168 w 158867"/>
                <a:gd name="connsiteY3" fmla="*/ 137681 h 137736"/>
                <a:gd name="connsiteX4" fmla="*/ 158811 w 158867"/>
                <a:gd name="connsiteY4" fmla="*/ 131382 h 137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867" h="137736">
                  <a:moveTo>
                    <a:pt x="158811" y="131382"/>
                  </a:moveTo>
                  <a:lnTo>
                    <a:pt x="158811" y="-55"/>
                  </a:lnTo>
                  <a:lnTo>
                    <a:pt x="-57" y="-55"/>
                  </a:lnTo>
                  <a:cubicBezTo>
                    <a:pt x="662" y="46233"/>
                    <a:pt x="5759" y="92350"/>
                    <a:pt x="15168" y="137681"/>
                  </a:cubicBezTo>
                  <a:cubicBezTo>
                    <a:pt x="59519" y="133805"/>
                    <a:pt x="107841" y="131734"/>
                    <a:pt x="158811" y="131382"/>
                  </a:cubicBezTo>
                  <a:close/>
                </a:path>
              </a:pathLst>
            </a:custGeom>
            <a:solidFill>
              <a:srgbClr val="1D1D1B"/>
            </a:solidFill>
            <a:ln w="43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5" name="Freihandform: Form 114">
              <a:extLst>
                <a:ext uri="{FF2B5EF4-FFF2-40B4-BE49-F238E27FC236}">
                  <a16:creationId xmlns:a16="http://schemas.microsoft.com/office/drawing/2014/main" id="{6438C06E-878E-4423-8913-EEA8E0F96BA2}"/>
                </a:ext>
              </a:extLst>
            </p:cNvPr>
            <p:cNvSpPr/>
            <p:nvPr/>
          </p:nvSpPr>
          <p:spPr>
            <a:xfrm>
              <a:off x="6992094" y="2510048"/>
              <a:ext cx="751709" cy="370090"/>
            </a:xfrm>
            <a:custGeom>
              <a:avLst/>
              <a:gdLst>
                <a:gd name="connsiteX0" fmla="*/ 751433 w 751709"/>
                <a:gd name="connsiteY0" fmla="*/ 302599 h 370090"/>
                <a:gd name="connsiteX1" fmla="*/ 737443 w 751709"/>
                <a:gd name="connsiteY1" fmla="*/ 250711 h 370090"/>
                <a:gd name="connsiteX2" fmla="*/ 730383 w 751709"/>
                <a:gd name="connsiteY2" fmla="*/ 245954 h 370090"/>
                <a:gd name="connsiteX3" fmla="*/ 630605 w 751709"/>
                <a:gd name="connsiteY3" fmla="*/ 257010 h 370090"/>
                <a:gd name="connsiteX4" fmla="*/ 605495 w 751709"/>
                <a:gd name="connsiteY4" fmla="*/ 213579 h 370090"/>
                <a:gd name="connsiteX5" fmla="*/ 665335 w 751709"/>
                <a:gd name="connsiteY5" fmla="*/ 133501 h 370090"/>
                <a:gd name="connsiteX6" fmla="*/ 664717 w 751709"/>
                <a:gd name="connsiteY6" fmla="*/ 125000 h 370090"/>
                <a:gd name="connsiteX7" fmla="*/ 626589 w 751709"/>
                <a:gd name="connsiteY7" fmla="*/ 86987 h 370090"/>
                <a:gd name="connsiteX8" fmla="*/ 618028 w 751709"/>
                <a:gd name="connsiteY8" fmla="*/ 86326 h 370090"/>
                <a:gd name="connsiteX9" fmla="*/ 537271 w 751709"/>
                <a:gd name="connsiteY9" fmla="*/ 145482 h 370090"/>
                <a:gd name="connsiteX10" fmla="*/ 493626 w 751709"/>
                <a:gd name="connsiteY10" fmla="*/ 120375 h 370090"/>
                <a:gd name="connsiteX11" fmla="*/ 505144 w 751709"/>
                <a:gd name="connsiteY11" fmla="*/ 21268 h 370090"/>
                <a:gd name="connsiteX12" fmla="*/ 500334 w 751709"/>
                <a:gd name="connsiteY12" fmla="*/ 14220 h 370090"/>
                <a:gd name="connsiteX13" fmla="*/ 448261 w 751709"/>
                <a:gd name="connsiteY13" fmla="*/ 257 h 370090"/>
                <a:gd name="connsiteX14" fmla="*/ 440538 w 751709"/>
                <a:gd name="connsiteY14" fmla="*/ 3913 h 370090"/>
                <a:gd name="connsiteX15" fmla="*/ 400247 w 751709"/>
                <a:gd name="connsiteY15" fmla="*/ 95356 h 370090"/>
                <a:gd name="connsiteX16" fmla="*/ 349851 w 751709"/>
                <a:gd name="connsiteY16" fmla="*/ 95356 h 370090"/>
                <a:gd name="connsiteX17" fmla="*/ 310134 w 751709"/>
                <a:gd name="connsiteY17" fmla="*/ 3869 h 370090"/>
                <a:gd name="connsiteX18" fmla="*/ 302412 w 751709"/>
                <a:gd name="connsiteY18" fmla="*/ 169 h 370090"/>
                <a:gd name="connsiteX19" fmla="*/ 250250 w 751709"/>
                <a:gd name="connsiteY19" fmla="*/ 14000 h 370090"/>
                <a:gd name="connsiteX20" fmla="*/ 245396 w 751709"/>
                <a:gd name="connsiteY20" fmla="*/ 21004 h 370090"/>
                <a:gd name="connsiteX21" fmla="*/ 256561 w 751709"/>
                <a:gd name="connsiteY21" fmla="*/ 120154 h 370090"/>
                <a:gd name="connsiteX22" fmla="*/ 219536 w 751709"/>
                <a:gd name="connsiteY22" fmla="*/ 140725 h 370090"/>
                <a:gd name="connsiteX23" fmla="*/ 211857 w 751709"/>
                <a:gd name="connsiteY23" fmla="*/ 144336 h 370090"/>
                <a:gd name="connsiteX24" fmla="*/ 132423 w 751709"/>
                <a:gd name="connsiteY24" fmla="*/ 85665 h 370090"/>
                <a:gd name="connsiteX25" fmla="*/ 123553 w 751709"/>
                <a:gd name="connsiteY25" fmla="*/ 86150 h 370090"/>
                <a:gd name="connsiteX26" fmla="*/ 85293 w 751709"/>
                <a:gd name="connsiteY26" fmla="*/ 124031 h 370090"/>
                <a:gd name="connsiteX27" fmla="*/ 84631 w 751709"/>
                <a:gd name="connsiteY27" fmla="*/ 132532 h 370090"/>
                <a:gd name="connsiteX28" fmla="*/ 144162 w 751709"/>
                <a:gd name="connsiteY28" fmla="*/ 212742 h 370090"/>
                <a:gd name="connsiteX29" fmla="*/ 118876 w 751709"/>
                <a:gd name="connsiteY29" fmla="*/ 256129 h 370090"/>
                <a:gd name="connsiteX30" fmla="*/ 19407 w 751709"/>
                <a:gd name="connsiteY30" fmla="*/ 244721 h 370090"/>
                <a:gd name="connsiteX31" fmla="*/ 12346 w 751709"/>
                <a:gd name="connsiteY31" fmla="*/ 249522 h 370090"/>
                <a:gd name="connsiteX32" fmla="*/ 166 w 751709"/>
                <a:gd name="connsiteY32" fmla="*/ 294362 h 370090"/>
                <a:gd name="connsiteX33" fmla="*/ 3873 w 751709"/>
                <a:gd name="connsiteY33" fmla="*/ 302026 h 370090"/>
                <a:gd name="connsiteX34" fmla="*/ 95796 w 751709"/>
                <a:gd name="connsiteY34" fmla="*/ 342021 h 370090"/>
                <a:gd name="connsiteX35" fmla="*/ 94648 w 751709"/>
                <a:gd name="connsiteY35" fmla="*/ 370035 h 370090"/>
                <a:gd name="connsiteX36" fmla="*/ 169184 w 751709"/>
                <a:gd name="connsiteY36" fmla="*/ 370035 h 370090"/>
                <a:gd name="connsiteX37" fmla="*/ 384252 w 751709"/>
                <a:gd name="connsiteY37" fmla="*/ 172418 h 370090"/>
                <a:gd name="connsiteX38" fmla="*/ 582239 w 751709"/>
                <a:gd name="connsiteY38" fmla="*/ 370035 h 370090"/>
                <a:gd name="connsiteX39" fmla="*/ 656598 w 751709"/>
                <a:gd name="connsiteY39" fmla="*/ 370035 h 370090"/>
                <a:gd name="connsiteX40" fmla="*/ 654921 w 751709"/>
                <a:gd name="connsiteY40" fmla="*/ 342594 h 370090"/>
                <a:gd name="connsiteX41" fmla="*/ 747593 w 751709"/>
                <a:gd name="connsiteY41" fmla="*/ 310307 h 370090"/>
                <a:gd name="connsiteX42" fmla="*/ 751432 w 751709"/>
                <a:gd name="connsiteY42" fmla="*/ 302599 h 370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751709" h="370090">
                  <a:moveTo>
                    <a:pt x="751433" y="302599"/>
                  </a:moveTo>
                  <a:lnTo>
                    <a:pt x="737443" y="250711"/>
                  </a:lnTo>
                  <a:cubicBezTo>
                    <a:pt x="736609" y="247589"/>
                    <a:pt x="733596" y="245559"/>
                    <a:pt x="730383" y="245954"/>
                  </a:cubicBezTo>
                  <a:lnTo>
                    <a:pt x="630605" y="257010"/>
                  </a:lnTo>
                  <a:cubicBezTo>
                    <a:pt x="623542" y="241818"/>
                    <a:pt x="615138" y="227284"/>
                    <a:pt x="605495" y="213579"/>
                  </a:cubicBezTo>
                  <a:lnTo>
                    <a:pt x="665335" y="133501"/>
                  </a:lnTo>
                  <a:cubicBezTo>
                    <a:pt x="667233" y="130896"/>
                    <a:pt x="666972" y="127304"/>
                    <a:pt x="664717" y="125000"/>
                  </a:cubicBezTo>
                  <a:lnTo>
                    <a:pt x="626589" y="86987"/>
                  </a:lnTo>
                  <a:cubicBezTo>
                    <a:pt x="624285" y="84698"/>
                    <a:pt x="620657" y="84418"/>
                    <a:pt x="618028" y="86326"/>
                  </a:cubicBezTo>
                  <a:lnTo>
                    <a:pt x="537271" y="145482"/>
                  </a:lnTo>
                  <a:cubicBezTo>
                    <a:pt x="523508" y="135821"/>
                    <a:pt x="508900" y="127418"/>
                    <a:pt x="493626" y="120375"/>
                  </a:cubicBezTo>
                  <a:lnTo>
                    <a:pt x="505144" y="21268"/>
                  </a:lnTo>
                  <a:cubicBezTo>
                    <a:pt x="505496" y="18058"/>
                    <a:pt x="503456" y="15068"/>
                    <a:pt x="500334" y="14220"/>
                  </a:cubicBezTo>
                  <a:lnTo>
                    <a:pt x="448261" y="257"/>
                  </a:lnTo>
                  <a:cubicBezTo>
                    <a:pt x="445136" y="-588"/>
                    <a:pt x="441859" y="963"/>
                    <a:pt x="440538" y="3913"/>
                  </a:cubicBezTo>
                  <a:lnTo>
                    <a:pt x="400247" y="95356"/>
                  </a:lnTo>
                  <a:cubicBezTo>
                    <a:pt x="383482" y="93858"/>
                    <a:pt x="366616" y="93858"/>
                    <a:pt x="349851" y="95356"/>
                  </a:cubicBezTo>
                  <a:lnTo>
                    <a:pt x="310134" y="3869"/>
                  </a:lnTo>
                  <a:cubicBezTo>
                    <a:pt x="308828" y="902"/>
                    <a:pt x="305548" y="-670"/>
                    <a:pt x="302412" y="169"/>
                  </a:cubicBezTo>
                  <a:lnTo>
                    <a:pt x="250250" y="14000"/>
                  </a:lnTo>
                  <a:cubicBezTo>
                    <a:pt x="247105" y="14795"/>
                    <a:pt x="245032" y="17786"/>
                    <a:pt x="245396" y="21004"/>
                  </a:cubicBezTo>
                  <a:lnTo>
                    <a:pt x="256561" y="120154"/>
                  </a:lnTo>
                  <a:cubicBezTo>
                    <a:pt x="243715" y="126065"/>
                    <a:pt x="231337" y="132941"/>
                    <a:pt x="219536" y="140725"/>
                  </a:cubicBezTo>
                  <a:lnTo>
                    <a:pt x="211857" y="144336"/>
                  </a:lnTo>
                  <a:lnTo>
                    <a:pt x="132423" y="85665"/>
                  </a:lnTo>
                  <a:cubicBezTo>
                    <a:pt x="129781" y="83529"/>
                    <a:pt x="125946" y="83738"/>
                    <a:pt x="123553" y="86150"/>
                  </a:cubicBezTo>
                  <a:lnTo>
                    <a:pt x="85293" y="124031"/>
                  </a:lnTo>
                  <a:cubicBezTo>
                    <a:pt x="82989" y="126308"/>
                    <a:pt x="82707" y="129927"/>
                    <a:pt x="84631" y="132532"/>
                  </a:cubicBezTo>
                  <a:lnTo>
                    <a:pt x="144162" y="212742"/>
                  </a:lnTo>
                  <a:cubicBezTo>
                    <a:pt x="134465" y="226430"/>
                    <a:pt x="126003" y="240949"/>
                    <a:pt x="118876" y="256129"/>
                  </a:cubicBezTo>
                  <a:lnTo>
                    <a:pt x="19407" y="244721"/>
                  </a:lnTo>
                  <a:cubicBezTo>
                    <a:pt x="16190" y="244369"/>
                    <a:pt x="13196" y="246405"/>
                    <a:pt x="12346" y="249522"/>
                  </a:cubicBezTo>
                  <a:lnTo>
                    <a:pt x="166" y="294362"/>
                  </a:lnTo>
                  <a:cubicBezTo>
                    <a:pt x="-670" y="297480"/>
                    <a:pt x="907" y="300740"/>
                    <a:pt x="3873" y="302026"/>
                  </a:cubicBezTo>
                  <a:lnTo>
                    <a:pt x="95796" y="342021"/>
                  </a:lnTo>
                  <a:cubicBezTo>
                    <a:pt x="94957" y="351359"/>
                    <a:pt x="94560" y="360741"/>
                    <a:pt x="94648" y="370035"/>
                  </a:cubicBezTo>
                  <a:lnTo>
                    <a:pt x="169184" y="370035"/>
                  </a:lnTo>
                  <a:cubicBezTo>
                    <a:pt x="173901" y="256186"/>
                    <a:pt x="270190" y="167710"/>
                    <a:pt x="384252" y="172418"/>
                  </a:cubicBezTo>
                  <a:cubicBezTo>
                    <a:pt x="491703" y="176853"/>
                    <a:pt x="577795" y="262785"/>
                    <a:pt x="582239" y="370035"/>
                  </a:cubicBezTo>
                  <a:lnTo>
                    <a:pt x="656598" y="370035"/>
                  </a:lnTo>
                  <a:cubicBezTo>
                    <a:pt x="656598" y="363296"/>
                    <a:pt x="654921" y="342594"/>
                    <a:pt x="654921" y="342594"/>
                  </a:cubicBezTo>
                  <a:lnTo>
                    <a:pt x="747593" y="310307"/>
                  </a:lnTo>
                  <a:cubicBezTo>
                    <a:pt x="750632" y="309066"/>
                    <a:pt x="752276" y="305766"/>
                    <a:pt x="751432" y="302599"/>
                  </a:cubicBezTo>
                  <a:close/>
                </a:path>
              </a:pathLst>
            </a:custGeom>
            <a:solidFill>
              <a:srgbClr val="1D1D1B"/>
            </a:solidFill>
            <a:ln w="43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16" name="Gruppieren 115">
            <a:extLst>
              <a:ext uri="{FF2B5EF4-FFF2-40B4-BE49-F238E27FC236}">
                <a16:creationId xmlns:a16="http://schemas.microsoft.com/office/drawing/2014/main" id="{16467D6A-B984-41DC-970A-5A377151C081}"/>
              </a:ext>
            </a:extLst>
          </p:cNvPr>
          <p:cNvGrpSpPr/>
          <p:nvPr/>
        </p:nvGrpSpPr>
        <p:grpSpPr>
          <a:xfrm>
            <a:off x="3316962" y="2483400"/>
            <a:ext cx="502167" cy="791877"/>
            <a:chOff x="3316962" y="2483400"/>
            <a:chExt cx="502167" cy="791877"/>
          </a:xfrm>
        </p:grpSpPr>
        <p:sp>
          <p:nvSpPr>
            <p:cNvPr id="117" name="Freihandform: Form 116">
              <a:extLst>
                <a:ext uri="{FF2B5EF4-FFF2-40B4-BE49-F238E27FC236}">
                  <a16:creationId xmlns:a16="http://schemas.microsoft.com/office/drawing/2014/main" id="{3E084DDF-6778-4E90-BDBF-EE357B5EC17E}"/>
                </a:ext>
              </a:extLst>
            </p:cNvPr>
            <p:cNvSpPr/>
            <p:nvPr/>
          </p:nvSpPr>
          <p:spPr>
            <a:xfrm>
              <a:off x="3316962" y="2740752"/>
              <a:ext cx="223153" cy="384945"/>
            </a:xfrm>
            <a:custGeom>
              <a:avLst/>
              <a:gdLst>
                <a:gd name="connsiteX0" fmla="*/ 191530 w 223153"/>
                <a:gd name="connsiteY0" fmla="*/ 384891 h 384945"/>
                <a:gd name="connsiteX1" fmla="*/ 73952 w 223153"/>
                <a:gd name="connsiteY1" fmla="*/ 384891 h 384945"/>
                <a:gd name="connsiteX2" fmla="*/ 73952 w 223153"/>
                <a:gd name="connsiteY2" fmla="*/ 256503 h 384945"/>
                <a:gd name="connsiteX3" fmla="*/ 149728 w 223153"/>
                <a:gd name="connsiteY3" fmla="*/ 256503 h 384945"/>
                <a:gd name="connsiteX4" fmla="*/ 149728 w 223153"/>
                <a:gd name="connsiteY4" fmla="*/ 128202 h 384945"/>
                <a:gd name="connsiteX5" fmla="*/ 73952 w 223153"/>
                <a:gd name="connsiteY5" fmla="*/ 128202 h 384945"/>
                <a:gd name="connsiteX6" fmla="*/ 73952 w 223153"/>
                <a:gd name="connsiteY6" fmla="*/ -54 h 384945"/>
                <a:gd name="connsiteX7" fmla="*/ 223056 w 223153"/>
                <a:gd name="connsiteY7" fmla="*/ -54 h 384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3153" h="384945">
                  <a:moveTo>
                    <a:pt x="191530" y="384891"/>
                  </a:moveTo>
                  <a:lnTo>
                    <a:pt x="73952" y="384891"/>
                  </a:lnTo>
                  <a:cubicBezTo>
                    <a:pt x="-24649" y="384891"/>
                    <a:pt x="-24911" y="256503"/>
                    <a:pt x="73952" y="256503"/>
                  </a:cubicBezTo>
                  <a:lnTo>
                    <a:pt x="149728" y="256503"/>
                  </a:lnTo>
                  <a:cubicBezTo>
                    <a:pt x="246624" y="256503"/>
                    <a:pt x="246624" y="128202"/>
                    <a:pt x="149728" y="128202"/>
                  </a:cubicBezTo>
                  <a:lnTo>
                    <a:pt x="73952" y="128202"/>
                  </a:lnTo>
                  <a:cubicBezTo>
                    <a:pt x="-24081" y="128202"/>
                    <a:pt x="-24081" y="-54"/>
                    <a:pt x="73952" y="-54"/>
                  </a:cubicBezTo>
                  <a:lnTo>
                    <a:pt x="223056" y="-54"/>
                  </a:lnTo>
                </a:path>
              </a:pathLst>
            </a:custGeom>
            <a:noFill/>
            <a:ln w="34578" cap="rnd">
              <a:solidFill>
                <a:srgbClr val="1D1D1B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8" name="Freihandform: Form 117">
              <a:extLst>
                <a:ext uri="{FF2B5EF4-FFF2-40B4-BE49-F238E27FC236}">
                  <a16:creationId xmlns:a16="http://schemas.microsoft.com/office/drawing/2014/main" id="{811955BE-3451-4AE4-8EB8-5A6309EEB4A5}"/>
                </a:ext>
              </a:extLst>
            </p:cNvPr>
            <p:cNvSpPr/>
            <p:nvPr/>
          </p:nvSpPr>
          <p:spPr>
            <a:xfrm>
              <a:off x="3486857" y="2687301"/>
              <a:ext cx="106602" cy="106902"/>
            </a:xfrm>
            <a:custGeom>
              <a:avLst/>
              <a:gdLst>
                <a:gd name="connsiteX0" fmla="*/ 106603 w 106602"/>
                <a:gd name="connsiteY0" fmla="*/ 53451 h 106902"/>
                <a:gd name="connsiteX1" fmla="*/ 53301 w 106602"/>
                <a:gd name="connsiteY1" fmla="*/ 106902 h 106902"/>
                <a:gd name="connsiteX2" fmla="*/ 0 w 106602"/>
                <a:gd name="connsiteY2" fmla="*/ 53451 h 106902"/>
                <a:gd name="connsiteX3" fmla="*/ 53301 w 106602"/>
                <a:gd name="connsiteY3" fmla="*/ 0 h 106902"/>
                <a:gd name="connsiteX4" fmla="*/ 106603 w 106602"/>
                <a:gd name="connsiteY4" fmla="*/ 53451 h 106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602" h="106902">
                  <a:moveTo>
                    <a:pt x="106603" y="53451"/>
                  </a:moveTo>
                  <a:cubicBezTo>
                    <a:pt x="106603" y="82972"/>
                    <a:pt x="82739" y="106902"/>
                    <a:pt x="53301" y="106902"/>
                  </a:cubicBezTo>
                  <a:cubicBezTo>
                    <a:pt x="23864" y="106902"/>
                    <a:pt x="0" y="82972"/>
                    <a:pt x="0" y="53451"/>
                  </a:cubicBezTo>
                  <a:cubicBezTo>
                    <a:pt x="0" y="23931"/>
                    <a:pt x="23864" y="0"/>
                    <a:pt x="53301" y="0"/>
                  </a:cubicBezTo>
                  <a:cubicBezTo>
                    <a:pt x="82739" y="0"/>
                    <a:pt x="106603" y="23931"/>
                    <a:pt x="106603" y="53451"/>
                  </a:cubicBezTo>
                  <a:close/>
                </a:path>
              </a:pathLst>
            </a:custGeom>
            <a:solidFill>
              <a:srgbClr val="1D1D1B"/>
            </a:solidFill>
            <a:ln w="43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9" name="Freihandform: Form 118">
              <a:extLst>
                <a:ext uri="{FF2B5EF4-FFF2-40B4-BE49-F238E27FC236}">
                  <a16:creationId xmlns:a16="http://schemas.microsoft.com/office/drawing/2014/main" id="{846B73DE-BFAB-49C4-8A1D-41C6C4ACCFCC}"/>
                </a:ext>
              </a:extLst>
            </p:cNvPr>
            <p:cNvSpPr/>
            <p:nvPr/>
          </p:nvSpPr>
          <p:spPr>
            <a:xfrm>
              <a:off x="3614522" y="2483400"/>
              <a:ext cx="204607" cy="260218"/>
            </a:xfrm>
            <a:custGeom>
              <a:avLst/>
              <a:gdLst>
                <a:gd name="connsiteX0" fmla="*/ 161701 w 204607"/>
                <a:gd name="connsiteY0" fmla="*/ 84622 h 260218"/>
                <a:gd name="connsiteX1" fmla="*/ 17931 w 204607"/>
                <a:gd name="connsiteY1" fmla="*/ 83 h 260218"/>
                <a:gd name="connsiteX2" fmla="*/ 38 w 204607"/>
                <a:gd name="connsiteY2" fmla="*/ 13878 h 260218"/>
                <a:gd name="connsiteX3" fmla="*/ 3065 w 204607"/>
                <a:gd name="connsiteY3" fmla="*/ 25515 h 260218"/>
                <a:gd name="connsiteX4" fmla="*/ 3065 w 204607"/>
                <a:gd name="connsiteY4" fmla="*/ 25515 h 260218"/>
                <a:gd name="connsiteX5" fmla="*/ 13603 w 204607"/>
                <a:gd name="connsiteY5" fmla="*/ 31610 h 260218"/>
                <a:gd name="connsiteX6" fmla="*/ 170968 w 204607"/>
                <a:gd name="connsiteY6" fmla="*/ 237788 h 260218"/>
                <a:gd name="connsiteX7" fmla="*/ 170402 w 204607"/>
                <a:gd name="connsiteY7" fmla="*/ 241731 h 260218"/>
                <a:gd name="connsiteX8" fmla="*/ 183695 w 204607"/>
                <a:gd name="connsiteY8" fmla="*/ 259972 h 260218"/>
                <a:gd name="connsiteX9" fmla="*/ 201885 w 204607"/>
                <a:gd name="connsiteY9" fmla="*/ 246642 h 260218"/>
                <a:gd name="connsiteX10" fmla="*/ 161701 w 204607"/>
                <a:gd name="connsiteY10" fmla="*/ 84622 h 260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4607" h="260218">
                  <a:moveTo>
                    <a:pt x="161701" y="84622"/>
                  </a:moveTo>
                  <a:cubicBezTo>
                    <a:pt x="127177" y="38075"/>
                    <a:pt x="75296" y="7568"/>
                    <a:pt x="17931" y="83"/>
                  </a:cubicBezTo>
                  <a:cubicBezTo>
                    <a:pt x="9191" y="-1063"/>
                    <a:pt x="1180" y="5113"/>
                    <a:pt x="38" y="13878"/>
                  </a:cubicBezTo>
                  <a:cubicBezTo>
                    <a:pt x="-500" y="18004"/>
                    <a:pt x="585" y="22178"/>
                    <a:pt x="3065" y="25515"/>
                  </a:cubicBezTo>
                  <a:lnTo>
                    <a:pt x="3065" y="25515"/>
                  </a:lnTo>
                  <a:cubicBezTo>
                    <a:pt x="5611" y="28892"/>
                    <a:pt x="9413" y="31091"/>
                    <a:pt x="13603" y="31610"/>
                  </a:cubicBezTo>
                  <a:cubicBezTo>
                    <a:pt x="113833" y="44967"/>
                    <a:pt x="184288" y="137276"/>
                    <a:pt x="170968" y="237788"/>
                  </a:cubicBezTo>
                  <a:cubicBezTo>
                    <a:pt x="170794" y="239105"/>
                    <a:pt x="170605" y="240419"/>
                    <a:pt x="170402" y="241731"/>
                  </a:cubicBezTo>
                  <a:cubicBezTo>
                    <a:pt x="169050" y="250449"/>
                    <a:pt x="175001" y="258616"/>
                    <a:pt x="183695" y="259972"/>
                  </a:cubicBezTo>
                  <a:cubicBezTo>
                    <a:pt x="192389" y="261328"/>
                    <a:pt x="200533" y="255360"/>
                    <a:pt x="201885" y="246642"/>
                  </a:cubicBezTo>
                  <a:cubicBezTo>
                    <a:pt x="210920" y="189407"/>
                    <a:pt x="196420" y="130945"/>
                    <a:pt x="161701" y="84622"/>
                  </a:cubicBezTo>
                  <a:close/>
                </a:path>
              </a:pathLst>
            </a:custGeom>
            <a:solidFill>
              <a:srgbClr val="1D1D1B"/>
            </a:solidFill>
            <a:ln w="43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0" name="Freihandform: Form 119">
              <a:extLst>
                <a:ext uri="{FF2B5EF4-FFF2-40B4-BE49-F238E27FC236}">
                  <a16:creationId xmlns:a16="http://schemas.microsoft.com/office/drawing/2014/main" id="{8EA0B14F-1898-4042-BFA2-D611EB750553}"/>
                </a:ext>
              </a:extLst>
            </p:cNvPr>
            <p:cNvSpPr/>
            <p:nvPr/>
          </p:nvSpPr>
          <p:spPr>
            <a:xfrm>
              <a:off x="3593459" y="2550054"/>
              <a:ext cx="155528" cy="195189"/>
            </a:xfrm>
            <a:custGeom>
              <a:avLst/>
              <a:gdLst>
                <a:gd name="connsiteX0" fmla="*/ 124915 w 155528"/>
                <a:gd name="connsiteY0" fmla="*/ 188758 h 195189"/>
                <a:gd name="connsiteX1" fmla="*/ 147265 w 155528"/>
                <a:gd name="connsiteY1" fmla="*/ 191915 h 195189"/>
                <a:gd name="connsiteX2" fmla="*/ 153424 w 155528"/>
                <a:gd name="connsiteY2" fmla="*/ 181654 h 195189"/>
                <a:gd name="connsiteX3" fmla="*/ 22912 w 155528"/>
                <a:gd name="connsiteY3" fmla="*/ 804 h 195189"/>
                <a:gd name="connsiteX4" fmla="*/ 17875 w 155528"/>
                <a:gd name="connsiteY4" fmla="*/ 78 h 195189"/>
                <a:gd name="connsiteX5" fmla="*/ 35 w 155528"/>
                <a:gd name="connsiteY5" fmla="*/ 13890 h 195189"/>
                <a:gd name="connsiteX6" fmla="*/ 13808 w 155528"/>
                <a:gd name="connsiteY6" fmla="*/ 31781 h 195189"/>
                <a:gd name="connsiteX7" fmla="*/ 122441 w 155528"/>
                <a:gd name="connsiteY7" fmla="*/ 172986 h 195189"/>
                <a:gd name="connsiteX8" fmla="*/ 121942 w 155528"/>
                <a:gd name="connsiteY8" fmla="*/ 176480 h 195189"/>
                <a:gd name="connsiteX9" fmla="*/ 124915 w 155528"/>
                <a:gd name="connsiteY9" fmla="*/ 188758 h 195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5528" h="195189">
                  <a:moveTo>
                    <a:pt x="124915" y="188758"/>
                  </a:moveTo>
                  <a:cubicBezTo>
                    <a:pt x="130217" y="195819"/>
                    <a:pt x="140224" y="197232"/>
                    <a:pt x="147265" y="191915"/>
                  </a:cubicBezTo>
                  <a:cubicBezTo>
                    <a:pt x="150565" y="189423"/>
                    <a:pt x="152773" y="185745"/>
                    <a:pt x="153424" y="181654"/>
                  </a:cubicBezTo>
                  <a:cubicBezTo>
                    <a:pt x="167185" y="95573"/>
                    <a:pt x="108752" y="14604"/>
                    <a:pt x="22912" y="804"/>
                  </a:cubicBezTo>
                  <a:cubicBezTo>
                    <a:pt x="21237" y="535"/>
                    <a:pt x="19558" y="293"/>
                    <a:pt x="17875" y="78"/>
                  </a:cubicBezTo>
                  <a:cubicBezTo>
                    <a:pt x="9145" y="-1048"/>
                    <a:pt x="1158" y="5136"/>
                    <a:pt x="35" y="13890"/>
                  </a:cubicBezTo>
                  <a:cubicBezTo>
                    <a:pt x="-1088" y="22645"/>
                    <a:pt x="5078" y="30654"/>
                    <a:pt x="13808" y="31781"/>
                  </a:cubicBezTo>
                  <a:cubicBezTo>
                    <a:pt x="82690" y="40691"/>
                    <a:pt x="131326" y="103911"/>
                    <a:pt x="122441" y="172986"/>
                  </a:cubicBezTo>
                  <a:cubicBezTo>
                    <a:pt x="122291" y="174153"/>
                    <a:pt x="122124" y="175318"/>
                    <a:pt x="121942" y="176480"/>
                  </a:cubicBezTo>
                  <a:cubicBezTo>
                    <a:pt x="121206" y="180809"/>
                    <a:pt x="122282" y="185250"/>
                    <a:pt x="124915" y="188758"/>
                  </a:cubicBezTo>
                  <a:close/>
                </a:path>
              </a:pathLst>
            </a:custGeom>
            <a:solidFill>
              <a:srgbClr val="1D1D1B"/>
            </a:solidFill>
            <a:ln w="43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1" name="Freihandform: Form 120">
              <a:extLst>
                <a:ext uri="{FF2B5EF4-FFF2-40B4-BE49-F238E27FC236}">
                  <a16:creationId xmlns:a16="http://schemas.microsoft.com/office/drawing/2014/main" id="{593D85AC-CDCA-4BCA-90DB-729611A4239C}"/>
                </a:ext>
              </a:extLst>
            </p:cNvPr>
            <p:cNvSpPr/>
            <p:nvPr/>
          </p:nvSpPr>
          <p:spPr>
            <a:xfrm>
              <a:off x="3565539" y="2617597"/>
              <a:ext cx="110377" cy="135392"/>
            </a:xfrm>
            <a:custGeom>
              <a:avLst/>
              <a:gdLst>
                <a:gd name="connsiteX0" fmla="*/ 80339 w 110377"/>
                <a:gd name="connsiteY0" fmla="*/ 128977 h 135392"/>
                <a:gd name="connsiteX1" fmla="*/ 102693 w 110377"/>
                <a:gd name="connsiteY1" fmla="*/ 132106 h 135392"/>
                <a:gd name="connsiteX2" fmla="*/ 108804 w 110377"/>
                <a:gd name="connsiteY2" fmla="*/ 122049 h 135392"/>
                <a:gd name="connsiteX3" fmla="*/ 22766 w 110377"/>
                <a:gd name="connsiteY3" fmla="*/ 784 h 135392"/>
                <a:gd name="connsiteX4" fmla="*/ 17768 w 110377"/>
                <a:gd name="connsiteY4" fmla="*/ 62 h 135392"/>
                <a:gd name="connsiteX5" fmla="*/ 15 w 110377"/>
                <a:gd name="connsiteY5" fmla="*/ 14006 h 135392"/>
                <a:gd name="connsiteX6" fmla="*/ 3076 w 110377"/>
                <a:gd name="connsiteY6" fmla="*/ 25495 h 135392"/>
                <a:gd name="connsiteX7" fmla="*/ 3294 w 110377"/>
                <a:gd name="connsiteY7" fmla="*/ 25758 h 135392"/>
                <a:gd name="connsiteX8" fmla="*/ 13920 w 110377"/>
                <a:gd name="connsiteY8" fmla="*/ 31765 h 135392"/>
                <a:gd name="connsiteX9" fmla="*/ 77863 w 110377"/>
                <a:gd name="connsiteY9" fmla="*/ 113319 h 135392"/>
                <a:gd name="connsiteX10" fmla="*/ 77365 w 110377"/>
                <a:gd name="connsiteY10" fmla="*/ 116787 h 135392"/>
                <a:gd name="connsiteX11" fmla="*/ 80339 w 110377"/>
                <a:gd name="connsiteY11" fmla="*/ 128977 h 135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0377" h="135392">
                  <a:moveTo>
                    <a:pt x="80339" y="128977"/>
                  </a:moveTo>
                  <a:cubicBezTo>
                    <a:pt x="85650" y="136031"/>
                    <a:pt x="95658" y="137432"/>
                    <a:pt x="102693" y="132106"/>
                  </a:cubicBezTo>
                  <a:cubicBezTo>
                    <a:pt x="105930" y="129654"/>
                    <a:pt x="108116" y="126058"/>
                    <a:pt x="108804" y="122049"/>
                  </a:cubicBezTo>
                  <a:cubicBezTo>
                    <a:pt x="118438" y="64737"/>
                    <a:pt x="79918" y="10445"/>
                    <a:pt x="22766" y="784"/>
                  </a:cubicBezTo>
                  <a:cubicBezTo>
                    <a:pt x="21106" y="503"/>
                    <a:pt x="19439" y="263"/>
                    <a:pt x="17768" y="62"/>
                  </a:cubicBezTo>
                  <a:cubicBezTo>
                    <a:pt x="9028" y="-995"/>
                    <a:pt x="1085" y="5244"/>
                    <a:pt x="15" y="14006"/>
                  </a:cubicBezTo>
                  <a:cubicBezTo>
                    <a:pt x="-469" y="18087"/>
                    <a:pt x="626" y="22199"/>
                    <a:pt x="3076" y="25495"/>
                  </a:cubicBezTo>
                  <a:lnTo>
                    <a:pt x="3294" y="25758"/>
                  </a:lnTo>
                  <a:cubicBezTo>
                    <a:pt x="5884" y="29115"/>
                    <a:pt x="9715" y="31281"/>
                    <a:pt x="13920" y="31765"/>
                  </a:cubicBezTo>
                  <a:cubicBezTo>
                    <a:pt x="54035" y="36578"/>
                    <a:pt x="82663" y="73092"/>
                    <a:pt x="77863" y="113319"/>
                  </a:cubicBezTo>
                  <a:cubicBezTo>
                    <a:pt x="77725" y="114479"/>
                    <a:pt x="77559" y="115635"/>
                    <a:pt x="77365" y="116787"/>
                  </a:cubicBezTo>
                  <a:cubicBezTo>
                    <a:pt x="76676" y="121086"/>
                    <a:pt x="77748" y="125482"/>
                    <a:pt x="80339" y="128977"/>
                  </a:cubicBezTo>
                  <a:close/>
                </a:path>
              </a:pathLst>
            </a:custGeom>
            <a:solidFill>
              <a:srgbClr val="1D1D1B"/>
            </a:solidFill>
            <a:ln w="43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2" name="Freihandform: Form 121">
              <a:extLst>
                <a:ext uri="{FF2B5EF4-FFF2-40B4-BE49-F238E27FC236}">
                  <a16:creationId xmlns:a16="http://schemas.microsoft.com/office/drawing/2014/main" id="{366D8B9C-1116-40A4-8619-8E9AB9CEA63A}"/>
                </a:ext>
              </a:extLst>
            </p:cNvPr>
            <p:cNvSpPr/>
            <p:nvPr/>
          </p:nvSpPr>
          <p:spPr>
            <a:xfrm>
              <a:off x="3404828" y="2591417"/>
              <a:ext cx="47442" cy="164989"/>
            </a:xfrm>
            <a:custGeom>
              <a:avLst/>
              <a:gdLst>
                <a:gd name="connsiteX0" fmla="*/ 47345 w 47442"/>
                <a:gd name="connsiteY0" fmla="*/ 164935 h 164989"/>
                <a:gd name="connsiteX1" fmla="*/ 47345 w 47442"/>
                <a:gd name="connsiteY1" fmla="*/ 22734 h 164989"/>
                <a:gd name="connsiteX2" fmla="*/ 22605 w 47442"/>
                <a:gd name="connsiteY2" fmla="*/ -32 h 164989"/>
                <a:gd name="connsiteX3" fmla="*/ -97 w 47442"/>
                <a:gd name="connsiteY3" fmla="*/ 22734 h 164989"/>
                <a:gd name="connsiteX4" fmla="*/ -97 w 47442"/>
                <a:gd name="connsiteY4" fmla="*/ 164935 h 164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442" h="164989">
                  <a:moveTo>
                    <a:pt x="47345" y="164935"/>
                  </a:moveTo>
                  <a:lnTo>
                    <a:pt x="47345" y="22734"/>
                  </a:lnTo>
                  <a:cubicBezTo>
                    <a:pt x="46782" y="9597"/>
                    <a:pt x="35706" y="-596"/>
                    <a:pt x="22605" y="-32"/>
                  </a:cubicBezTo>
                  <a:cubicBezTo>
                    <a:pt x="10293" y="498"/>
                    <a:pt x="432" y="10387"/>
                    <a:pt x="-97" y="22734"/>
                  </a:cubicBezTo>
                  <a:lnTo>
                    <a:pt x="-97" y="164935"/>
                  </a:lnTo>
                  <a:close/>
                </a:path>
              </a:pathLst>
            </a:custGeom>
            <a:solidFill>
              <a:srgbClr val="1D1D1B"/>
            </a:solidFill>
            <a:ln w="43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3" name="Freihandform: Form 122">
              <a:extLst>
                <a:ext uri="{FF2B5EF4-FFF2-40B4-BE49-F238E27FC236}">
                  <a16:creationId xmlns:a16="http://schemas.microsoft.com/office/drawing/2014/main" id="{31F419F5-E1C3-4648-B563-ABE035C3D3CC}"/>
                </a:ext>
              </a:extLst>
            </p:cNvPr>
            <p:cNvSpPr/>
            <p:nvPr/>
          </p:nvSpPr>
          <p:spPr>
            <a:xfrm>
              <a:off x="3404872" y="2908165"/>
              <a:ext cx="47442" cy="103438"/>
            </a:xfrm>
            <a:custGeom>
              <a:avLst/>
              <a:gdLst>
                <a:gd name="connsiteX0" fmla="*/ 0 w 47442"/>
                <a:gd name="connsiteY0" fmla="*/ 0 h 103438"/>
                <a:gd name="connsiteX1" fmla="*/ 47442 w 47442"/>
                <a:gd name="connsiteY1" fmla="*/ 0 h 103438"/>
                <a:gd name="connsiteX2" fmla="*/ 47442 w 47442"/>
                <a:gd name="connsiteY2" fmla="*/ 103438 h 103438"/>
                <a:gd name="connsiteX3" fmla="*/ 0 w 47442"/>
                <a:gd name="connsiteY3" fmla="*/ 103438 h 103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442" h="103438">
                  <a:moveTo>
                    <a:pt x="0" y="0"/>
                  </a:moveTo>
                  <a:lnTo>
                    <a:pt x="47442" y="0"/>
                  </a:lnTo>
                  <a:lnTo>
                    <a:pt x="47442" y="103438"/>
                  </a:lnTo>
                  <a:lnTo>
                    <a:pt x="0" y="103438"/>
                  </a:lnTo>
                  <a:close/>
                </a:path>
              </a:pathLst>
            </a:custGeom>
            <a:solidFill>
              <a:srgbClr val="1D1D1B"/>
            </a:solidFill>
            <a:ln w="43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4" name="Freihandform: Form 123">
              <a:extLst>
                <a:ext uri="{FF2B5EF4-FFF2-40B4-BE49-F238E27FC236}">
                  <a16:creationId xmlns:a16="http://schemas.microsoft.com/office/drawing/2014/main" id="{2DB5E731-00D5-4324-B893-A33E05F0175C}"/>
                </a:ext>
              </a:extLst>
            </p:cNvPr>
            <p:cNvSpPr/>
            <p:nvPr/>
          </p:nvSpPr>
          <p:spPr>
            <a:xfrm>
              <a:off x="3404806" y="3164810"/>
              <a:ext cx="47486" cy="110467"/>
            </a:xfrm>
            <a:custGeom>
              <a:avLst/>
              <a:gdLst>
                <a:gd name="connsiteX0" fmla="*/ -75 w 47486"/>
                <a:gd name="connsiteY0" fmla="*/ -54 h 110467"/>
                <a:gd name="connsiteX1" fmla="*/ -75 w 47486"/>
                <a:gd name="connsiteY1" fmla="*/ 85582 h 110467"/>
                <a:gd name="connsiteX2" fmla="*/ 22628 w 47486"/>
                <a:gd name="connsiteY2" fmla="*/ 110391 h 110467"/>
                <a:gd name="connsiteX3" fmla="*/ 47367 w 47486"/>
                <a:gd name="connsiteY3" fmla="*/ 87625 h 110467"/>
                <a:gd name="connsiteX4" fmla="*/ 47367 w 47486"/>
                <a:gd name="connsiteY4" fmla="*/ 85582 h 110467"/>
                <a:gd name="connsiteX5" fmla="*/ 47367 w 47486"/>
                <a:gd name="connsiteY5" fmla="*/ -54 h 110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486" h="110467">
                  <a:moveTo>
                    <a:pt x="-75" y="-54"/>
                  </a:moveTo>
                  <a:lnTo>
                    <a:pt x="-75" y="85582"/>
                  </a:lnTo>
                  <a:cubicBezTo>
                    <a:pt x="-637" y="98719"/>
                    <a:pt x="9527" y="109827"/>
                    <a:pt x="22628" y="110391"/>
                  </a:cubicBezTo>
                  <a:cubicBezTo>
                    <a:pt x="35728" y="110955"/>
                    <a:pt x="46805" y="100762"/>
                    <a:pt x="47367" y="87625"/>
                  </a:cubicBezTo>
                  <a:cubicBezTo>
                    <a:pt x="47396" y="86944"/>
                    <a:pt x="47396" y="86262"/>
                    <a:pt x="47367" y="85582"/>
                  </a:cubicBezTo>
                  <a:lnTo>
                    <a:pt x="47367" y="-54"/>
                  </a:lnTo>
                  <a:close/>
                </a:path>
              </a:pathLst>
            </a:custGeom>
            <a:solidFill>
              <a:srgbClr val="1D1D1B"/>
            </a:solidFill>
            <a:ln w="43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5" name="Freihandform: Form 124">
              <a:extLst>
                <a:ext uri="{FF2B5EF4-FFF2-40B4-BE49-F238E27FC236}">
                  <a16:creationId xmlns:a16="http://schemas.microsoft.com/office/drawing/2014/main" id="{CC705FCA-D49E-49F9-B8E7-B03663D91952}"/>
                </a:ext>
              </a:extLst>
            </p:cNvPr>
            <p:cNvSpPr/>
            <p:nvPr/>
          </p:nvSpPr>
          <p:spPr>
            <a:xfrm>
              <a:off x="3404872" y="2779953"/>
              <a:ext cx="47442" cy="103175"/>
            </a:xfrm>
            <a:custGeom>
              <a:avLst/>
              <a:gdLst>
                <a:gd name="connsiteX0" fmla="*/ 0 w 47442"/>
                <a:gd name="connsiteY0" fmla="*/ 0 h 103175"/>
                <a:gd name="connsiteX1" fmla="*/ 47442 w 47442"/>
                <a:gd name="connsiteY1" fmla="*/ 0 h 103175"/>
                <a:gd name="connsiteX2" fmla="*/ 47442 w 47442"/>
                <a:gd name="connsiteY2" fmla="*/ 103175 h 103175"/>
                <a:gd name="connsiteX3" fmla="*/ 0 w 47442"/>
                <a:gd name="connsiteY3" fmla="*/ 103175 h 103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442" h="103175">
                  <a:moveTo>
                    <a:pt x="0" y="0"/>
                  </a:moveTo>
                  <a:lnTo>
                    <a:pt x="47442" y="0"/>
                  </a:lnTo>
                  <a:lnTo>
                    <a:pt x="47442" y="103175"/>
                  </a:lnTo>
                  <a:lnTo>
                    <a:pt x="0" y="103175"/>
                  </a:lnTo>
                  <a:close/>
                </a:path>
              </a:pathLst>
            </a:custGeom>
            <a:solidFill>
              <a:srgbClr val="1D1D1B"/>
            </a:solidFill>
            <a:ln w="43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6" name="Freihandform: Form 125">
              <a:extLst>
                <a:ext uri="{FF2B5EF4-FFF2-40B4-BE49-F238E27FC236}">
                  <a16:creationId xmlns:a16="http://schemas.microsoft.com/office/drawing/2014/main" id="{A4A5C1C4-8F4C-4343-A0E9-7844F9F35C81}"/>
                </a:ext>
              </a:extLst>
            </p:cNvPr>
            <p:cNvSpPr/>
            <p:nvPr/>
          </p:nvSpPr>
          <p:spPr>
            <a:xfrm>
              <a:off x="3404872" y="3036466"/>
              <a:ext cx="47442" cy="102342"/>
            </a:xfrm>
            <a:custGeom>
              <a:avLst/>
              <a:gdLst>
                <a:gd name="connsiteX0" fmla="*/ 0 w 47442"/>
                <a:gd name="connsiteY0" fmla="*/ 0 h 102342"/>
                <a:gd name="connsiteX1" fmla="*/ 47442 w 47442"/>
                <a:gd name="connsiteY1" fmla="*/ 0 h 102342"/>
                <a:gd name="connsiteX2" fmla="*/ 47442 w 47442"/>
                <a:gd name="connsiteY2" fmla="*/ 102342 h 102342"/>
                <a:gd name="connsiteX3" fmla="*/ 0 w 47442"/>
                <a:gd name="connsiteY3" fmla="*/ 102342 h 102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442" h="102342">
                  <a:moveTo>
                    <a:pt x="0" y="0"/>
                  </a:moveTo>
                  <a:lnTo>
                    <a:pt x="47442" y="0"/>
                  </a:lnTo>
                  <a:lnTo>
                    <a:pt x="47442" y="102342"/>
                  </a:lnTo>
                  <a:lnTo>
                    <a:pt x="0" y="102342"/>
                  </a:lnTo>
                  <a:close/>
                </a:path>
              </a:pathLst>
            </a:custGeom>
            <a:solidFill>
              <a:srgbClr val="1D1D1B"/>
            </a:solidFill>
            <a:ln w="43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27" name="Grafik 116">
            <a:extLst>
              <a:ext uri="{FF2B5EF4-FFF2-40B4-BE49-F238E27FC236}">
                <a16:creationId xmlns:a16="http://schemas.microsoft.com/office/drawing/2014/main" id="{D3B2B98D-C2D1-4631-82F8-A37398552135}"/>
              </a:ext>
            </a:extLst>
          </p:cNvPr>
          <p:cNvSpPr/>
          <p:nvPr/>
        </p:nvSpPr>
        <p:spPr>
          <a:xfrm>
            <a:off x="8242232" y="2730222"/>
            <a:ext cx="789018" cy="295789"/>
          </a:xfrm>
          <a:custGeom>
            <a:avLst/>
            <a:gdLst>
              <a:gd name="connsiteX0" fmla="*/ 740910 w 789018"/>
              <a:gd name="connsiteY0" fmla="*/ 39902 h 295789"/>
              <a:gd name="connsiteX1" fmla="*/ 571321 w 789018"/>
              <a:gd name="connsiteY1" fmla="*/ 19373 h 295789"/>
              <a:gd name="connsiteX2" fmla="*/ 525944 w 789018"/>
              <a:gd name="connsiteY2" fmla="*/ 51255 h 295789"/>
              <a:gd name="connsiteX3" fmla="*/ 262962 w 789018"/>
              <a:gd name="connsiteY3" fmla="*/ 50050 h 295789"/>
              <a:gd name="connsiteX4" fmla="*/ 214635 w 789018"/>
              <a:gd name="connsiteY4" fmla="*/ 16730 h 295789"/>
              <a:gd name="connsiteX5" fmla="*/ 25016 w 789018"/>
              <a:gd name="connsiteY5" fmla="*/ 65213 h 295789"/>
              <a:gd name="connsiteX6" fmla="*/ 42445 w 789018"/>
              <a:gd name="connsiteY6" fmla="*/ 252112 h 295789"/>
              <a:gd name="connsiteX7" fmla="*/ 262457 w 789018"/>
              <a:gd name="connsiteY7" fmla="*/ 243441 h 295789"/>
              <a:gd name="connsiteX8" fmla="*/ 265640 w 789018"/>
              <a:gd name="connsiteY8" fmla="*/ 240214 h 295789"/>
              <a:gd name="connsiteX9" fmla="*/ 273404 w 789018"/>
              <a:gd name="connsiteY9" fmla="*/ 232205 h 295789"/>
              <a:gd name="connsiteX10" fmla="*/ 518724 w 789018"/>
              <a:gd name="connsiteY10" fmla="*/ 232671 h 295789"/>
              <a:gd name="connsiteX11" fmla="*/ 525789 w 789018"/>
              <a:gd name="connsiteY11" fmla="*/ 239475 h 295789"/>
              <a:gd name="connsiteX12" fmla="*/ 532737 w 789018"/>
              <a:gd name="connsiteY12" fmla="*/ 246396 h 295789"/>
              <a:gd name="connsiteX13" fmla="*/ 763152 w 789018"/>
              <a:gd name="connsiteY13" fmla="*/ 231544 h 295789"/>
              <a:gd name="connsiteX14" fmla="*/ 740910 w 789018"/>
              <a:gd name="connsiteY14" fmla="*/ 39902 h 295789"/>
              <a:gd name="connsiteX15" fmla="*/ 204892 w 789018"/>
              <a:gd name="connsiteY15" fmla="*/ 216342 h 295789"/>
              <a:gd name="connsiteX16" fmla="*/ 168055 w 789018"/>
              <a:gd name="connsiteY16" fmla="*/ 216342 h 295789"/>
              <a:gd name="connsiteX17" fmla="*/ 168055 w 789018"/>
              <a:gd name="connsiteY17" fmla="*/ 156932 h 295789"/>
              <a:gd name="connsiteX18" fmla="*/ 124426 w 789018"/>
              <a:gd name="connsiteY18" fmla="*/ 156932 h 295789"/>
              <a:gd name="connsiteX19" fmla="*/ 124426 w 789018"/>
              <a:gd name="connsiteY19" fmla="*/ 216342 h 295789"/>
              <a:gd name="connsiteX20" fmla="*/ 87550 w 789018"/>
              <a:gd name="connsiteY20" fmla="*/ 216342 h 295789"/>
              <a:gd name="connsiteX21" fmla="*/ 87550 w 789018"/>
              <a:gd name="connsiteY21" fmla="*/ 77733 h 295789"/>
              <a:gd name="connsiteX22" fmla="*/ 124426 w 789018"/>
              <a:gd name="connsiteY22" fmla="*/ 77733 h 295789"/>
              <a:gd name="connsiteX23" fmla="*/ 124426 w 789018"/>
              <a:gd name="connsiteY23" fmla="*/ 130727 h 295789"/>
              <a:gd name="connsiteX24" fmla="*/ 168055 w 789018"/>
              <a:gd name="connsiteY24" fmla="*/ 130727 h 295789"/>
              <a:gd name="connsiteX25" fmla="*/ 168055 w 789018"/>
              <a:gd name="connsiteY25" fmla="*/ 77733 h 295789"/>
              <a:gd name="connsiteX26" fmla="*/ 204892 w 789018"/>
              <a:gd name="connsiteY26" fmla="*/ 77733 h 295789"/>
              <a:gd name="connsiteX27" fmla="*/ 700230 w 789018"/>
              <a:gd name="connsiteY27" fmla="*/ 216342 h 295789"/>
              <a:gd name="connsiteX28" fmla="*/ 663277 w 789018"/>
              <a:gd name="connsiteY28" fmla="*/ 216342 h 295789"/>
              <a:gd name="connsiteX29" fmla="*/ 663277 w 789018"/>
              <a:gd name="connsiteY29" fmla="*/ 156932 h 295789"/>
              <a:gd name="connsiteX30" fmla="*/ 619725 w 789018"/>
              <a:gd name="connsiteY30" fmla="*/ 156932 h 295789"/>
              <a:gd name="connsiteX31" fmla="*/ 619725 w 789018"/>
              <a:gd name="connsiteY31" fmla="*/ 216342 h 295789"/>
              <a:gd name="connsiteX32" fmla="*/ 582849 w 789018"/>
              <a:gd name="connsiteY32" fmla="*/ 216342 h 295789"/>
              <a:gd name="connsiteX33" fmla="*/ 582849 w 789018"/>
              <a:gd name="connsiteY33" fmla="*/ 77733 h 295789"/>
              <a:gd name="connsiteX34" fmla="*/ 619725 w 789018"/>
              <a:gd name="connsiteY34" fmla="*/ 77733 h 295789"/>
              <a:gd name="connsiteX35" fmla="*/ 619725 w 789018"/>
              <a:gd name="connsiteY35" fmla="*/ 130727 h 295789"/>
              <a:gd name="connsiteX36" fmla="*/ 663277 w 789018"/>
              <a:gd name="connsiteY36" fmla="*/ 130727 h 295789"/>
              <a:gd name="connsiteX37" fmla="*/ 663277 w 789018"/>
              <a:gd name="connsiteY37" fmla="*/ 77733 h 295789"/>
              <a:gd name="connsiteX38" fmla="*/ 700153 w 789018"/>
              <a:gd name="connsiteY38" fmla="*/ 77733 h 295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789018" h="295789">
                <a:moveTo>
                  <a:pt x="740910" y="39902"/>
                </a:moveTo>
                <a:cubicBezTo>
                  <a:pt x="702288" y="4910"/>
                  <a:pt x="631680" y="-15813"/>
                  <a:pt x="571321" y="19373"/>
                </a:cubicBezTo>
                <a:cubicBezTo>
                  <a:pt x="555198" y="28500"/>
                  <a:pt x="540001" y="39178"/>
                  <a:pt x="525944" y="51255"/>
                </a:cubicBezTo>
                <a:cubicBezTo>
                  <a:pt x="400683" y="139825"/>
                  <a:pt x="387912" y="140680"/>
                  <a:pt x="262962" y="50050"/>
                </a:cubicBezTo>
                <a:cubicBezTo>
                  <a:pt x="246892" y="38386"/>
                  <a:pt x="232180" y="25828"/>
                  <a:pt x="214635" y="16730"/>
                </a:cubicBezTo>
                <a:cubicBezTo>
                  <a:pt x="148365" y="-18178"/>
                  <a:pt x="66474" y="2761"/>
                  <a:pt x="25016" y="65213"/>
                </a:cubicBezTo>
                <a:cubicBezTo>
                  <a:pt x="-14073" y="123791"/>
                  <a:pt x="-6798" y="201798"/>
                  <a:pt x="42445" y="252112"/>
                </a:cubicBezTo>
                <a:cubicBezTo>
                  <a:pt x="100282" y="306544"/>
                  <a:pt x="189172" y="316770"/>
                  <a:pt x="262457" y="243441"/>
                </a:cubicBezTo>
                <a:cubicBezTo>
                  <a:pt x="263544" y="242391"/>
                  <a:pt x="264592" y="241303"/>
                  <a:pt x="265640" y="240214"/>
                </a:cubicBezTo>
                <a:cubicBezTo>
                  <a:pt x="268280" y="237493"/>
                  <a:pt x="270881" y="234810"/>
                  <a:pt x="273404" y="232205"/>
                </a:cubicBezTo>
                <a:cubicBezTo>
                  <a:pt x="362332" y="142780"/>
                  <a:pt x="422925" y="139592"/>
                  <a:pt x="518724" y="232671"/>
                </a:cubicBezTo>
                <a:lnTo>
                  <a:pt x="525789" y="239475"/>
                </a:lnTo>
                <a:cubicBezTo>
                  <a:pt x="528079" y="241730"/>
                  <a:pt x="530486" y="243986"/>
                  <a:pt x="532737" y="246396"/>
                </a:cubicBezTo>
                <a:cubicBezTo>
                  <a:pt x="603694" y="322835"/>
                  <a:pt x="711293" y="303822"/>
                  <a:pt x="763152" y="231544"/>
                </a:cubicBezTo>
                <a:cubicBezTo>
                  <a:pt x="805579" y="172601"/>
                  <a:pt x="794050" y="88114"/>
                  <a:pt x="740910" y="39902"/>
                </a:cubicBezTo>
                <a:close/>
                <a:moveTo>
                  <a:pt x="204892" y="216342"/>
                </a:moveTo>
                <a:lnTo>
                  <a:pt x="168055" y="216342"/>
                </a:lnTo>
                <a:lnTo>
                  <a:pt x="168055" y="156932"/>
                </a:lnTo>
                <a:lnTo>
                  <a:pt x="124426" y="156932"/>
                </a:lnTo>
                <a:lnTo>
                  <a:pt x="124426" y="216342"/>
                </a:lnTo>
                <a:lnTo>
                  <a:pt x="87550" y="216342"/>
                </a:lnTo>
                <a:lnTo>
                  <a:pt x="87550" y="77733"/>
                </a:lnTo>
                <a:lnTo>
                  <a:pt x="124426" y="77733"/>
                </a:lnTo>
                <a:lnTo>
                  <a:pt x="124426" y="130727"/>
                </a:lnTo>
                <a:lnTo>
                  <a:pt x="168055" y="130727"/>
                </a:lnTo>
                <a:lnTo>
                  <a:pt x="168055" y="77733"/>
                </a:lnTo>
                <a:lnTo>
                  <a:pt x="204892" y="77733"/>
                </a:lnTo>
                <a:close/>
                <a:moveTo>
                  <a:pt x="700230" y="216342"/>
                </a:moveTo>
                <a:lnTo>
                  <a:pt x="663277" y="216342"/>
                </a:lnTo>
                <a:lnTo>
                  <a:pt x="663277" y="156932"/>
                </a:lnTo>
                <a:lnTo>
                  <a:pt x="619725" y="156932"/>
                </a:lnTo>
                <a:lnTo>
                  <a:pt x="619725" y="216342"/>
                </a:lnTo>
                <a:lnTo>
                  <a:pt x="582849" y="216342"/>
                </a:lnTo>
                <a:lnTo>
                  <a:pt x="582849" y="77733"/>
                </a:lnTo>
                <a:lnTo>
                  <a:pt x="619725" y="77733"/>
                </a:lnTo>
                <a:lnTo>
                  <a:pt x="619725" y="130727"/>
                </a:lnTo>
                <a:lnTo>
                  <a:pt x="663277" y="130727"/>
                </a:lnTo>
                <a:lnTo>
                  <a:pt x="663277" y="77733"/>
                </a:lnTo>
                <a:lnTo>
                  <a:pt x="700153" y="77733"/>
                </a:lnTo>
                <a:close/>
              </a:path>
            </a:pathLst>
          </a:custGeom>
          <a:solidFill>
            <a:srgbClr val="1D1D1B"/>
          </a:solidFill>
          <a:ln w="384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128" name="Gruppieren 127">
            <a:extLst>
              <a:ext uri="{FF2B5EF4-FFF2-40B4-BE49-F238E27FC236}">
                <a16:creationId xmlns:a16="http://schemas.microsoft.com/office/drawing/2014/main" id="{7E4EFE7F-C294-4A4D-9557-230157E77015}"/>
              </a:ext>
            </a:extLst>
          </p:cNvPr>
          <p:cNvGrpSpPr/>
          <p:nvPr/>
        </p:nvGrpSpPr>
        <p:grpSpPr>
          <a:xfrm>
            <a:off x="627446" y="3732218"/>
            <a:ext cx="772421" cy="726420"/>
            <a:chOff x="627446" y="2514149"/>
            <a:chExt cx="772421" cy="726420"/>
          </a:xfrm>
          <a:solidFill>
            <a:schemeClr val="bg1"/>
          </a:solidFill>
        </p:grpSpPr>
        <p:sp>
          <p:nvSpPr>
            <p:cNvPr id="129" name="Freihandform: Form 128">
              <a:extLst>
                <a:ext uri="{FF2B5EF4-FFF2-40B4-BE49-F238E27FC236}">
                  <a16:creationId xmlns:a16="http://schemas.microsoft.com/office/drawing/2014/main" id="{E77C446D-2649-4628-BD02-54C9DDB0A94E}"/>
                </a:ext>
              </a:extLst>
            </p:cNvPr>
            <p:cNvSpPr/>
            <p:nvPr/>
          </p:nvSpPr>
          <p:spPr>
            <a:xfrm>
              <a:off x="828449" y="2881272"/>
              <a:ext cx="193621" cy="134288"/>
            </a:xfrm>
            <a:custGeom>
              <a:avLst/>
              <a:gdLst>
                <a:gd name="connsiteX0" fmla="*/ 193490 w 193621"/>
                <a:gd name="connsiteY0" fmla="*/ 107423 h 134288"/>
                <a:gd name="connsiteX1" fmla="*/ 193490 w 193621"/>
                <a:gd name="connsiteY1" fmla="*/ 106728 h 134288"/>
                <a:gd name="connsiteX2" fmla="*/ 193490 w 193621"/>
                <a:gd name="connsiteY2" fmla="*/ 104233 h 134288"/>
                <a:gd name="connsiteX3" fmla="*/ 193490 w 193621"/>
                <a:gd name="connsiteY3" fmla="*/ 102965 h 134288"/>
                <a:gd name="connsiteX4" fmla="*/ 193163 w 193621"/>
                <a:gd name="connsiteY4" fmla="*/ 99285 h 134288"/>
                <a:gd name="connsiteX5" fmla="*/ 193163 w 193621"/>
                <a:gd name="connsiteY5" fmla="*/ 98426 h 134288"/>
                <a:gd name="connsiteX6" fmla="*/ 192714 w 193621"/>
                <a:gd name="connsiteY6" fmla="*/ 94827 h 134288"/>
                <a:gd name="connsiteX7" fmla="*/ 192714 w 193621"/>
                <a:gd name="connsiteY7" fmla="*/ 93682 h 134288"/>
                <a:gd name="connsiteX8" fmla="*/ 192020 w 193621"/>
                <a:gd name="connsiteY8" fmla="*/ 89061 h 134288"/>
                <a:gd name="connsiteX9" fmla="*/ 192020 w 193621"/>
                <a:gd name="connsiteY9" fmla="*/ 88039 h 134288"/>
                <a:gd name="connsiteX10" fmla="*/ 191163 w 193621"/>
                <a:gd name="connsiteY10" fmla="*/ 83622 h 134288"/>
                <a:gd name="connsiteX11" fmla="*/ 191163 w 193621"/>
                <a:gd name="connsiteY11" fmla="*/ 82722 h 134288"/>
                <a:gd name="connsiteX12" fmla="*/ 189897 w 193621"/>
                <a:gd name="connsiteY12" fmla="*/ 77488 h 134288"/>
                <a:gd name="connsiteX13" fmla="*/ 189570 w 193621"/>
                <a:gd name="connsiteY13" fmla="*/ 76302 h 134288"/>
                <a:gd name="connsiteX14" fmla="*/ 188019 w 193621"/>
                <a:gd name="connsiteY14" fmla="*/ 71067 h 134288"/>
                <a:gd name="connsiteX15" fmla="*/ 188019 w 193621"/>
                <a:gd name="connsiteY15" fmla="*/ 70658 h 134288"/>
                <a:gd name="connsiteX16" fmla="*/ 186059 w 193621"/>
                <a:gd name="connsiteY16" fmla="*/ 65056 h 134288"/>
                <a:gd name="connsiteX17" fmla="*/ 185569 w 193621"/>
                <a:gd name="connsiteY17" fmla="*/ 63788 h 134288"/>
                <a:gd name="connsiteX18" fmla="*/ 183201 w 193621"/>
                <a:gd name="connsiteY18" fmla="*/ 58063 h 134288"/>
                <a:gd name="connsiteX19" fmla="*/ 183201 w 193621"/>
                <a:gd name="connsiteY19" fmla="*/ 57695 h 134288"/>
                <a:gd name="connsiteX20" fmla="*/ 180547 w 193621"/>
                <a:gd name="connsiteY20" fmla="*/ 52337 h 134288"/>
                <a:gd name="connsiteX21" fmla="*/ 179894 w 193621"/>
                <a:gd name="connsiteY21" fmla="*/ 51111 h 134288"/>
                <a:gd name="connsiteX22" fmla="*/ 176627 w 193621"/>
                <a:gd name="connsiteY22" fmla="*/ 45590 h 134288"/>
                <a:gd name="connsiteX23" fmla="*/ 176097 w 193621"/>
                <a:gd name="connsiteY23" fmla="*/ 44731 h 134288"/>
                <a:gd name="connsiteX24" fmla="*/ 172667 w 193621"/>
                <a:gd name="connsiteY24" fmla="*/ 39865 h 134288"/>
                <a:gd name="connsiteX25" fmla="*/ 171932 w 193621"/>
                <a:gd name="connsiteY25" fmla="*/ 38842 h 134288"/>
                <a:gd name="connsiteX26" fmla="*/ 167849 w 193621"/>
                <a:gd name="connsiteY26" fmla="*/ 33689 h 134288"/>
                <a:gd name="connsiteX27" fmla="*/ 166910 w 193621"/>
                <a:gd name="connsiteY27" fmla="*/ 32667 h 134288"/>
                <a:gd name="connsiteX28" fmla="*/ 162419 w 193621"/>
                <a:gd name="connsiteY28" fmla="*/ 28128 h 134288"/>
                <a:gd name="connsiteX29" fmla="*/ 161806 w 193621"/>
                <a:gd name="connsiteY29" fmla="*/ 27514 h 134288"/>
                <a:gd name="connsiteX30" fmla="*/ 156335 w 193621"/>
                <a:gd name="connsiteY30" fmla="*/ 22934 h 134288"/>
                <a:gd name="connsiteX31" fmla="*/ 154988 w 193621"/>
                <a:gd name="connsiteY31" fmla="*/ 21953 h 134288"/>
                <a:gd name="connsiteX32" fmla="*/ 148741 w 193621"/>
                <a:gd name="connsiteY32" fmla="*/ 17659 h 134288"/>
                <a:gd name="connsiteX33" fmla="*/ 144290 w 193621"/>
                <a:gd name="connsiteY33" fmla="*/ 15123 h 134288"/>
                <a:gd name="connsiteX34" fmla="*/ 142780 w 193621"/>
                <a:gd name="connsiteY34" fmla="*/ 14346 h 134288"/>
                <a:gd name="connsiteX35" fmla="*/ 139595 w 193621"/>
                <a:gd name="connsiteY35" fmla="*/ 12833 h 134288"/>
                <a:gd name="connsiteX36" fmla="*/ 137799 w 193621"/>
                <a:gd name="connsiteY36" fmla="*/ 12015 h 134288"/>
                <a:gd name="connsiteX37" fmla="*/ 134614 w 193621"/>
                <a:gd name="connsiteY37" fmla="*/ 10666 h 134288"/>
                <a:gd name="connsiteX38" fmla="*/ 132777 w 193621"/>
                <a:gd name="connsiteY38" fmla="*/ 9970 h 134288"/>
                <a:gd name="connsiteX39" fmla="*/ 129143 w 193621"/>
                <a:gd name="connsiteY39" fmla="*/ 8662 h 134288"/>
                <a:gd name="connsiteX40" fmla="*/ 127714 w 193621"/>
                <a:gd name="connsiteY40" fmla="*/ 8130 h 134288"/>
                <a:gd name="connsiteX41" fmla="*/ 122569 w 193621"/>
                <a:gd name="connsiteY41" fmla="*/ 6576 h 134288"/>
                <a:gd name="connsiteX42" fmla="*/ 121018 w 193621"/>
                <a:gd name="connsiteY42" fmla="*/ 6167 h 134288"/>
                <a:gd name="connsiteX43" fmla="*/ 115914 w 193621"/>
                <a:gd name="connsiteY43" fmla="*/ 5186 h 134288"/>
                <a:gd name="connsiteX44" fmla="*/ 113791 w 193621"/>
                <a:gd name="connsiteY44" fmla="*/ 4695 h 134288"/>
                <a:gd name="connsiteX45" fmla="*/ 110402 w 193621"/>
                <a:gd name="connsiteY45" fmla="*/ 3959 h 134288"/>
                <a:gd name="connsiteX46" fmla="*/ 108197 w 193621"/>
                <a:gd name="connsiteY46" fmla="*/ 3509 h 134288"/>
                <a:gd name="connsiteX47" fmla="*/ 104686 w 193621"/>
                <a:gd name="connsiteY47" fmla="*/ 2855 h 134288"/>
                <a:gd name="connsiteX48" fmla="*/ 102604 w 193621"/>
                <a:gd name="connsiteY48" fmla="*/ 2487 h 134288"/>
                <a:gd name="connsiteX49" fmla="*/ 98072 w 193621"/>
                <a:gd name="connsiteY49" fmla="*/ 1791 h 134288"/>
                <a:gd name="connsiteX50" fmla="*/ 96683 w 193621"/>
                <a:gd name="connsiteY50" fmla="*/ 1587 h 134288"/>
                <a:gd name="connsiteX51" fmla="*/ 91539 w 193621"/>
                <a:gd name="connsiteY51" fmla="*/ 933 h 134288"/>
                <a:gd name="connsiteX52" fmla="*/ 89375 w 193621"/>
                <a:gd name="connsiteY52" fmla="*/ 728 h 134288"/>
                <a:gd name="connsiteX53" fmla="*/ 85864 w 193621"/>
                <a:gd name="connsiteY53" fmla="*/ 401 h 134288"/>
                <a:gd name="connsiteX54" fmla="*/ 83536 w 193621"/>
                <a:gd name="connsiteY54" fmla="*/ 196 h 134288"/>
                <a:gd name="connsiteX55" fmla="*/ 80148 w 193621"/>
                <a:gd name="connsiteY55" fmla="*/ -49 h 134288"/>
                <a:gd name="connsiteX56" fmla="*/ 77820 w 193621"/>
                <a:gd name="connsiteY56" fmla="*/ -49 h 134288"/>
                <a:gd name="connsiteX57" fmla="*/ 74146 w 193621"/>
                <a:gd name="connsiteY57" fmla="*/ -49 h 134288"/>
                <a:gd name="connsiteX58" fmla="*/ 72267 w 193621"/>
                <a:gd name="connsiteY58" fmla="*/ -49 h 134288"/>
                <a:gd name="connsiteX59" fmla="*/ 66919 w 193621"/>
                <a:gd name="connsiteY59" fmla="*/ -49 h 134288"/>
                <a:gd name="connsiteX60" fmla="*/ 53853 w 193621"/>
                <a:gd name="connsiteY60" fmla="*/ -49 h 134288"/>
                <a:gd name="connsiteX61" fmla="*/ 50669 w 193621"/>
                <a:gd name="connsiteY61" fmla="*/ -49 h 134288"/>
                <a:gd name="connsiteX62" fmla="*/ 48668 w 193621"/>
                <a:gd name="connsiteY62" fmla="*/ -49 h 134288"/>
                <a:gd name="connsiteX63" fmla="*/ 44585 w 193621"/>
                <a:gd name="connsiteY63" fmla="*/ -49 h 134288"/>
                <a:gd name="connsiteX64" fmla="*/ 43524 w 193621"/>
                <a:gd name="connsiteY64" fmla="*/ -49 h 134288"/>
                <a:gd name="connsiteX65" fmla="*/ 38787 w 193621"/>
                <a:gd name="connsiteY65" fmla="*/ 196 h 134288"/>
                <a:gd name="connsiteX66" fmla="*/ 36950 w 193621"/>
                <a:gd name="connsiteY66" fmla="*/ 196 h 134288"/>
                <a:gd name="connsiteX67" fmla="*/ 34092 w 193621"/>
                <a:gd name="connsiteY67" fmla="*/ 196 h 134288"/>
                <a:gd name="connsiteX68" fmla="*/ 32173 w 193621"/>
                <a:gd name="connsiteY68" fmla="*/ 196 h 134288"/>
                <a:gd name="connsiteX69" fmla="*/ 29601 w 193621"/>
                <a:gd name="connsiteY69" fmla="*/ 401 h 134288"/>
                <a:gd name="connsiteX70" fmla="*/ 27763 w 193621"/>
                <a:gd name="connsiteY70" fmla="*/ 401 h 134288"/>
                <a:gd name="connsiteX71" fmla="*/ 25273 w 193621"/>
                <a:gd name="connsiteY71" fmla="*/ 605 h 134288"/>
                <a:gd name="connsiteX72" fmla="*/ 23599 w 193621"/>
                <a:gd name="connsiteY72" fmla="*/ 605 h 134288"/>
                <a:gd name="connsiteX73" fmla="*/ 19965 w 193621"/>
                <a:gd name="connsiteY73" fmla="*/ 973 h 134288"/>
                <a:gd name="connsiteX74" fmla="*/ 18414 w 193621"/>
                <a:gd name="connsiteY74" fmla="*/ 973 h 134288"/>
                <a:gd name="connsiteX75" fmla="*/ 16413 w 193621"/>
                <a:gd name="connsiteY75" fmla="*/ 1178 h 134288"/>
                <a:gd name="connsiteX76" fmla="*/ 14657 w 193621"/>
                <a:gd name="connsiteY76" fmla="*/ 1178 h 134288"/>
                <a:gd name="connsiteX77" fmla="*/ 13228 w 193621"/>
                <a:gd name="connsiteY77" fmla="*/ 1178 h 134288"/>
                <a:gd name="connsiteX78" fmla="*/ 11432 w 193621"/>
                <a:gd name="connsiteY78" fmla="*/ 1423 h 134288"/>
                <a:gd name="connsiteX79" fmla="*/ 10452 w 193621"/>
                <a:gd name="connsiteY79" fmla="*/ 1423 h 134288"/>
                <a:gd name="connsiteX80" fmla="*/ 8614 w 193621"/>
                <a:gd name="connsiteY80" fmla="*/ 1669 h 134288"/>
                <a:gd name="connsiteX81" fmla="*/ 8614 w 193621"/>
                <a:gd name="connsiteY81" fmla="*/ 1669 h 134288"/>
                <a:gd name="connsiteX82" fmla="*/ -41 w 193621"/>
                <a:gd name="connsiteY82" fmla="*/ 2936 h 134288"/>
                <a:gd name="connsiteX83" fmla="*/ 1551 w 193621"/>
                <a:gd name="connsiteY83" fmla="*/ 7026 h 134288"/>
                <a:gd name="connsiteX84" fmla="*/ 1551 w 193621"/>
                <a:gd name="connsiteY84" fmla="*/ 7026 h 134288"/>
                <a:gd name="connsiteX85" fmla="*/ 3347 w 193621"/>
                <a:gd name="connsiteY85" fmla="*/ 11443 h 134288"/>
                <a:gd name="connsiteX86" fmla="*/ 3674 w 193621"/>
                <a:gd name="connsiteY86" fmla="*/ 12220 h 134288"/>
                <a:gd name="connsiteX87" fmla="*/ 4450 w 193621"/>
                <a:gd name="connsiteY87" fmla="*/ 14060 h 134288"/>
                <a:gd name="connsiteX88" fmla="*/ 4981 w 193621"/>
                <a:gd name="connsiteY88" fmla="*/ 15328 h 134288"/>
                <a:gd name="connsiteX89" fmla="*/ 5716 w 193621"/>
                <a:gd name="connsiteY89" fmla="*/ 17045 h 134288"/>
                <a:gd name="connsiteX90" fmla="*/ 6369 w 193621"/>
                <a:gd name="connsiteY90" fmla="*/ 18599 h 134288"/>
                <a:gd name="connsiteX91" fmla="*/ 7104 w 193621"/>
                <a:gd name="connsiteY91" fmla="*/ 20235 h 134288"/>
                <a:gd name="connsiteX92" fmla="*/ 7920 w 193621"/>
                <a:gd name="connsiteY92" fmla="*/ 22034 h 134288"/>
                <a:gd name="connsiteX93" fmla="*/ 8696 w 193621"/>
                <a:gd name="connsiteY93" fmla="*/ 23793 h 134288"/>
                <a:gd name="connsiteX94" fmla="*/ 9554 w 193621"/>
                <a:gd name="connsiteY94" fmla="*/ 25715 h 134288"/>
                <a:gd name="connsiteX95" fmla="*/ 10411 w 193621"/>
                <a:gd name="connsiteY95" fmla="*/ 27514 h 134288"/>
                <a:gd name="connsiteX96" fmla="*/ 12085 w 193621"/>
                <a:gd name="connsiteY96" fmla="*/ 31113 h 134288"/>
                <a:gd name="connsiteX97" fmla="*/ 13187 w 193621"/>
                <a:gd name="connsiteY97" fmla="*/ 33444 h 134288"/>
                <a:gd name="connsiteX98" fmla="*/ 14249 w 193621"/>
                <a:gd name="connsiteY98" fmla="*/ 35530 h 134288"/>
                <a:gd name="connsiteX99" fmla="*/ 15270 w 193621"/>
                <a:gd name="connsiteY99" fmla="*/ 37656 h 134288"/>
                <a:gd name="connsiteX100" fmla="*/ 16372 w 193621"/>
                <a:gd name="connsiteY100" fmla="*/ 39865 h 134288"/>
                <a:gd name="connsiteX101" fmla="*/ 17515 w 193621"/>
                <a:gd name="connsiteY101" fmla="*/ 42073 h 134288"/>
                <a:gd name="connsiteX102" fmla="*/ 18699 w 193621"/>
                <a:gd name="connsiteY102" fmla="*/ 44322 h 134288"/>
                <a:gd name="connsiteX103" fmla="*/ 19883 w 193621"/>
                <a:gd name="connsiteY103" fmla="*/ 46653 h 134288"/>
                <a:gd name="connsiteX104" fmla="*/ 21108 w 193621"/>
                <a:gd name="connsiteY104" fmla="*/ 48902 h 134288"/>
                <a:gd name="connsiteX105" fmla="*/ 22415 w 193621"/>
                <a:gd name="connsiteY105" fmla="*/ 51315 h 134288"/>
                <a:gd name="connsiteX106" fmla="*/ 23681 w 193621"/>
                <a:gd name="connsiteY106" fmla="*/ 53564 h 134288"/>
                <a:gd name="connsiteX107" fmla="*/ 25150 w 193621"/>
                <a:gd name="connsiteY107" fmla="*/ 56141 h 134288"/>
                <a:gd name="connsiteX108" fmla="*/ 26416 w 193621"/>
                <a:gd name="connsiteY108" fmla="*/ 58349 h 134288"/>
                <a:gd name="connsiteX109" fmla="*/ 28172 w 193621"/>
                <a:gd name="connsiteY109" fmla="*/ 61375 h 134288"/>
                <a:gd name="connsiteX110" fmla="*/ 29233 w 193621"/>
                <a:gd name="connsiteY110" fmla="*/ 63134 h 134288"/>
                <a:gd name="connsiteX111" fmla="*/ 32091 w 193621"/>
                <a:gd name="connsiteY111" fmla="*/ 67796 h 134288"/>
                <a:gd name="connsiteX112" fmla="*/ 33316 w 193621"/>
                <a:gd name="connsiteY112" fmla="*/ 69677 h 134288"/>
                <a:gd name="connsiteX113" fmla="*/ 35194 w 193621"/>
                <a:gd name="connsiteY113" fmla="*/ 72580 h 134288"/>
                <a:gd name="connsiteX114" fmla="*/ 36583 w 193621"/>
                <a:gd name="connsiteY114" fmla="*/ 74707 h 134288"/>
                <a:gd name="connsiteX115" fmla="*/ 38420 w 193621"/>
                <a:gd name="connsiteY115" fmla="*/ 77406 h 134288"/>
                <a:gd name="connsiteX116" fmla="*/ 39890 w 193621"/>
                <a:gd name="connsiteY116" fmla="*/ 79533 h 134288"/>
                <a:gd name="connsiteX117" fmla="*/ 41809 w 193621"/>
                <a:gd name="connsiteY117" fmla="*/ 82191 h 134288"/>
                <a:gd name="connsiteX118" fmla="*/ 43319 w 193621"/>
                <a:gd name="connsiteY118" fmla="*/ 84276 h 134288"/>
                <a:gd name="connsiteX119" fmla="*/ 45320 w 193621"/>
                <a:gd name="connsiteY119" fmla="*/ 86935 h 134288"/>
                <a:gd name="connsiteX120" fmla="*/ 46831 w 193621"/>
                <a:gd name="connsiteY120" fmla="*/ 88938 h 134288"/>
                <a:gd name="connsiteX121" fmla="*/ 49036 w 193621"/>
                <a:gd name="connsiteY121" fmla="*/ 91678 h 134288"/>
                <a:gd name="connsiteX122" fmla="*/ 50465 w 193621"/>
                <a:gd name="connsiteY122" fmla="*/ 93437 h 134288"/>
                <a:gd name="connsiteX123" fmla="*/ 53445 w 193621"/>
                <a:gd name="connsiteY123" fmla="*/ 96954 h 134288"/>
                <a:gd name="connsiteX124" fmla="*/ 54221 w 193621"/>
                <a:gd name="connsiteY124" fmla="*/ 97854 h 134288"/>
                <a:gd name="connsiteX125" fmla="*/ 58018 w 193621"/>
                <a:gd name="connsiteY125" fmla="*/ 101943 h 134288"/>
                <a:gd name="connsiteX126" fmla="*/ 59447 w 193621"/>
                <a:gd name="connsiteY126" fmla="*/ 103415 h 134288"/>
                <a:gd name="connsiteX127" fmla="*/ 61978 w 193621"/>
                <a:gd name="connsiteY127" fmla="*/ 105992 h 134288"/>
                <a:gd name="connsiteX128" fmla="*/ 63652 w 193621"/>
                <a:gd name="connsiteY128" fmla="*/ 107587 h 134288"/>
                <a:gd name="connsiteX129" fmla="*/ 66061 w 193621"/>
                <a:gd name="connsiteY129" fmla="*/ 109836 h 134288"/>
                <a:gd name="connsiteX130" fmla="*/ 67817 w 193621"/>
                <a:gd name="connsiteY130" fmla="*/ 111431 h 134288"/>
                <a:gd name="connsiteX131" fmla="*/ 70267 w 193621"/>
                <a:gd name="connsiteY131" fmla="*/ 113475 h 134288"/>
                <a:gd name="connsiteX132" fmla="*/ 72063 w 193621"/>
                <a:gd name="connsiteY132" fmla="*/ 114948 h 134288"/>
                <a:gd name="connsiteX133" fmla="*/ 74636 w 193621"/>
                <a:gd name="connsiteY133" fmla="*/ 116911 h 134288"/>
                <a:gd name="connsiteX134" fmla="*/ 76391 w 193621"/>
                <a:gd name="connsiteY134" fmla="*/ 118219 h 134288"/>
                <a:gd name="connsiteX135" fmla="*/ 79290 w 193621"/>
                <a:gd name="connsiteY135" fmla="*/ 120182 h 134288"/>
                <a:gd name="connsiteX136" fmla="*/ 80842 w 193621"/>
                <a:gd name="connsiteY136" fmla="*/ 121205 h 134288"/>
                <a:gd name="connsiteX137" fmla="*/ 85333 w 193621"/>
                <a:gd name="connsiteY137" fmla="*/ 123863 h 134288"/>
                <a:gd name="connsiteX138" fmla="*/ 89947 w 193621"/>
                <a:gd name="connsiteY138" fmla="*/ 126194 h 134288"/>
                <a:gd name="connsiteX139" fmla="*/ 91743 w 193621"/>
                <a:gd name="connsiteY139" fmla="*/ 126971 h 134288"/>
                <a:gd name="connsiteX140" fmla="*/ 94560 w 193621"/>
                <a:gd name="connsiteY140" fmla="*/ 128157 h 134288"/>
                <a:gd name="connsiteX141" fmla="*/ 96683 w 193621"/>
                <a:gd name="connsiteY141" fmla="*/ 128975 h 134288"/>
                <a:gd name="connsiteX142" fmla="*/ 99174 w 193621"/>
                <a:gd name="connsiteY142" fmla="*/ 129874 h 134288"/>
                <a:gd name="connsiteX143" fmla="*/ 101460 w 193621"/>
                <a:gd name="connsiteY143" fmla="*/ 130570 h 134288"/>
                <a:gd name="connsiteX144" fmla="*/ 103747 w 193621"/>
                <a:gd name="connsiteY144" fmla="*/ 131265 h 134288"/>
                <a:gd name="connsiteX145" fmla="*/ 106115 w 193621"/>
                <a:gd name="connsiteY145" fmla="*/ 131878 h 134288"/>
                <a:gd name="connsiteX146" fmla="*/ 108361 w 193621"/>
                <a:gd name="connsiteY146" fmla="*/ 132369 h 134288"/>
                <a:gd name="connsiteX147" fmla="*/ 110770 w 193621"/>
                <a:gd name="connsiteY147" fmla="*/ 132860 h 134288"/>
                <a:gd name="connsiteX148" fmla="*/ 112893 w 193621"/>
                <a:gd name="connsiteY148" fmla="*/ 133228 h 134288"/>
                <a:gd name="connsiteX149" fmla="*/ 115383 w 193621"/>
                <a:gd name="connsiteY149" fmla="*/ 133596 h 134288"/>
                <a:gd name="connsiteX150" fmla="*/ 117302 w 193621"/>
                <a:gd name="connsiteY150" fmla="*/ 133800 h 134288"/>
                <a:gd name="connsiteX151" fmla="*/ 119915 w 193621"/>
                <a:gd name="connsiteY151" fmla="*/ 134087 h 134288"/>
                <a:gd name="connsiteX152" fmla="*/ 121549 w 193621"/>
                <a:gd name="connsiteY152" fmla="*/ 134087 h 134288"/>
                <a:gd name="connsiteX153" fmla="*/ 131838 w 193621"/>
                <a:gd name="connsiteY153" fmla="*/ 134087 h 134288"/>
                <a:gd name="connsiteX154" fmla="*/ 132777 w 193621"/>
                <a:gd name="connsiteY154" fmla="*/ 134087 h 134288"/>
                <a:gd name="connsiteX155" fmla="*/ 135757 w 193621"/>
                <a:gd name="connsiteY155" fmla="*/ 133882 h 134288"/>
                <a:gd name="connsiteX156" fmla="*/ 137023 w 193621"/>
                <a:gd name="connsiteY156" fmla="*/ 133882 h 134288"/>
                <a:gd name="connsiteX157" fmla="*/ 139840 w 193621"/>
                <a:gd name="connsiteY157" fmla="*/ 133596 h 134288"/>
                <a:gd name="connsiteX158" fmla="*/ 141187 w 193621"/>
                <a:gd name="connsiteY158" fmla="*/ 133596 h 134288"/>
                <a:gd name="connsiteX159" fmla="*/ 143923 w 193621"/>
                <a:gd name="connsiteY159" fmla="*/ 133228 h 134288"/>
                <a:gd name="connsiteX160" fmla="*/ 145230 w 193621"/>
                <a:gd name="connsiteY160" fmla="*/ 133023 h 134288"/>
                <a:gd name="connsiteX161" fmla="*/ 147965 w 193621"/>
                <a:gd name="connsiteY161" fmla="*/ 132532 h 134288"/>
                <a:gd name="connsiteX162" fmla="*/ 149108 w 193621"/>
                <a:gd name="connsiteY162" fmla="*/ 132287 h 134288"/>
                <a:gd name="connsiteX163" fmla="*/ 151885 w 193621"/>
                <a:gd name="connsiteY163" fmla="*/ 131715 h 134288"/>
                <a:gd name="connsiteX164" fmla="*/ 152783 w 193621"/>
                <a:gd name="connsiteY164" fmla="*/ 131510 h 134288"/>
                <a:gd name="connsiteX165" fmla="*/ 155723 w 193621"/>
                <a:gd name="connsiteY165" fmla="*/ 130815 h 134288"/>
                <a:gd name="connsiteX166" fmla="*/ 156090 w 193621"/>
                <a:gd name="connsiteY166" fmla="*/ 130815 h 134288"/>
                <a:gd name="connsiteX167" fmla="*/ 171973 w 193621"/>
                <a:gd name="connsiteY167" fmla="*/ 125703 h 134288"/>
                <a:gd name="connsiteX168" fmla="*/ 171973 w 193621"/>
                <a:gd name="connsiteY168" fmla="*/ 125703 h 134288"/>
                <a:gd name="connsiteX169" fmla="*/ 174708 w 193621"/>
                <a:gd name="connsiteY169" fmla="*/ 124640 h 134288"/>
                <a:gd name="connsiteX170" fmla="*/ 174708 w 193621"/>
                <a:gd name="connsiteY170" fmla="*/ 124640 h 134288"/>
                <a:gd name="connsiteX171" fmla="*/ 177281 w 193621"/>
                <a:gd name="connsiteY171" fmla="*/ 123576 h 134288"/>
                <a:gd name="connsiteX172" fmla="*/ 177281 w 193621"/>
                <a:gd name="connsiteY172" fmla="*/ 123576 h 134288"/>
                <a:gd name="connsiteX173" fmla="*/ 193490 w 193621"/>
                <a:gd name="connsiteY173" fmla="*/ 116011 h 134288"/>
                <a:gd name="connsiteX174" fmla="*/ 193490 w 193621"/>
                <a:gd name="connsiteY174" fmla="*/ 107341 h 134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</a:cxnLst>
              <a:rect l="l" t="t" r="r" b="b"/>
              <a:pathLst>
                <a:path w="193621" h="134288">
                  <a:moveTo>
                    <a:pt x="193490" y="107423"/>
                  </a:moveTo>
                  <a:cubicBezTo>
                    <a:pt x="193490" y="107219"/>
                    <a:pt x="193490" y="106932"/>
                    <a:pt x="193490" y="106728"/>
                  </a:cubicBezTo>
                  <a:cubicBezTo>
                    <a:pt x="193490" y="106523"/>
                    <a:pt x="193490" y="105092"/>
                    <a:pt x="193490" y="104233"/>
                  </a:cubicBezTo>
                  <a:cubicBezTo>
                    <a:pt x="193468" y="103811"/>
                    <a:pt x="193468" y="103388"/>
                    <a:pt x="193490" y="102965"/>
                  </a:cubicBezTo>
                  <a:cubicBezTo>
                    <a:pt x="193490" y="101820"/>
                    <a:pt x="193286" y="100594"/>
                    <a:pt x="193163" y="99285"/>
                  </a:cubicBezTo>
                  <a:cubicBezTo>
                    <a:pt x="193143" y="98999"/>
                    <a:pt x="193143" y="98712"/>
                    <a:pt x="193163" y="98426"/>
                  </a:cubicBezTo>
                  <a:cubicBezTo>
                    <a:pt x="193163" y="97281"/>
                    <a:pt x="192877" y="96054"/>
                    <a:pt x="192714" y="94827"/>
                  </a:cubicBezTo>
                  <a:cubicBezTo>
                    <a:pt x="192737" y="94446"/>
                    <a:pt x="192737" y="94064"/>
                    <a:pt x="192714" y="93682"/>
                  </a:cubicBezTo>
                  <a:cubicBezTo>
                    <a:pt x="192510" y="92210"/>
                    <a:pt x="192306" y="90656"/>
                    <a:pt x="192020" y="89061"/>
                  </a:cubicBezTo>
                  <a:cubicBezTo>
                    <a:pt x="192039" y="88721"/>
                    <a:pt x="192039" y="88379"/>
                    <a:pt x="192020" y="88039"/>
                  </a:cubicBezTo>
                  <a:cubicBezTo>
                    <a:pt x="191775" y="86621"/>
                    <a:pt x="191489" y="85149"/>
                    <a:pt x="191163" y="83622"/>
                  </a:cubicBezTo>
                  <a:cubicBezTo>
                    <a:pt x="191163" y="83336"/>
                    <a:pt x="191163" y="83009"/>
                    <a:pt x="191163" y="82722"/>
                  </a:cubicBezTo>
                  <a:cubicBezTo>
                    <a:pt x="190754" y="81005"/>
                    <a:pt x="190346" y="79246"/>
                    <a:pt x="189897" y="77488"/>
                  </a:cubicBezTo>
                  <a:cubicBezTo>
                    <a:pt x="189897" y="77079"/>
                    <a:pt x="189652" y="76670"/>
                    <a:pt x="189570" y="76302"/>
                  </a:cubicBezTo>
                  <a:cubicBezTo>
                    <a:pt x="189080" y="74543"/>
                    <a:pt x="188590" y="72826"/>
                    <a:pt x="188019" y="71067"/>
                  </a:cubicBezTo>
                  <a:lnTo>
                    <a:pt x="188019" y="70658"/>
                  </a:lnTo>
                  <a:cubicBezTo>
                    <a:pt x="187447" y="68818"/>
                    <a:pt x="186753" y="66937"/>
                    <a:pt x="186059" y="65056"/>
                  </a:cubicBezTo>
                  <a:lnTo>
                    <a:pt x="185569" y="63788"/>
                  </a:lnTo>
                  <a:cubicBezTo>
                    <a:pt x="184834" y="61907"/>
                    <a:pt x="184058" y="59985"/>
                    <a:pt x="183201" y="58063"/>
                  </a:cubicBezTo>
                  <a:lnTo>
                    <a:pt x="183201" y="57695"/>
                  </a:lnTo>
                  <a:cubicBezTo>
                    <a:pt x="182384" y="55895"/>
                    <a:pt x="181486" y="54137"/>
                    <a:pt x="180547" y="52337"/>
                  </a:cubicBezTo>
                  <a:lnTo>
                    <a:pt x="179894" y="51111"/>
                  </a:lnTo>
                  <a:cubicBezTo>
                    <a:pt x="178873" y="49270"/>
                    <a:pt x="177811" y="47430"/>
                    <a:pt x="176627" y="45590"/>
                  </a:cubicBezTo>
                  <a:lnTo>
                    <a:pt x="176097" y="44731"/>
                  </a:lnTo>
                  <a:cubicBezTo>
                    <a:pt x="174994" y="43095"/>
                    <a:pt x="173851" y="41459"/>
                    <a:pt x="172667" y="39865"/>
                  </a:cubicBezTo>
                  <a:lnTo>
                    <a:pt x="171932" y="38842"/>
                  </a:lnTo>
                  <a:cubicBezTo>
                    <a:pt x="170598" y="37070"/>
                    <a:pt x="169237" y="35352"/>
                    <a:pt x="167849" y="33689"/>
                  </a:cubicBezTo>
                  <a:cubicBezTo>
                    <a:pt x="167558" y="33329"/>
                    <a:pt x="167244" y="32988"/>
                    <a:pt x="166910" y="32667"/>
                  </a:cubicBezTo>
                  <a:cubicBezTo>
                    <a:pt x="165481" y="31113"/>
                    <a:pt x="164011" y="29600"/>
                    <a:pt x="162419" y="28128"/>
                  </a:cubicBezTo>
                  <a:lnTo>
                    <a:pt x="161806" y="27514"/>
                  </a:lnTo>
                  <a:cubicBezTo>
                    <a:pt x="160051" y="25919"/>
                    <a:pt x="158213" y="24406"/>
                    <a:pt x="156335" y="22934"/>
                  </a:cubicBezTo>
                  <a:lnTo>
                    <a:pt x="154988" y="21953"/>
                  </a:lnTo>
                  <a:cubicBezTo>
                    <a:pt x="152987" y="20480"/>
                    <a:pt x="150905" y="19008"/>
                    <a:pt x="148741" y="17659"/>
                  </a:cubicBezTo>
                  <a:cubicBezTo>
                    <a:pt x="147312" y="16800"/>
                    <a:pt x="145801" y="15941"/>
                    <a:pt x="144290" y="15123"/>
                  </a:cubicBezTo>
                  <a:lnTo>
                    <a:pt x="142780" y="14346"/>
                  </a:lnTo>
                  <a:lnTo>
                    <a:pt x="139595" y="12833"/>
                  </a:lnTo>
                  <a:lnTo>
                    <a:pt x="137799" y="12015"/>
                  </a:lnTo>
                  <a:lnTo>
                    <a:pt x="134614" y="10666"/>
                  </a:lnTo>
                  <a:cubicBezTo>
                    <a:pt x="134001" y="10461"/>
                    <a:pt x="133430" y="10175"/>
                    <a:pt x="132777" y="9970"/>
                  </a:cubicBezTo>
                  <a:lnTo>
                    <a:pt x="129143" y="8662"/>
                  </a:lnTo>
                  <a:lnTo>
                    <a:pt x="127714" y="8130"/>
                  </a:lnTo>
                  <a:lnTo>
                    <a:pt x="122569" y="6576"/>
                  </a:lnTo>
                  <a:lnTo>
                    <a:pt x="121018" y="6167"/>
                  </a:lnTo>
                  <a:lnTo>
                    <a:pt x="115914" y="5186"/>
                  </a:lnTo>
                  <a:lnTo>
                    <a:pt x="113791" y="4695"/>
                  </a:lnTo>
                  <a:lnTo>
                    <a:pt x="110402" y="3959"/>
                  </a:lnTo>
                  <a:lnTo>
                    <a:pt x="108197" y="3509"/>
                  </a:lnTo>
                  <a:lnTo>
                    <a:pt x="104686" y="2855"/>
                  </a:lnTo>
                  <a:lnTo>
                    <a:pt x="102604" y="2487"/>
                  </a:lnTo>
                  <a:lnTo>
                    <a:pt x="98072" y="1791"/>
                  </a:lnTo>
                  <a:lnTo>
                    <a:pt x="96683" y="1587"/>
                  </a:lnTo>
                  <a:lnTo>
                    <a:pt x="91539" y="933"/>
                  </a:lnTo>
                  <a:lnTo>
                    <a:pt x="89375" y="728"/>
                  </a:lnTo>
                  <a:lnTo>
                    <a:pt x="85864" y="401"/>
                  </a:lnTo>
                  <a:lnTo>
                    <a:pt x="83536" y="196"/>
                  </a:lnTo>
                  <a:lnTo>
                    <a:pt x="80148" y="-49"/>
                  </a:lnTo>
                  <a:lnTo>
                    <a:pt x="77820" y="-49"/>
                  </a:lnTo>
                  <a:lnTo>
                    <a:pt x="74146" y="-49"/>
                  </a:lnTo>
                  <a:lnTo>
                    <a:pt x="72267" y="-49"/>
                  </a:lnTo>
                  <a:lnTo>
                    <a:pt x="66919" y="-49"/>
                  </a:lnTo>
                  <a:lnTo>
                    <a:pt x="53853" y="-49"/>
                  </a:lnTo>
                  <a:lnTo>
                    <a:pt x="50669" y="-49"/>
                  </a:lnTo>
                  <a:lnTo>
                    <a:pt x="48668" y="-49"/>
                  </a:lnTo>
                  <a:lnTo>
                    <a:pt x="44585" y="-49"/>
                  </a:lnTo>
                  <a:lnTo>
                    <a:pt x="43524" y="-49"/>
                  </a:lnTo>
                  <a:lnTo>
                    <a:pt x="38787" y="196"/>
                  </a:lnTo>
                  <a:lnTo>
                    <a:pt x="36950" y="196"/>
                  </a:lnTo>
                  <a:lnTo>
                    <a:pt x="34092" y="196"/>
                  </a:lnTo>
                  <a:lnTo>
                    <a:pt x="32173" y="196"/>
                  </a:lnTo>
                  <a:lnTo>
                    <a:pt x="29601" y="401"/>
                  </a:lnTo>
                  <a:lnTo>
                    <a:pt x="27763" y="401"/>
                  </a:lnTo>
                  <a:lnTo>
                    <a:pt x="25273" y="605"/>
                  </a:lnTo>
                  <a:lnTo>
                    <a:pt x="23599" y="605"/>
                  </a:lnTo>
                  <a:lnTo>
                    <a:pt x="19965" y="973"/>
                  </a:lnTo>
                  <a:lnTo>
                    <a:pt x="18414" y="973"/>
                  </a:lnTo>
                  <a:lnTo>
                    <a:pt x="16413" y="1178"/>
                  </a:lnTo>
                  <a:lnTo>
                    <a:pt x="14657" y="1178"/>
                  </a:lnTo>
                  <a:lnTo>
                    <a:pt x="13228" y="1178"/>
                  </a:lnTo>
                  <a:lnTo>
                    <a:pt x="11432" y="1423"/>
                  </a:lnTo>
                  <a:lnTo>
                    <a:pt x="10452" y="1423"/>
                  </a:lnTo>
                  <a:lnTo>
                    <a:pt x="8614" y="1669"/>
                  </a:lnTo>
                  <a:lnTo>
                    <a:pt x="8614" y="1669"/>
                  </a:lnTo>
                  <a:cubicBezTo>
                    <a:pt x="3143" y="2405"/>
                    <a:pt x="-41" y="2936"/>
                    <a:pt x="-41" y="2936"/>
                  </a:cubicBezTo>
                  <a:lnTo>
                    <a:pt x="1551" y="7026"/>
                  </a:lnTo>
                  <a:lnTo>
                    <a:pt x="1551" y="7026"/>
                  </a:lnTo>
                  <a:lnTo>
                    <a:pt x="3347" y="11443"/>
                  </a:lnTo>
                  <a:cubicBezTo>
                    <a:pt x="3439" y="11709"/>
                    <a:pt x="3548" y="11968"/>
                    <a:pt x="3674" y="12220"/>
                  </a:cubicBezTo>
                  <a:lnTo>
                    <a:pt x="4450" y="14060"/>
                  </a:lnTo>
                  <a:cubicBezTo>
                    <a:pt x="4450" y="14469"/>
                    <a:pt x="4776" y="14919"/>
                    <a:pt x="4981" y="15328"/>
                  </a:cubicBezTo>
                  <a:cubicBezTo>
                    <a:pt x="5185" y="15737"/>
                    <a:pt x="5430" y="16432"/>
                    <a:pt x="5716" y="17045"/>
                  </a:cubicBezTo>
                  <a:cubicBezTo>
                    <a:pt x="6001" y="17659"/>
                    <a:pt x="6124" y="18068"/>
                    <a:pt x="6369" y="18599"/>
                  </a:cubicBezTo>
                  <a:lnTo>
                    <a:pt x="7104" y="20235"/>
                  </a:lnTo>
                  <a:cubicBezTo>
                    <a:pt x="7349" y="20848"/>
                    <a:pt x="7635" y="21421"/>
                    <a:pt x="7920" y="22034"/>
                  </a:cubicBezTo>
                  <a:lnTo>
                    <a:pt x="8696" y="23793"/>
                  </a:lnTo>
                  <a:lnTo>
                    <a:pt x="9554" y="25715"/>
                  </a:lnTo>
                  <a:lnTo>
                    <a:pt x="10411" y="27514"/>
                  </a:lnTo>
                  <a:cubicBezTo>
                    <a:pt x="10942" y="28700"/>
                    <a:pt x="11513" y="29886"/>
                    <a:pt x="12085" y="31113"/>
                  </a:cubicBezTo>
                  <a:cubicBezTo>
                    <a:pt x="12657" y="32340"/>
                    <a:pt x="12820" y="32626"/>
                    <a:pt x="13187" y="33444"/>
                  </a:cubicBezTo>
                  <a:cubicBezTo>
                    <a:pt x="13555" y="34262"/>
                    <a:pt x="13881" y="34834"/>
                    <a:pt x="14249" y="35530"/>
                  </a:cubicBezTo>
                  <a:cubicBezTo>
                    <a:pt x="14616" y="36225"/>
                    <a:pt x="14902" y="36961"/>
                    <a:pt x="15270" y="37656"/>
                  </a:cubicBezTo>
                  <a:lnTo>
                    <a:pt x="16372" y="39865"/>
                  </a:lnTo>
                  <a:cubicBezTo>
                    <a:pt x="16780" y="40601"/>
                    <a:pt x="17148" y="41337"/>
                    <a:pt x="17515" y="42073"/>
                  </a:cubicBezTo>
                  <a:lnTo>
                    <a:pt x="18699" y="44322"/>
                  </a:lnTo>
                  <a:cubicBezTo>
                    <a:pt x="19067" y="45099"/>
                    <a:pt x="19475" y="45876"/>
                    <a:pt x="19883" y="46653"/>
                  </a:cubicBezTo>
                  <a:lnTo>
                    <a:pt x="21108" y="48902"/>
                  </a:lnTo>
                  <a:cubicBezTo>
                    <a:pt x="21557" y="49720"/>
                    <a:pt x="22007" y="50497"/>
                    <a:pt x="22415" y="51315"/>
                  </a:cubicBezTo>
                  <a:cubicBezTo>
                    <a:pt x="22823" y="52133"/>
                    <a:pt x="23272" y="52828"/>
                    <a:pt x="23681" y="53564"/>
                  </a:cubicBezTo>
                  <a:lnTo>
                    <a:pt x="25150" y="56141"/>
                  </a:lnTo>
                  <a:cubicBezTo>
                    <a:pt x="25559" y="56877"/>
                    <a:pt x="25967" y="57613"/>
                    <a:pt x="26416" y="58349"/>
                  </a:cubicBezTo>
                  <a:lnTo>
                    <a:pt x="28172" y="61375"/>
                  </a:lnTo>
                  <a:lnTo>
                    <a:pt x="29233" y="63134"/>
                  </a:lnTo>
                  <a:cubicBezTo>
                    <a:pt x="30172" y="64688"/>
                    <a:pt x="31111" y="66242"/>
                    <a:pt x="32091" y="67796"/>
                  </a:cubicBezTo>
                  <a:lnTo>
                    <a:pt x="33316" y="69677"/>
                  </a:lnTo>
                  <a:cubicBezTo>
                    <a:pt x="33929" y="70658"/>
                    <a:pt x="34541" y="71640"/>
                    <a:pt x="35194" y="72580"/>
                  </a:cubicBezTo>
                  <a:cubicBezTo>
                    <a:pt x="35848" y="73521"/>
                    <a:pt x="36133" y="74012"/>
                    <a:pt x="36583" y="74707"/>
                  </a:cubicBezTo>
                  <a:lnTo>
                    <a:pt x="38420" y="77406"/>
                  </a:lnTo>
                  <a:lnTo>
                    <a:pt x="39890" y="79533"/>
                  </a:lnTo>
                  <a:cubicBezTo>
                    <a:pt x="40502" y="80432"/>
                    <a:pt x="41155" y="81291"/>
                    <a:pt x="41809" y="82191"/>
                  </a:cubicBezTo>
                  <a:lnTo>
                    <a:pt x="43319" y="84276"/>
                  </a:lnTo>
                  <a:lnTo>
                    <a:pt x="45320" y="86935"/>
                  </a:lnTo>
                  <a:lnTo>
                    <a:pt x="46831" y="88938"/>
                  </a:lnTo>
                  <a:lnTo>
                    <a:pt x="49036" y="91678"/>
                  </a:lnTo>
                  <a:lnTo>
                    <a:pt x="50465" y="93437"/>
                  </a:lnTo>
                  <a:lnTo>
                    <a:pt x="53445" y="96954"/>
                  </a:lnTo>
                  <a:cubicBezTo>
                    <a:pt x="53690" y="97240"/>
                    <a:pt x="53935" y="97567"/>
                    <a:pt x="54221" y="97854"/>
                  </a:cubicBezTo>
                  <a:cubicBezTo>
                    <a:pt x="55446" y="99271"/>
                    <a:pt x="56711" y="100634"/>
                    <a:pt x="58018" y="101943"/>
                  </a:cubicBezTo>
                  <a:lnTo>
                    <a:pt x="59447" y="103415"/>
                  </a:lnTo>
                  <a:lnTo>
                    <a:pt x="61978" y="105992"/>
                  </a:lnTo>
                  <a:lnTo>
                    <a:pt x="63652" y="107587"/>
                  </a:lnTo>
                  <a:cubicBezTo>
                    <a:pt x="64428" y="108364"/>
                    <a:pt x="65245" y="109100"/>
                    <a:pt x="66061" y="109836"/>
                  </a:cubicBezTo>
                  <a:lnTo>
                    <a:pt x="67817" y="111431"/>
                  </a:lnTo>
                  <a:lnTo>
                    <a:pt x="70267" y="113475"/>
                  </a:lnTo>
                  <a:lnTo>
                    <a:pt x="72063" y="114948"/>
                  </a:lnTo>
                  <a:cubicBezTo>
                    <a:pt x="72907" y="115657"/>
                    <a:pt x="73765" y="116311"/>
                    <a:pt x="74636" y="116911"/>
                  </a:cubicBezTo>
                  <a:lnTo>
                    <a:pt x="76391" y="118219"/>
                  </a:lnTo>
                  <a:lnTo>
                    <a:pt x="79290" y="120182"/>
                  </a:lnTo>
                  <a:lnTo>
                    <a:pt x="80842" y="121205"/>
                  </a:lnTo>
                  <a:cubicBezTo>
                    <a:pt x="82311" y="122145"/>
                    <a:pt x="83822" y="123045"/>
                    <a:pt x="85333" y="123863"/>
                  </a:cubicBezTo>
                  <a:cubicBezTo>
                    <a:pt x="86844" y="124681"/>
                    <a:pt x="88395" y="125458"/>
                    <a:pt x="89947" y="126194"/>
                  </a:cubicBezTo>
                  <a:lnTo>
                    <a:pt x="91743" y="126971"/>
                  </a:lnTo>
                  <a:lnTo>
                    <a:pt x="94560" y="128157"/>
                  </a:lnTo>
                  <a:lnTo>
                    <a:pt x="96683" y="128975"/>
                  </a:lnTo>
                  <a:lnTo>
                    <a:pt x="99174" y="129874"/>
                  </a:lnTo>
                  <a:lnTo>
                    <a:pt x="101460" y="130570"/>
                  </a:lnTo>
                  <a:lnTo>
                    <a:pt x="103747" y="131265"/>
                  </a:lnTo>
                  <a:lnTo>
                    <a:pt x="106115" y="131878"/>
                  </a:lnTo>
                  <a:lnTo>
                    <a:pt x="108361" y="132369"/>
                  </a:lnTo>
                  <a:lnTo>
                    <a:pt x="110770" y="132860"/>
                  </a:lnTo>
                  <a:lnTo>
                    <a:pt x="112893" y="133228"/>
                  </a:lnTo>
                  <a:lnTo>
                    <a:pt x="115383" y="133596"/>
                  </a:lnTo>
                  <a:lnTo>
                    <a:pt x="117302" y="133800"/>
                  </a:lnTo>
                  <a:lnTo>
                    <a:pt x="119915" y="134087"/>
                  </a:lnTo>
                  <a:lnTo>
                    <a:pt x="121549" y="134087"/>
                  </a:lnTo>
                  <a:cubicBezTo>
                    <a:pt x="124975" y="134291"/>
                    <a:pt x="128411" y="134291"/>
                    <a:pt x="131838" y="134087"/>
                  </a:cubicBezTo>
                  <a:lnTo>
                    <a:pt x="132777" y="134087"/>
                  </a:lnTo>
                  <a:lnTo>
                    <a:pt x="135757" y="133882"/>
                  </a:lnTo>
                  <a:lnTo>
                    <a:pt x="137023" y="133882"/>
                  </a:lnTo>
                  <a:lnTo>
                    <a:pt x="139840" y="133596"/>
                  </a:lnTo>
                  <a:lnTo>
                    <a:pt x="141187" y="133596"/>
                  </a:lnTo>
                  <a:lnTo>
                    <a:pt x="143923" y="133228"/>
                  </a:lnTo>
                  <a:lnTo>
                    <a:pt x="145230" y="133023"/>
                  </a:lnTo>
                  <a:lnTo>
                    <a:pt x="147965" y="132532"/>
                  </a:lnTo>
                  <a:lnTo>
                    <a:pt x="149108" y="132287"/>
                  </a:lnTo>
                  <a:lnTo>
                    <a:pt x="151885" y="131715"/>
                  </a:lnTo>
                  <a:lnTo>
                    <a:pt x="152783" y="131510"/>
                  </a:lnTo>
                  <a:lnTo>
                    <a:pt x="155723" y="130815"/>
                  </a:lnTo>
                  <a:lnTo>
                    <a:pt x="156090" y="130815"/>
                  </a:lnTo>
                  <a:cubicBezTo>
                    <a:pt x="161483" y="129435"/>
                    <a:pt x="166787" y="127728"/>
                    <a:pt x="171973" y="125703"/>
                  </a:cubicBezTo>
                  <a:lnTo>
                    <a:pt x="171973" y="125703"/>
                  </a:lnTo>
                  <a:lnTo>
                    <a:pt x="174708" y="124640"/>
                  </a:lnTo>
                  <a:lnTo>
                    <a:pt x="174708" y="124640"/>
                  </a:lnTo>
                  <a:lnTo>
                    <a:pt x="177281" y="123576"/>
                  </a:lnTo>
                  <a:lnTo>
                    <a:pt x="177281" y="123576"/>
                  </a:lnTo>
                  <a:cubicBezTo>
                    <a:pt x="182866" y="121466"/>
                    <a:pt x="188284" y="118937"/>
                    <a:pt x="193490" y="116011"/>
                  </a:cubicBezTo>
                  <a:cubicBezTo>
                    <a:pt x="193490" y="116011"/>
                    <a:pt x="193694" y="112739"/>
                    <a:pt x="193490" y="107341"/>
                  </a:cubicBezTo>
                  <a:close/>
                </a:path>
              </a:pathLst>
            </a:custGeom>
            <a:grpFill/>
            <a:ln w="404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" name="Freihandform: Form 129">
              <a:extLst>
                <a:ext uri="{FF2B5EF4-FFF2-40B4-BE49-F238E27FC236}">
                  <a16:creationId xmlns:a16="http://schemas.microsoft.com/office/drawing/2014/main" id="{B6BD930F-F09B-48CB-8FB5-E540FBD2FCEE}"/>
                </a:ext>
              </a:extLst>
            </p:cNvPr>
            <p:cNvSpPr/>
            <p:nvPr/>
          </p:nvSpPr>
          <p:spPr>
            <a:xfrm>
              <a:off x="1046355" y="2881763"/>
              <a:ext cx="199328" cy="236045"/>
            </a:xfrm>
            <a:custGeom>
              <a:avLst/>
              <a:gdLst>
                <a:gd name="connsiteX0" fmla="*/ 145270 w 199328"/>
                <a:gd name="connsiteY0" fmla="*/ 98426 h 236045"/>
                <a:gd name="connsiteX1" fmla="*/ 145556 w 199328"/>
                <a:gd name="connsiteY1" fmla="*/ 98058 h 236045"/>
                <a:gd name="connsiteX2" fmla="*/ 149027 w 199328"/>
                <a:gd name="connsiteY2" fmla="*/ 93969 h 236045"/>
                <a:gd name="connsiteX3" fmla="*/ 150170 w 199328"/>
                <a:gd name="connsiteY3" fmla="*/ 92537 h 236045"/>
                <a:gd name="connsiteX4" fmla="*/ 152660 w 199328"/>
                <a:gd name="connsiteY4" fmla="*/ 89388 h 236045"/>
                <a:gd name="connsiteX5" fmla="*/ 153967 w 199328"/>
                <a:gd name="connsiteY5" fmla="*/ 87712 h 236045"/>
                <a:gd name="connsiteX6" fmla="*/ 156213 w 199328"/>
                <a:gd name="connsiteY6" fmla="*/ 84685 h 236045"/>
                <a:gd name="connsiteX7" fmla="*/ 157519 w 199328"/>
                <a:gd name="connsiteY7" fmla="*/ 82968 h 236045"/>
                <a:gd name="connsiteX8" fmla="*/ 159724 w 199328"/>
                <a:gd name="connsiteY8" fmla="*/ 79860 h 236045"/>
                <a:gd name="connsiteX9" fmla="*/ 160867 w 199328"/>
                <a:gd name="connsiteY9" fmla="*/ 78183 h 236045"/>
                <a:gd name="connsiteX10" fmla="*/ 163154 w 199328"/>
                <a:gd name="connsiteY10" fmla="*/ 74789 h 236045"/>
                <a:gd name="connsiteX11" fmla="*/ 164093 w 199328"/>
                <a:gd name="connsiteY11" fmla="*/ 73398 h 236045"/>
                <a:gd name="connsiteX12" fmla="*/ 166787 w 199328"/>
                <a:gd name="connsiteY12" fmla="*/ 69309 h 236045"/>
                <a:gd name="connsiteX13" fmla="*/ 167196 w 199328"/>
                <a:gd name="connsiteY13" fmla="*/ 68695 h 236045"/>
                <a:gd name="connsiteX14" fmla="*/ 173239 w 199328"/>
                <a:gd name="connsiteY14" fmla="*/ 58717 h 236045"/>
                <a:gd name="connsiteX15" fmla="*/ 173606 w 199328"/>
                <a:gd name="connsiteY15" fmla="*/ 58022 h 236045"/>
                <a:gd name="connsiteX16" fmla="*/ 175974 w 199328"/>
                <a:gd name="connsiteY16" fmla="*/ 53932 h 236045"/>
                <a:gd name="connsiteX17" fmla="*/ 176546 w 199328"/>
                <a:gd name="connsiteY17" fmla="*/ 52910 h 236045"/>
                <a:gd name="connsiteX18" fmla="*/ 178628 w 199328"/>
                <a:gd name="connsiteY18" fmla="*/ 49066 h 236045"/>
                <a:gd name="connsiteX19" fmla="*/ 179159 w 199328"/>
                <a:gd name="connsiteY19" fmla="*/ 48125 h 236045"/>
                <a:gd name="connsiteX20" fmla="*/ 181200 w 199328"/>
                <a:gd name="connsiteY20" fmla="*/ 44036 h 236045"/>
                <a:gd name="connsiteX21" fmla="*/ 181609 w 199328"/>
                <a:gd name="connsiteY21" fmla="*/ 43218 h 236045"/>
                <a:gd name="connsiteX22" fmla="*/ 183732 w 199328"/>
                <a:gd name="connsiteY22" fmla="*/ 39128 h 236045"/>
                <a:gd name="connsiteX23" fmla="*/ 183732 w 199328"/>
                <a:gd name="connsiteY23" fmla="*/ 38842 h 236045"/>
                <a:gd name="connsiteX24" fmla="*/ 197695 w 199328"/>
                <a:gd name="connsiteY24" fmla="*/ 7680 h 236045"/>
                <a:gd name="connsiteX25" fmla="*/ 197695 w 199328"/>
                <a:gd name="connsiteY25" fmla="*/ 7680 h 236045"/>
                <a:gd name="connsiteX26" fmla="*/ 199288 w 199328"/>
                <a:gd name="connsiteY26" fmla="*/ 3591 h 236045"/>
                <a:gd name="connsiteX27" fmla="*/ 188590 w 199328"/>
                <a:gd name="connsiteY27" fmla="*/ 2037 h 236045"/>
                <a:gd name="connsiteX28" fmla="*/ 187896 w 199328"/>
                <a:gd name="connsiteY28" fmla="*/ 2037 h 236045"/>
                <a:gd name="connsiteX29" fmla="*/ 185896 w 199328"/>
                <a:gd name="connsiteY29" fmla="*/ 1791 h 236045"/>
                <a:gd name="connsiteX30" fmla="*/ 184671 w 199328"/>
                <a:gd name="connsiteY30" fmla="*/ 1791 h 236045"/>
                <a:gd name="connsiteX31" fmla="*/ 182752 w 199328"/>
                <a:gd name="connsiteY31" fmla="*/ 1791 h 236045"/>
                <a:gd name="connsiteX32" fmla="*/ 180955 w 199328"/>
                <a:gd name="connsiteY32" fmla="*/ 1587 h 236045"/>
                <a:gd name="connsiteX33" fmla="*/ 179240 w 199328"/>
                <a:gd name="connsiteY33" fmla="*/ 1587 h 236045"/>
                <a:gd name="connsiteX34" fmla="*/ 175647 w 199328"/>
                <a:gd name="connsiteY34" fmla="*/ 605 h 236045"/>
                <a:gd name="connsiteX35" fmla="*/ 173933 w 199328"/>
                <a:gd name="connsiteY35" fmla="*/ 605 h 236045"/>
                <a:gd name="connsiteX36" fmla="*/ 171442 w 199328"/>
                <a:gd name="connsiteY36" fmla="*/ 401 h 236045"/>
                <a:gd name="connsiteX37" fmla="*/ 169646 w 199328"/>
                <a:gd name="connsiteY37" fmla="*/ 401 h 236045"/>
                <a:gd name="connsiteX38" fmla="*/ 167032 w 199328"/>
                <a:gd name="connsiteY38" fmla="*/ 196 h 236045"/>
                <a:gd name="connsiteX39" fmla="*/ 165113 w 199328"/>
                <a:gd name="connsiteY39" fmla="*/ 196 h 236045"/>
                <a:gd name="connsiteX40" fmla="*/ 162255 w 199328"/>
                <a:gd name="connsiteY40" fmla="*/ 196 h 236045"/>
                <a:gd name="connsiteX41" fmla="*/ 160459 w 199328"/>
                <a:gd name="connsiteY41" fmla="*/ 196 h 236045"/>
                <a:gd name="connsiteX42" fmla="*/ 155723 w 199328"/>
                <a:gd name="connsiteY42" fmla="*/ -49 h 236045"/>
                <a:gd name="connsiteX43" fmla="*/ 154702 w 199328"/>
                <a:gd name="connsiteY43" fmla="*/ -49 h 236045"/>
                <a:gd name="connsiteX44" fmla="*/ 150619 w 199328"/>
                <a:gd name="connsiteY44" fmla="*/ -49 h 236045"/>
                <a:gd name="connsiteX45" fmla="*/ 148659 w 199328"/>
                <a:gd name="connsiteY45" fmla="*/ -49 h 236045"/>
                <a:gd name="connsiteX46" fmla="*/ 145475 w 199328"/>
                <a:gd name="connsiteY46" fmla="*/ -49 h 236045"/>
                <a:gd name="connsiteX47" fmla="*/ 132368 w 199328"/>
                <a:gd name="connsiteY47" fmla="*/ -49 h 236045"/>
                <a:gd name="connsiteX48" fmla="*/ 127061 w 199328"/>
                <a:gd name="connsiteY48" fmla="*/ -49 h 236045"/>
                <a:gd name="connsiteX49" fmla="*/ 125101 w 199328"/>
                <a:gd name="connsiteY49" fmla="*/ -49 h 236045"/>
                <a:gd name="connsiteX50" fmla="*/ 121467 w 199328"/>
                <a:gd name="connsiteY50" fmla="*/ -49 h 236045"/>
                <a:gd name="connsiteX51" fmla="*/ 119140 w 199328"/>
                <a:gd name="connsiteY51" fmla="*/ -49 h 236045"/>
                <a:gd name="connsiteX52" fmla="*/ 115832 w 199328"/>
                <a:gd name="connsiteY52" fmla="*/ 196 h 236045"/>
                <a:gd name="connsiteX53" fmla="*/ 113423 w 199328"/>
                <a:gd name="connsiteY53" fmla="*/ 401 h 236045"/>
                <a:gd name="connsiteX54" fmla="*/ 109994 w 199328"/>
                <a:gd name="connsiteY54" fmla="*/ 728 h 236045"/>
                <a:gd name="connsiteX55" fmla="*/ 107748 w 199328"/>
                <a:gd name="connsiteY55" fmla="*/ 933 h 236045"/>
                <a:gd name="connsiteX56" fmla="*/ 102930 w 199328"/>
                <a:gd name="connsiteY56" fmla="*/ 1546 h 236045"/>
                <a:gd name="connsiteX57" fmla="*/ 101011 w 199328"/>
                <a:gd name="connsiteY57" fmla="*/ 1832 h 236045"/>
                <a:gd name="connsiteX58" fmla="*/ 96724 w 199328"/>
                <a:gd name="connsiteY58" fmla="*/ 2487 h 236045"/>
                <a:gd name="connsiteX59" fmla="*/ 94560 w 199328"/>
                <a:gd name="connsiteY59" fmla="*/ 2855 h 236045"/>
                <a:gd name="connsiteX60" fmla="*/ 91171 w 199328"/>
                <a:gd name="connsiteY60" fmla="*/ 3468 h 236045"/>
                <a:gd name="connsiteX61" fmla="*/ 88885 w 199328"/>
                <a:gd name="connsiteY61" fmla="*/ 3959 h 236045"/>
                <a:gd name="connsiteX62" fmla="*/ 85578 w 199328"/>
                <a:gd name="connsiteY62" fmla="*/ 4695 h 236045"/>
                <a:gd name="connsiteX63" fmla="*/ 83373 w 199328"/>
                <a:gd name="connsiteY63" fmla="*/ 5186 h 236045"/>
                <a:gd name="connsiteX64" fmla="*/ 79739 w 199328"/>
                <a:gd name="connsiteY64" fmla="*/ 6167 h 236045"/>
                <a:gd name="connsiteX65" fmla="*/ 78024 w 199328"/>
                <a:gd name="connsiteY65" fmla="*/ 6617 h 236045"/>
                <a:gd name="connsiteX66" fmla="*/ 72921 w 199328"/>
                <a:gd name="connsiteY66" fmla="*/ 8171 h 236045"/>
                <a:gd name="connsiteX67" fmla="*/ 71369 w 199328"/>
                <a:gd name="connsiteY67" fmla="*/ 8744 h 236045"/>
                <a:gd name="connsiteX68" fmla="*/ 67858 w 199328"/>
                <a:gd name="connsiteY68" fmla="*/ 10011 h 236045"/>
                <a:gd name="connsiteX69" fmla="*/ 65939 w 199328"/>
                <a:gd name="connsiteY69" fmla="*/ 10747 h 236045"/>
                <a:gd name="connsiteX70" fmla="*/ 62877 w 199328"/>
                <a:gd name="connsiteY70" fmla="*/ 12056 h 236045"/>
                <a:gd name="connsiteX71" fmla="*/ 60999 w 199328"/>
                <a:gd name="connsiteY71" fmla="*/ 12874 h 236045"/>
                <a:gd name="connsiteX72" fmla="*/ 57896 w 199328"/>
                <a:gd name="connsiteY72" fmla="*/ 14387 h 236045"/>
                <a:gd name="connsiteX73" fmla="*/ 56344 w 199328"/>
                <a:gd name="connsiteY73" fmla="*/ 15205 h 236045"/>
                <a:gd name="connsiteX74" fmla="*/ 51894 w 199328"/>
                <a:gd name="connsiteY74" fmla="*/ 17699 h 236045"/>
                <a:gd name="connsiteX75" fmla="*/ 45647 w 199328"/>
                <a:gd name="connsiteY75" fmla="*/ 21993 h 236045"/>
                <a:gd name="connsiteX76" fmla="*/ 44299 w 199328"/>
                <a:gd name="connsiteY76" fmla="*/ 22975 h 236045"/>
                <a:gd name="connsiteX77" fmla="*/ 38828 w 199328"/>
                <a:gd name="connsiteY77" fmla="*/ 27555 h 236045"/>
                <a:gd name="connsiteX78" fmla="*/ 38175 w 199328"/>
                <a:gd name="connsiteY78" fmla="*/ 28169 h 236045"/>
                <a:gd name="connsiteX79" fmla="*/ 33725 w 199328"/>
                <a:gd name="connsiteY79" fmla="*/ 32708 h 236045"/>
                <a:gd name="connsiteX80" fmla="*/ 32745 w 199328"/>
                <a:gd name="connsiteY80" fmla="*/ 33730 h 236045"/>
                <a:gd name="connsiteX81" fmla="*/ 28662 w 199328"/>
                <a:gd name="connsiteY81" fmla="*/ 38883 h 236045"/>
                <a:gd name="connsiteX82" fmla="*/ 27886 w 199328"/>
                <a:gd name="connsiteY82" fmla="*/ 39905 h 236045"/>
                <a:gd name="connsiteX83" fmla="*/ 24538 w 199328"/>
                <a:gd name="connsiteY83" fmla="*/ 44731 h 236045"/>
                <a:gd name="connsiteX84" fmla="*/ 23925 w 199328"/>
                <a:gd name="connsiteY84" fmla="*/ 45631 h 236045"/>
                <a:gd name="connsiteX85" fmla="*/ 20700 w 199328"/>
                <a:gd name="connsiteY85" fmla="*/ 51152 h 236045"/>
                <a:gd name="connsiteX86" fmla="*/ 20006 w 199328"/>
                <a:gd name="connsiteY86" fmla="*/ 52378 h 236045"/>
                <a:gd name="connsiteX87" fmla="*/ 17393 w 199328"/>
                <a:gd name="connsiteY87" fmla="*/ 57695 h 236045"/>
                <a:gd name="connsiteX88" fmla="*/ 17393 w 199328"/>
                <a:gd name="connsiteY88" fmla="*/ 58145 h 236045"/>
                <a:gd name="connsiteX89" fmla="*/ 15025 w 199328"/>
                <a:gd name="connsiteY89" fmla="*/ 63829 h 236045"/>
                <a:gd name="connsiteX90" fmla="*/ 14494 w 199328"/>
                <a:gd name="connsiteY90" fmla="*/ 65097 h 236045"/>
                <a:gd name="connsiteX91" fmla="*/ 12534 w 199328"/>
                <a:gd name="connsiteY91" fmla="*/ 70699 h 236045"/>
                <a:gd name="connsiteX92" fmla="*/ 12534 w 199328"/>
                <a:gd name="connsiteY92" fmla="*/ 71149 h 236045"/>
                <a:gd name="connsiteX93" fmla="*/ 11023 w 199328"/>
                <a:gd name="connsiteY93" fmla="*/ 76343 h 236045"/>
                <a:gd name="connsiteX94" fmla="*/ 10697 w 199328"/>
                <a:gd name="connsiteY94" fmla="*/ 77529 h 236045"/>
                <a:gd name="connsiteX95" fmla="*/ 9431 w 199328"/>
                <a:gd name="connsiteY95" fmla="*/ 82763 h 236045"/>
                <a:gd name="connsiteX96" fmla="*/ 9431 w 199328"/>
                <a:gd name="connsiteY96" fmla="*/ 83663 h 236045"/>
                <a:gd name="connsiteX97" fmla="*/ 8533 w 199328"/>
                <a:gd name="connsiteY97" fmla="*/ 88121 h 236045"/>
                <a:gd name="connsiteX98" fmla="*/ 8533 w 199328"/>
                <a:gd name="connsiteY98" fmla="*/ 89102 h 236045"/>
                <a:gd name="connsiteX99" fmla="*/ 7798 w 199328"/>
                <a:gd name="connsiteY99" fmla="*/ 93764 h 236045"/>
                <a:gd name="connsiteX100" fmla="*/ 7798 w 199328"/>
                <a:gd name="connsiteY100" fmla="*/ 94786 h 236045"/>
                <a:gd name="connsiteX101" fmla="*/ 7349 w 199328"/>
                <a:gd name="connsiteY101" fmla="*/ 98590 h 236045"/>
                <a:gd name="connsiteX102" fmla="*/ 7349 w 199328"/>
                <a:gd name="connsiteY102" fmla="*/ 99285 h 236045"/>
                <a:gd name="connsiteX103" fmla="*/ 7022 w 199328"/>
                <a:gd name="connsiteY103" fmla="*/ 103129 h 236045"/>
                <a:gd name="connsiteX104" fmla="*/ 7022 w 199328"/>
                <a:gd name="connsiteY104" fmla="*/ 104151 h 236045"/>
                <a:gd name="connsiteX105" fmla="*/ 7022 w 199328"/>
                <a:gd name="connsiteY105" fmla="*/ 107014 h 236045"/>
                <a:gd name="connsiteX106" fmla="*/ 7022 w 199328"/>
                <a:gd name="connsiteY106" fmla="*/ 106932 h 236045"/>
                <a:gd name="connsiteX107" fmla="*/ 7022 w 199328"/>
                <a:gd name="connsiteY107" fmla="*/ 106932 h 236045"/>
                <a:gd name="connsiteX108" fmla="*/ 7022 w 199328"/>
                <a:gd name="connsiteY108" fmla="*/ 115602 h 236045"/>
                <a:gd name="connsiteX109" fmla="*/ -41 w 199328"/>
                <a:gd name="connsiteY109" fmla="*/ 235997 h 236045"/>
                <a:gd name="connsiteX110" fmla="*/ 13106 w 199328"/>
                <a:gd name="connsiteY110" fmla="*/ 235997 h 236045"/>
                <a:gd name="connsiteX111" fmla="*/ 22537 w 199328"/>
                <a:gd name="connsiteY111" fmla="*/ 143738 h 236045"/>
                <a:gd name="connsiteX112" fmla="*/ 66715 w 199328"/>
                <a:gd name="connsiteY112" fmla="*/ 134904 h 236045"/>
                <a:gd name="connsiteX113" fmla="*/ 71941 w 199328"/>
                <a:gd name="connsiteY113" fmla="*/ 134904 h 236045"/>
                <a:gd name="connsiteX114" fmla="*/ 73084 w 199328"/>
                <a:gd name="connsiteY114" fmla="*/ 134904 h 236045"/>
                <a:gd name="connsiteX115" fmla="*/ 77412 w 199328"/>
                <a:gd name="connsiteY115" fmla="*/ 134904 h 236045"/>
                <a:gd name="connsiteX116" fmla="*/ 78555 w 199328"/>
                <a:gd name="connsiteY116" fmla="*/ 134904 h 236045"/>
                <a:gd name="connsiteX117" fmla="*/ 83904 w 199328"/>
                <a:gd name="connsiteY117" fmla="*/ 134373 h 236045"/>
                <a:gd name="connsiteX118" fmla="*/ 84720 w 199328"/>
                <a:gd name="connsiteY118" fmla="*/ 134373 h 236045"/>
                <a:gd name="connsiteX119" fmla="*/ 89252 w 199328"/>
                <a:gd name="connsiteY119" fmla="*/ 133637 h 236045"/>
                <a:gd name="connsiteX120" fmla="*/ 90804 w 199328"/>
                <a:gd name="connsiteY120" fmla="*/ 133309 h 236045"/>
                <a:gd name="connsiteX121" fmla="*/ 95254 w 199328"/>
                <a:gd name="connsiteY121" fmla="*/ 132246 h 236045"/>
                <a:gd name="connsiteX122" fmla="*/ 96275 w 199328"/>
                <a:gd name="connsiteY122" fmla="*/ 132001 h 236045"/>
                <a:gd name="connsiteX123" fmla="*/ 101624 w 199328"/>
                <a:gd name="connsiteY123" fmla="*/ 130283 h 236045"/>
                <a:gd name="connsiteX124" fmla="*/ 103012 w 199328"/>
                <a:gd name="connsiteY124" fmla="*/ 129793 h 236045"/>
                <a:gd name="connsiteX125" fmla="*/ 107095 w 199328"/>
                <a:gd name="connsiteY125" fmla="*/ 128116 h 236045"/>
                <a:gd name="connsiteX126" fmla="*/ 108646 w 199328"/>
                <a:gd name="connsiteY126" fmla="*/ 127421 h 236045"/>
                <a:gd name="connsiteX127" fmla="*/ 114036 w 199328"/>
                <a:gd name="connsiteY127" fmla="*/ 124762 h 236045"/>
                <a:gd name="connsiteX128" fmla="*/ 118568 w 199328"/>
                <a:gd name="connsiteY128" fmla="*/ 122104 h 236045"/>
                <a:gd name="connsiteX129" fmla="*/ 120079 w 199328"/>
                <a:gd name="connsiteY129" fmla="*/ 121082 h 236045"/>
                <a:gd name="connsiteX130" fmla="*/ 122978 w 199328"/>
                <a:gd name="connsiteY130" fmla="*/ 119119 h 236045"/>
                <a:gd name="connsiteX131" fmla="*/ 124733 w 199328"/>
                <a:gd name="connsiteY131" fmla="*/ 117851 h 236045"/>
                <a:gd name="connsiteX132" fmla="*/ 127305 w 199328"/>
                <a:gd name="connsiteY132" fmla="*/ 115847 h 236045"/>
                <a:gd name="connsiteX133" fmla="*/ 129102 w 199328"/>
                <a:gd name="connsiteY133" fmla="*/ 114416 h 236045"/>
                <a:gd name="connsiteX134" fmla="*/ 131593 w 199328"/>
                <a:gd name="connsiteY134" fmla="*/ 112289 h 236045"/>
                <a:gd name="connsiteX135" fmla="*/ 133307 w 199328"/>
                <a:gd name="connsiteY135" fmla="*/ 110776 h 236045"/>
                <a:gd name="connsiteX136" fmla="*/ 135798 w 199328"/>
                <a:gd name="connsiteY136" fmla="*/ 108445 h 236045"/>
                <a:gd name="connsiteX137" fmla="*/ 137390 w 199328"/>
                <a:gd name="connsiteY137" fmla="*/ 106891 h 236045"/>
                <a:gd name="connsiteX138" fmla="*/ 140085 w 199328"/>
                <a:gd name="connsiteY138" fmla="*/ 104151 h 236045"/>
                <a:gd name="connsiteX139" fmla="*/ 141351 w 199328"/>
                <a:gd name="connsiteY139" fmla="*/ 102843 h 236045"/>
                <a:gd name="connsiteX140" fmla="*/ 145270 w 199328"/>
                <a:gd name="connsiteY140" fmla="*/ 98426 h 236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</a:cxnLst>
              <a:rect l="l" t="t" r="r" b="b"/>
              <a:pathLst>
                <a:path w="199328" h="236045">
                  <a:moveTo>
                    <a:pt x="145270" y="98426"/>
                  </a:moveTo>
                  <a:lnTo>
                    <a:pt x="145556" y="98058"/>
                  </a:lnTo>
                  <a:cubicBezTo>
                    <a:pt x="146740" y="96749"/>
                    <a:pt x="147883" y="95400"/>
                    <a:pt x="149027" y="93969"/>
                  </a:cubicBezTo>
                  <a:lnTo>
                    <a:pt x="150170" y="92537"/>
                  </a:lnTo>
                  <a:cubicBezTo>
                    <a:pt x="151027" y="91515"/>
                    <a:pt x="151844" y="90452"/>
                    <a:pt x="152660" y="89388"/>
                  </a:cubicBezTo>
                  <a:cubicBezTo>
                    <a:pt x="153477" y="88325"/>
                    <a:pt x="153518" y="88284"/>
                    <a:pt x="153967" y="87712"/>
                  </a:cubicBezTo>
                  <a:cubicBezTo>
                    <a:pt x="154416" y="87139"/>
                    <a:pt x="155478" y="85708"/>
                    <a:pt x="156213" y="84685"/>
                  </a:cubicBezTo>
                  <a:lnTo>
                    <a:pt x="157519" y="82968"/>
                  </a:lnTo>
                  <a:lnTo>
                    <a:pt x="159724" y="79860"/>
                  </a:lnTo>
                  <a:lnTo>
                    <a:pt x="160867" y="78183"/>
                  </a:lnTo>
                  <a:cubicBezTo>
                    <a:pt x="161643" y="77079"/>
                    <a:pt x="162419" y="75934"/>
                    <a:pt x="163154" y="74789"/>
                  </a:cubicBezTo>
                  <a:lnTo>
                    <a:pt x="164093" y="73398"/>
                  </a:lnTo>
                  <a:cubicBezTo>
                    <a:pt x="165032" y="71967"/>
                    <a:pt x="165930" y="70577"/>
                    <a:pt x="166787" y="69309"/>
                  </a:cubicBezTo>
                  <a:lnTo>
                    <a:pt x="167196" y="68695"/>
                  </a:lnTo>
                  <a:cubicBezTo>
                    <a:pt x="169319" y="65342"/>
                    <a:pt x="171279" y="62030"/>
                    <a:pt x="173239" y="58717"/>
                  </a:cubicBezTo>
                  <a:lnTo>
                    <a:pt x="173606" y="58022"/>
                  </a:lnTo>
                  <a:cubicBezTo>
                    <a:pt x="174423" y="56631"/>
                    <a:pt x="175198" y="55241"/>
                    <a:pt x="175974" y="53932"/>
                  </a:cubicBezTo>
                  <a:lnTo>
                    <a:pt x="176546" y="52910"/>
                  </a:lnTo>
                  <a:cubicBezTo>
                    <a:pt x="177281" y="51642"/>
                    <a:pt x="177975" y="50334"/>
                    <a:pt x="178628" y="49066"/>
                  </a:cubicBezTo>
                  <a:lnTo>
                    <a:pt x="179159" y="48125"/>
                  </a:lnTo>
                  <a:lnTo>
                    <a:pt x="181200" y="44036"/>
                  </a:lnTo>
                  <a:lnTo>
                    <a:pt x="181609" y="43218"/>
                  </a:lnTo>
                  <a:cubicBezTo>
                    <a:pt x="182343" y="41828"/>
                    <a:pt x="183038" y="40437"/>
                    <a:pt x="183732" y="39128"/>
                  </a:cubicBezTo>
                  <a:lnTo>
                    <a:pt x="183732" y="38842"/>
                  </a:lnTo>
                  <a:cubicBezTo>
                    <a:pt x="190632" y="25102"/>
                    <a:pt x="195409" y="13569"/>
                    <a:pt x="197695" y="7680"/>
                  </a:cubicBezTo>
                  <a:lnTo>
                    <a:pt x="197695" y="7680"/>
                  </a:lnTo>
                  <a:cubicBezTo>
                    <a:pt x="198757" y="5022"/>
                    <a:pt x="199288" y="3591"/>
                    <a:pt x="199288" y="3591"/>
                  </a:cubicBezTo>
                  <a:cubicBezTo>
                    <a:pt x="199288" y="3591"/>
                    <a:pt x="195205" y="2896"/>
                    <a:pt x="188590" y="2037"/>
                  </a:cubicBezTo>
                  <a:lnTo>
                    <a:pt x="187896" y="2037"/>
                  </a:lnTo>
                  <a:lnTo>
                    <a:pt x="185896" y="1791"/>
                  </a:lnTo>
                  <a:lnTo>
                    <a:pt x="184671" y="1791"/>
                  </a:lnTo>
                  <a:lnTo>
                    <a:pt x="182752" y="1791"/>
                  </a:lnTo>
                  <a:lnTo>
                    <a:pt x="180955" y="1587"/>
                  </a:lnTo>
                  <a:lnTo>
                    <a:pt x="179240" y="1587"/>
                  </a:lnTo>
                  <a:lnTo>
                    <a:pt x="175647" y="605"/>
                  </a:lnTo>
                  <a:lnTo>
                    <a:pt x="173933" y="605"/>
                  </a:lnTo>
                  <a:lnTo>
                    <a:pt x="171442" y="401"/>
                  </a:lnTo>
                  <a:lnTo>
                    <a:pt x="169646" y="401"/>
                  </a:lnTo>
                  <a:lnTo>
                    <a:pt x="167032" y="196"/>
                  </a:lnTo>
                  <a:lnTo>
                    <a:pt x="165113" y="196"/>
                  </a:lnTo>
                  <a:lnTo>
                    <a:pt x="162255" y="196"/>
                  </a:lnTo>
                  <a:lnTo>
                    <a:pt x="160459" y="196"/>
                  </a:lnTo>
                  <a:lnTo>
                    <a:pt x="155723" y="-49"/>
                  </a:lnTo>
                  <a:lnTo>
                    <a:pt x="154702" y="-49"/>
                  </a:lnTo>
                  <a:lnTo>
                    <a:pt x="150619" y="-49"/>
                  </a:lnTo>
                  <a:lnTo>
                    <a:pt x="148659" y="-49"/>
                  </a:lnTo>
                  <a:lnTo>
                    <a:pt x="145475" y="-49"/>
                  </a:lnTo>
                  <a:lnTo>
                    <a:pt x="132368" y="-49"/>
                  </a:lnTo>
                  <a:lnTo>
                    <a:pt x="127061" y="-49"/>
                  </a:lnTo>
                  <a:lnTo>
                    <a:pt x="125101" y="-49"/>
                  </a:lnTo>
                  <a:lnTo>
                    <a:pt x="121467" y="-49"/>
                  </a:lnTo>
                  <a:lnTo>
                    <a:pt x="119140" y="-49"/>
                  </a:lnTo>
                  <a:lnTo>
                    <a:pt x="115832" y="196"/>
                  </a:lnTo>
                  <a:lnTo>
                    <a:pt x="113423" y="401"/>
                  </a:lnTo>
                  <a:lnTo>
                    <a:pt x="109994" y="728"/>
                  </a:lnTo>
                  <a:lnTo>
                    <a:pt x="107748" y="933"/>
                  </a:lnTo>
                  <a:lnTo>
                    <a:pt x="102930" y="1546"/>
                  </a:lnTo>
                  <a:lnTo>
                    <a:pt x="101011" y="1832"/>
                  </a:lnTo>
                  <a:lnTo>
                    <a:pt x="96724" y="2487"/>
                  </a:lnTo>
                  <a:lnTo>
                    <a:pt x="94560" y="2855"/>
                  </a:lnTo>
                  <a:lnTo>
                    <a:pt x="91171" y="3468"/>
                  </a:lnTo>
                  <a:lnTo>
                    <a:pt x="88885" y="3959"/>
                  </a:lnTo>
                  <a:lnTo>
                    <a:pt x="85578" y="4695"/>
                  </a:lnTo>
                  <a:lnTo>
                    <a:pt x="83373" y="5186"/>
                  </a:lnTo>
                  <a:lnTo>
                    <a:pt x="79739" y="6167"/>
                  </a:lnTo>
                  <a:lnTo>
                    <a:pt x="78024" y="6617"/>
                  </a:lnTo>
                  <a:lnTo>
                    <a:pt x="72921" y="8171"/>
                  </a:lnTo>
                  <a:lnTo>
                    <a:pt x="71369" y="8744"/>
                  </a:lnTo>
                  <a:lnTo>
                    <a:pt x="67858" y="10011"/>
                  </a:lnTo>
                  <a:cubicBezTo>
                    <a:pt x="67205" y="10216"/>
                    <a:pt x="66592" y="10502"/>
                    <a:pt x="65939" y="10747"/>
                  </a:cubicBezTo>
                  <a:lnTo>
                    <a:pt x="62877" y="12056"/>
                  </a:lnTo>
                  <a:lnTo>
                    <a:pt x="60999" y="12874"/>
                  </a:lnTo>
                  <a:lnTo>
                    <a:pt x="57896" y="14387"/>
                  </a:lnTo>
                  <a:lnTo>
                    <a:pt x="56344" y="15205"/>
                  </a:lnTo>
                  <a:cubicBezTo>
                    <a:pt x="54792" y="15982"/>
                    <a:pt x="53323" y="16841"/>
                    <a:pt x="51894" y="17699"/>
                  </a:cubicBezTo>
                  <a:cubicBezTo>
                    <a:pt x="49689" y="19049"/>
                    <a:pt x="47607" y="20521"/>
                    <a:pt x="45647" y="21993"/>
                  </a:cubicBezTo>
                  <a:lnTo>
                    <a:pt x="44299" y="22975"/>
                  </a:lnTo>
                  <a:cubicBezTo>
                    <a:pt x="42380" y="24447"/>
                    <a:pt x="40543" y="25960"/>
                    <a:pt x="38828" y="27555"/>
                  </a:cubicBezTo>
                  <a:lnTo>
                    <a:pt x="38175" y="28169"/>
                  </a:lnTo>
                  <a:cubicBezTo>
                    <a:pt x="36623" y="29641"/>
                    <a:pt x="35113" y="31154"/>
                    <a:pt x="33725" y="32708"/>
                  </a:cubicBezTo>
                  <a:lnTo>
                    <a:pt x="32745" y="33730"/>
                  </a:lnTo>
                  <a:cubicBezTo>
                    <a:pt x="31234" y="35407"/>
                    <a:pt x="29846" y="37125"/>
                    <a:pt x="28662" y="38883"/>
                  </a:cubicBezTo>
                  <a:cubicBezTo>
                    <a:pt x="28376" y="39210"/>
                    <a:pt x="28131" y="39578"/>
                    <a:pt x="27886" y="39905"/>
                  </a:cubicBezTo>
                  <a:cubicBezTo>
                    <a:pt x="26702" y="41500"/>
                    <a:pt x="25599" y="43095"/>
                    <a:pt x="24538" y="44731"/>
                  </a:cubicBezTo>
                  <a:lnTo>
                    <a:pt x="23925" y="45631"/>
                  </a:lnTo>
                  <a:cubicBezTo>
                    <a:pt x="22782" y="47471"/>
                    <a:pt x="21721" y="49311"/>
                    <a:pt x="20700" y="51152"/>
                  </a:cubicBezTo>
                  <a:lnTo>
                    <a:pt x="20006" y="52378"/>
                  </a:lnTo>
                  <a:cubicBezTo>
                    <a:pt x="19108" y="54178"/>
                    <a:pt x="18209" y="55936"/>
                    <a:pt x="17393" y="57695"/>
                  </a:cubicBezTo>
                  <a:cubicBezTo>
                    <a:pt x="17378" y="57844"/>
                    <a:pt x="17378" y="57995"/>
                    <a:pt x="17393" y="58145"/>
                  </a:cubicBezTo>
                  <a:cubicBezTo>
                    <a:pt x="16535" y="60026"/>
                    <a:pt x="15760" y="61907"/>
                    <a:pt x="15025" y="63829"/>
                  </a:cubicBezTo>
                  <a:lnTo>
                    <a:pt x="14494" y="65097"/>
                  </a:lnTo>
                  <a:cubicBezTo>
                    <a:pt x="13800" y="66978"/>
                    <a:pt x="13147" y="68859"/>
                    <a:pt x="12534" y="70699"/>
                  </a:cubicBezTo>
                  <a:lnTo>
                    <a:pt x="12534" y="71149"/>
                  </a:lnTo>
                  <a:cubicBezTo>
                    <a:pt x="12003" y="72867"/>
                    <a:pt x="11472" y="74625"/>
                    <a:pt x="11023" y="76343"/>
                  </a:cubicBezTo>
                  <a:cubicBezTo>
                    <a:pt x="11023" y="76711"/>
                    <a:pt x="10819" y="77120"/>
                    <a:pt x="10697" y="77529"/>
                  </a:cubicBezTo>
                  <a:cubicBezTo>
                    <a:pt x="10248" y="79287"/>
                    <a:pt x="9799" y="81046"/>
                    <a:pt x="9431" y="82763"/>
                  </a:cubicBezTo>
                  <a:cubicBezTo>
                    <a:pt x="9408" y="83063"/>
                    <a:pt x="9408" y="83364"/>
                    <a:pt x="9431" y="83663"/>
                  </a:cubicBezTo>
                  <a:cubicBezTo>
                    <a:pt x="9104" y="85176"/>
                    <a:pt x="8819" y="86648"/>
                    <a:pt x="8533" y="88121"/>
                  </a:cubicBezTo>
                  <a:cubicBezTo>
                    <a:pt x="8533" y="88448"/>
                    <a:pt x="8533" y="88775"/>
                    <a:pt x="8533" y="89102"/>
                  </a:cubicBezTo>
                  <a:cubicBezTo>
                    <a:pt x="8261" y="90683"/>
                    <a:pt x="8016" y="92237"/>
                    <a:pt x="7798" y="93764"/>
                  </a:cubicBezTo>
                  <a:lnTo>
                    <a:pt x="7798" y="94786"/>
                  </a:lnTo>
                  <a:cubicBezTo>
                    <a:pt x="7798" y="96095"/>
                    <a:pt x="7471" y="97363"/>
                    <a:pt x="7349" y="98590"/>
                  </a:cubicBezTo>
                  <a:cubicBezTo>
                    <a:pt x="7329" y="98821"/>
                    <a:pt x="7329" y="99054"/>
                    <a:pt x="7349" y="99285"/>
                  </a:cubicBezTo>
                  <a:cubicBezTo>
                    <a:pt x="7349" y="100634"/>
                    <a:pt x="7104" y="101902"/>
                    <a:pt x="7022" y="103129"/>
                  </a:cubicBezTo>
                  <a:cubicBezTo>
                    <a:pt x="7022" y="103456"/>
                    <a:pt x="7022" y="103783"/>
                    <a:pt x="7022" y="104151"/>
                  </a:cubicBezTo>
                  <a:cubicBezTo>
                    <a:pt x="7022" y="105174"/>
                    <a:pt x="7022" y="106114"/>
                    <a:pt x="7022" y="107014"/>
                  </a:cubicBezTo>
                  <a:lnTo>
                    <a:pt x="7022" y="106932"/>
                  </a:lnTo>
                  <a:lnTo>
                    <a:pt x="7022" y="106932"/>
                  </a:lnTo>
                  <a:cubicBezTo>
                    <a:pt x="6777" y="112330"/>
                    <a:pt x="7022" y="115602"/>
                    <a:pt x="7022" y="115602"/>
                  </a:cubicBezTo>
                  <a:lnTo>
                    <a:pt x="-41" y="235997"/>
                  </a:lnTo>
                  <a:lnTo>
                    <a:pt x="13106" y="235997"/>
                  </a:lnTo>
                  <a:cubicBezTo>
                    <a:pt x="13106" y="235997"/>
                    <a:pt x="8533" y="151917"/>
                    <a:pt x="22537" y="143738"/>
                  </a:cubicBezTo>
                  <a:cubicBezTo>
                    <a:pt x="36542" y="135559"/>
                    <a:pt x="66429" y="134904"/>
                    <a:pt x="66715" y="134904"/>
                  </a:cubicBezTo>
                  <a:cubicBezTo>
                    <a:pt x="68430" y="134904"/>
                    <a:pt x="70185" y="134904"/>
                    <a:pt x="71941" y="134904"/>
                  </a:cubicBezTo>
                  <a:lnTo>
                    <a:pt x="73084" y="134904"/>
                  </a:lnTo>
                  <a:lnTo>
                    <a:pt x="77412" y="134904"/>
                  </a:lnTo>
                  <a:lnTo>
                    <a:pt x="78555" y="134904"/>
                  </a:lnTo>
                  <a:cubicBezTo>
                    <a:pt x="80352" y="134904"/>
                    <a:pt x="82107" y="134618"/>
                    <a:pt x="83904" y="134373"/>
                  </a:cubicBezTo>
                  <a:cubicBezTo>
                    <a:pt x="84176" y="134393"/>
                    <a:pt x="84449" y="134393"/>
                    <a:pt x="84720" y="134373"/>
                  </a:cubicBezTo>
                  <a:cubicBezTo>
                    <a:pt x="86245" y="134182"/>
                    <a:pt x="87755" y="133937"/>
                    <a:pt x="89252" y="133637"/>
                  </a:cubicBezTo>
                  <a:lnTo>
                    <a:pt x="90804" y="133309"/>
                  </a:lnTo>
                  <a:cubicBezTo>
                    <a:pt x="92315" y="133023"/>
                    <a:pt x="93785" y="132655"/>
                    <a:pt x="95254" y="132246"/>
                  </a:cubicBezTo>
                  <a:lnTo>
                    <a:pt x="96275" y="132001"/>
                  </a:lnTo>
                  <a:cubicBezTo>
                    <a:pt x="98072" y="131510"/>
                    <a:pt x="99827" y="130938"/>
                    <a:pt x="101624" y="130283"/>
                  </a:cubicBezTo>
                  <a:lnTo>
                    <a:pt x="103012" y="129793"/>
                  </a:lnTo>
                  <a:cubicBezTo>
                    <a:pt x="104359" y="129261"/>
                    <a:pt x="105748" y="128729"/>
                    <a:pt x="107095" y="128116"/>
                  </a:cubicBezTo>
                  <a:lnTo>
                    <a:pt x="108646" y="127421"/>
                  </a:lnTo>
                  <a:cubicBezTo>
                    <a:pt x="110443" y="126603"/>
                    <a:pt x="112239" y="125744"/>
                    <a:pt x="114036" y="124762"/>
                  </a:cubicBezTo>
                  <a:cubicBezTo>
                    <a:pt x="115832" y="123781"/>
                    <a:pt x="117057" y="123045"/>
                    <a:pt x="118568" y="122104"/>
                  </a:cubicBezTo>
                  <a:lnTo>
                    <a:pt x="120079" y="121082"/>
                  </a:lnTo>
                  <a:cubicBezTo>
                    <a:pt x="121059" y="120468"/>
                    <a:pt x="122038" y="119814"/>
                    <a:pt x="122978" y="119119"/>
                  </a:cubicBezTo>
                  <a:lnTo>
                    <a:pt x="124733" y="117851"/>
                  </a:lnTo>
                  <a:lnTo>
                    <a:pt x="127305" y="115847"/>
                  </a:lnTo>
                  <a:lnTo>
                    <a:pt x="129102" y="114416"/>
                  </a:lnTo>
                  <a:lnTo>
                    <a:pt x="131593" y="112289"/>
                  </a:lnTo>
                  <a:lnTo>
                    <a:pt x="133307" y="110776"/>
                  </a:lnTo>
                  <a:lnTo>
                    <a:pt x="135798" y="108445"/>
                  </a:lnTo>
                  <a:lnTo>
                    <a:pt x="137390" y="106891"/>
                  </a:lnTo>
                  <a:lnTo>
                    <a:pt x="140085" y="104151"/>
                  </a:lnTo>
                  <a:cubicBezTo>
                    <a:pt x="140534" y="103742"/>
                    <a:pt x="140942" y="103293"/>
                    <a:pt x="141351" y="102843"/>
                  </a:cubicBezTo>
                  <a:cubicBezTo>
                    <a:pt x="142698" y="101289"/>
                    <a:pt x="144005" y="99857"/>
                    <a:pt x="145270" y="98426"/>
                  </a:cubicBezTo>
                  <a:close/>
                </a:path>
              </a:pathLst>
            </a:custGeom>
            <a:grpFill/>
            <a:ln w="404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1" name="Freihandform: Form 130">
              <a:extLst>
                <a:ext uri="{FF2B5EF4-FFF2-40B4-BE49-F238E27FC236}">
                  <a16:creationId xmlns:a16="http://schemas.microsoft.com/office/drawing/2014/main" id="{D1A2C234-6604-478D-A285-D8DACCA35787}"/>
                </a:ext>
              </a:extLst>
            </p:cNvPr>
            <p:cNvSpPr/>
            <p:nvPr/>
          </p:nvSpPr>
          <p:spPr>
            <a:xfrm>
              <a:off x="939096" y="2666247"/>
              <a:ext cx="194225" cy="224635"/>
            </a:xfrm>
            <a:custGeom>
              <a:avLst/>
              <a:gdLst>
                <a:gd name="connsiteX0" fmla="*/ 97051 w 194225"/>
                <a:gd name="connsiteY0" fmla="*/ 224587 h 224635"/>
                <a:gd name="connsiteX1" fmla="*/ -41 w 194225"/>
                <a:gd name="connsiteY1" fmla="*/ 168438 h 224635"/>
                <a:gd name="connsiteX2" fmla="*/ -41 w 194225"/>
                <a:gd name="connsiteY2" fmla="*/ 56100 h 224635"/>
                <a:gd name="connsiteX3" fmla="*/ 97051 w 194225"/>
                <a:gd name="connsiteY3" fmla="*/ -49 h 224635"/>
                <a:gd name="connsiteX4" fmla="*/ 194184 w 194225"/>
                <a:gd name="connsiteY4" fmla="*/ 56100 h 224635"/>
                <a:gd name="connsiteX5" fmla="*/ 194184 w 194225"/>
                <a:gd name="connsiteY5" fmla="*/ 168438 h 224635"/>
                <a:gd name="connsiteX6" fmla="*/ 28417 w 194225"/>
                <a:gd name="connsiteY6" fmla="*/ 151958 h 224635"/>
                <a:gd name="connsiteX7" fmla="*/ 97051 w 194225"/>
                <a:gd name="connsiteY7" fmla="*/ 191626 h 224635"/>
                <a:gd name="connsiteX8" fmla="*/ 165685 w 194225"/>
                <a:gd name="connsiteY8" fmla="*/ 151958 h 224635"/>
                <a:gd name="connsiteX9" fmla="*/ 165685 w 194225"/>
                <a:gd name="connsiteY9" fmla="*/ 72581 h 224635"/>
                <a:gd name="connsiteX10" fmla="*/ 97051 w 194225"/>
                <a:gd name="connsiteY10" fmla="*/ 32912 h 224635"/>
                <a:gd name="connsiteX11" fmla="*/ 28417 w 194225"/>
                <a:gd name="connsiteY11" fmla="*/ 72581 h 224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4225" h="224635">
                  <a:moveTo>
                    <a:pt x="97051" y="224587"/>
                  </a:moveTo>
                  <a:lnTo>
                    <a:pt x="-41" y="168438"/>
                  </a:lnTo>
                  <a:lnTo>
                    <a:pt x="-41" y="56100"/>
                  </a:lnTo>
                  <a:lnTo>
                    <a:pt x="97051" y="-49"/>
                  </a:lnTo>
                  <a:lnTo>
                    <a:pt x="194184" y="56100"/>
                  </a:lnTo>
                  <a:lnTo>
                    <a:pt x="194184" y="168438"/>
                  </a:lnTo>
                  <a:close/>
                  <a:moveTo>
                    <a:pt x="28417" y="151958"/>
                  </a:moveTo>
                  <a:lnTo>
                    <a:pt x="97051" y="191626"/>
                  </a:lnTo>
                  <a:lnTo>
                    <a:pt x="165685" y="151958"/>
                  </a:lnTo>
                  <a:lnTo>
                    <a:pt x="165685" y="72581"/>
                  </a:lnTo>
                  <a:lnTo>
                    <a:pt x="97051" y="32912"/>
                  </a:lnTo>
                  <a:lnTo>
                    <a:pt x="28417" y="72581"/>
                  </a:lnTo>
                  <a:close/>
                </a:path>
              </a:pathLst>
            </a:custGeom>
            <a:grpFill/>
            <a:ln w="404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" name="Freihandform: Form 131">
              <a:extLst>
                <a:ext uri="{FF2B5EF4-FFF2-40B4-BE49-F238E27FC236}">
                  <a16:creationId xmlns:a16="http://schemas.microsoft.com/office/drawing/2014/main" id="{0E4D1A75-30FB-4C6F-8074-DADA452F1675}"/>
                </a:ext>
              </a:extLst>
            </p:cNvPr>
            <p:cNvSpPr/>
            <p:nvPr/>
          </p:nvSpPr>
          <p:spPr>
            <a:xfrm>
              <a:off x="1235640" y="2685345"/>
              <a:ext cx="164227" cy="496014"/>
            </a:xfrm>
            <a:custGeom>
              <a:avLst/>
              <a:gdLst>
                <a:gd name="connsiteX0" fmla="*/ 109545 w 164227"/>
                <a:gd name="connsiteY0" fmla="*/ -49 h 496014"/>
                <a:gd name="connsiteX1" fmla="*/ -41 w 164227"/>
                <a:gd name="connsiteY1" fmla="*/ 495966 h 496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4227" h="496014">
                  <a:moveTo>
                    <a:pt x="109545" y="-49"/>
                  </a:moveTo>
                  <a:cubicBezTo>
                    <a:pt x="213493" y="167674"/>
                    <a:pt x="164853" y="387831"/>
                    <a:pt x="-41" y="495966"/>
                  </a:cubicBezTo>
                </a:path>
              </a:pathLst>
            </a:custGeom>
            <a:noFill/>
            <a:ln w="32213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" name="Freihandform: Form 132">
              <a:extLst>
                <a:ext uri="{FF2B5EF4-FFF2-40B4-BE49-F238E27FC236}">
                  <a16:creationId xmlns:a16="http://schemas.microsoft.com/office/drawing/2014/main" id="{009CB9F0-8DFF-4FF3-BACB-1467BDC0930E}"/>
                </a:ext>
              </a:extLst>
            </p:cNvPr>
            <p:cNvSpPr/>
            <p:nvPr/>
          </p:nvSpPr>
          <p:spPr>
            <a:xfrm>
              <a:off x="1173661" y="3130772"/>
              <a:ext cx="97214" cy="85511"/>
            </a:xfrm>
            <a:custGeom>
              <a:avLst/>
              <a:gdLst>
                <a:gd name="connsiteX0" fmla="*/ 50669 w 97214"/>
                <a:gd name="connsiteY0" fmla="*/ 0 h 85511"/>
                <a:gd name="connsiteX1" fmla="*/ 0 w 97214"/>
                <a:gd name="connsiteY1" fmla="*/ 83099 h 85511"/>
                <a:gd name="connsiteX2" fmla="*/ 97215 w 97214"/>
                <a:gd name="connsiteY2" fmla="*/ 85511 h 85511"/>
                <a:gd name="connsiteX3" fmla="*/ 50669 w 97214"/>
                <a:gd name="connsiteY3" fmla="*/ 0 h 85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214" h="85511">
                  <a:moveTo>
                    <a:pt x="50669" y="0"/>
                  </a:moveTo>
                  <a:lnTo>
                    <a:pt x="0" y="83099"/>
                  </a:lnTo>
                  <a:lnTo>
                    <a:pt x="97215" y="85511"/>
                  </a:lnTo>
                  <a:lnTo>
                    <a:pt x="50669" y="0"/>
                  </a:lnTo>
                  <a:close/>
                </a:path>
              </a:pathLst>
            </a:custGeom>
            <a:grpFill/>
            <a:ln w="404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" name="Freihandform: Form 133">
              <a:extLst>
                <a:ext uri="{FF2B5EF4-FFF2-40B4-BE49-F238E27FC236}">
                  <a16:creationId xmlns:a16="http://schemas.microsoft.com/office/drawing/2014/main" id="{705204CE-B67B-4B66-B2AA-D962A64FF04E}"/>
                </a:ext>
              </a:extLst>
            </p:cNvPr>
            <p:cNvSpPr/>
            <p:nvPr/>
          </p:nvSpPr>
          <p:spPr>
            <a:xfrm>
              <a:off x="725191" y="2514149"/>
              <a:ext cx="514450" cy="177779"/>
            </a:xfrm>
            <a:custGeom>
              <a:avLst/>
              <a:gdLst>
                <a:gd name="connsiteX0" fmla="*/ -41 w 514450"/>
                <a:gd name="connsiteY0" fmla="*/ 177731 h 177779"/>
                <a:gd name="connsiteX1" fmla="*/ 498106 w 514450"/>
                <a:gd name="connsiteY1" fmla="*/ 51267 h 177779"/>
                <a:gd name="connsiteX2" fmla="*/ 514409 w 514450"/>
                <a:gd name="connsiteY2" fmla="*/ 61589 h 177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14450" h="177779">
                  <a:moveTo>
                    <a:pt x="-41" y="177731"/>
                  </a:moveTo>
                  <a:cubicBezTo>
                    <a:pt x="102652" y="5028"/>
                    <a:pt x="325680" y="-51591"/>
                    <a:pt x="498106" y="51267"/>
                  </a:cubicBezTo>
                  <a:cubicBezTo>
                    <a:pt x="503630" y="54563"/>
                    <a:pt x="509067" y="58004"/>
                    <a:pt x="514409" y="61589"/>
                  </a:cubicBezTo>
                </a:path>
              </a:pathLst>
            </a:custGeom>
            <a:noFill/>
            <a:ln w="32213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" name="Freihandform: Form 134">
              <a:extLst>
                <a:ext uri="{FF2B5EF4-FFF2-40B4-BE49-F238E27FC236}">
                  <a16:creationId xmlns:a16="http://schemas.microsoft.com/office/drawing/2014/main" id="{145ADD6E-C773-4AA7-9A91-2B653BF01505}"/>
                </a:ext>
              </a:extLst>
            </p:cNvPr>
            <p:cNvSpPr/>
            <p:nvPr/>
          </p:nvSpPr>
          <p:spPr>
            <a:xfrm>
              <a:off x="1197505" y="2529698"/>
              <a:ext cx="96112" cy="90704"/>
            </a:xfrm>
            <a:custGeom>
              <a:avLst/>
              <a:gdLst>
                <a:gd name="connsiteX0" fmla="*/ 0 w 96112"/>
                <a:gd name="connsiteY0" fmla="*/ 76105 h 90704"/>
                <a:gd name="connsiteX1" fmla="*/ 96112 w 96112"/>
                <a:gd name="connsiteY1" fmla="*/ 90705 h 90704"/>
                <a:gd name="connsiteX2" fmla="*/ 60672 w 96112"/>
                <a:gd name="connsiteY2" fmla="*/ 0 h 90704"/>
                <a:gd name="connsiteX3" fmla="*/ 0 w 96112"/>
                <a:gd name="connsiteY3" fmla="*/ 76105 h 90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112" h="90704">
                  <a:moveTo>
                    <a:pt x="0" y="76105"/>
                  </a:moveTo>
                  <a:lnTo>
                    <a:pt x="96112" y="90705"/>
                  </a:lnTo>
                  <a:lnTo>
                    <a:pt x="60672" y="0"/>
                  </a:lnTo>
                  <a:lnTo>
                    <a:pt x="0" y="76105"/>
                  </a:lnTo>
                  <a:close/>
                </a:path>
              </a:pathLst>
            </a:custGeom>
            <a:grpFill/>
            <a:ln w="404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6" name="Freihandform: Form 135">
              <a:extLst>
                <a:ext uri="{FF2B5EF4-FFF2-40B4-BE49-F238E27FC236}">
                  <a16:creationId xmlns:a16="http://schemas.microsoft.com/office/drawing/2014/main" id="{E885210B-D7E7-4EC5-8D67-F1C530FDA16F}"/>
                </a:ext>
              </a:extLst>
            </p:cNvPr>
            <p:cNvSpPr/>
            <p:nvPr/>
          </p:nvSpPr>
          <p:spPr>
            <a:xfrm>
              <a:off x="674548" y="2837433"/>
              <a:ext cx="433989" cy="403136"/>
            </a:xfrm>
            <a:custGeom>
              <a:avLst/>
              <a:gdLst>
                <a:gd name="connsiteX0" fmla="*/ 433948 w 433989"/>
                <a:gd name="connsiteY0" fmla="*/ 395937 h 403136"/>
                <a:gd name="connsiteX1" fmla="*/ 7028 w 433989"/>
                <a:gd name="connsiteY1" fmla="*/ 111082 h 403136"/>
                <a:gd name="connsiteX2" fmla="*/ 2137 w 433989"/>
                <a:gd name="connsiteY2" fmla="*/ -49 h 403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33989" h="403136">
                  <a:moveTo>
                    <a:pt x="433948" y="395937"/>
                  </a:moveTo>
                  <a:cubicBezTo>
                    <a:pt x="237523" y="435357"/>
                    <a:pt x="46384" y="307823"/>
                    <a:pt x="7028" y="111082"/>
                  </a:cubicBezTo>
                  <a:cubicBezTo>
                    <a:pt x="-289" y="74510"/>
                    <a:pt x="-1938" y="37027"/>
                    <a:pt x="2137" y="-49"/>
                  </a:cubicBezTo>
                </a:path>
              </a:pathLst>
            </a:custGeom>
            <a:noFill/>
            <a:ln w="32213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7" name="Freihandform: Form 136">
              <a:extLst>
                <a:ext uri="{FF2B5EF4-FFF2-40B4-BE49-F238E27FC236}">
                  <a16:creationId xmlns:a16="http://schemas.microsoft.com/office/drawing/2014/main" id="{558C5E1B-8F5E-4933-9A98-237AF23EB18F}"/>
                </a:ext>
              </a:extLst>
            </p:cNvPr>
            <p:cNvSpPr/>
            <p:nvPr/>
          </p:nvSpPr>
          <p:spPr>
            <a:xfrm>
              <a:off x="627446" y="2768934"/>
              <a:ext cx="95499" cy="91972"/>
            </a:xfrm>
            <a:custGeom>
              <a:avLst/>
              <a:gdLst>
                <a:gd name="connsiteX0" fmla="*/ 95500 w 95499"/>
                <a:gd name="connsiteY0" fmla="*/ 91973 h 91972"/>
                <a:gd name="connsiteX1" fmla="*/ 63531 w 95499"/>
                <a:gd name="connsiteY1" fmla="*/ 0 h 91972"/>
                <a:gd name="connsiteX2" fmla="*/ 0 w 95499"/>
                <a:gd name="connsiteY2" fmla="*/ 73734 h 91972"/>
                <a:gd name="connsiteX3" fmla="*/ 95500 w 95499"/>
                <a:gd name="connsiteY3" fmla="*/ 91973 h 91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499" h="91972">
                  <a:moveTo>
                    <a:pt x="95500" y="91973"/>
                  </a:moveTo>
                  <a:lnTo>
                    <a:pt x="63531" y="0"/>
                  </a:lnTo>
                  <a:lnTo>
                    <a:pt x="0" y="73734"/>
                  </a:lnTo>
                  <a:lnTo>
                    <a:pt x="95500" y="91973"/>
                  </a:lnTo>
                  <a:close/>
                </a:path>
              </a:pathLst>
            </a:custGeom>
            <a:grpFill/>
            <a:ln w="404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38" name="Grafik 105">
            <a:extLst>
              <a:ext uri="{FF2B5EF4-FFF2-40B4-BE49-F238E27FC236}">
                <a16:creationId xmlns:a16="http://schemas.microsoft.com/office/drawing/2014/main" id="{B0AE5EC6-9B53-4483-8FCA-657C2B28F9DB}"/>
              </a:ext>
            </a:extLst>
          </p:cNvPr>
          <p:cNvSpPr/>
          <p:nvPr/>
        </p:nvSpPr>
        <p:spPr>
          <a:xfrm>
            <a:off x="1895918" y="3700163"/>
            <a:ext cx="790531" cy="790531"/>
          </a:xfrm>
          <a:custGeom>
            <a:avLst/>
            <a:gdLst>
              <a:gd name="connsiteX0" fmla="*/ 395215 w 790531"/>
              <a:gd name="connsiteY0" fmla="*/ -49 h 790531"/>
              <a:gd name="connsiteX1" fmla="*/ -50 w 790531"/>
              <a:gd name="connsiteY1" fmla="*/ 395217 h 790531"/>
              <a:gd name="connsiteX2" fmla="*/ 395215 w 790531"/>
              <a:gd name="connsiteY2" fmla="*/ 790482 h 790531"/>
              <a:gd name="connsiteX3" fmla="*/ 790481 w 790531"/>
              <a:gd name="connsiteY3" fmla="*/ 395217 h 790531"/>
              <a:gd name="connsiteX4" fmla="*/ 395215 w 790531"/>
              <a:gd name="connsiteY4" fmla="*/ -49 h 790531"/>
              <a:gd name="connsiteX5" fmla="*/ 395215 w 790531"/>
              <a:gd name="connsiteY5" fmla="*/ 761095 h 790531"/>
              <a:gd name="connsiteX6" fmla="*/ 49153 w 790531"/>
              <a:gd name="connsiteY6" fmla="*/ 514027 h 790531"/>
              <a:gd name="connsiteX7" fmla="*/ 176360 w 790531"/>
              <a:gd name="connsiteY7" fmla="*/ 514027 h 790531"/>
              <a:gd name="connsiteX8" fmla="*/ 231945 w 790531"/>
              <a:gd name="connsiteY8" fmla="*/ 570956 h 790531"/>
              <a:gd name="connsiteX9" fmla="*/ 231945 w 790531"/>
              <a:gd name="connsiteY9" fmla="*/ 608236 h 790531"/>
              <a:gd name="connsiteX10" fmla="*/ 207924 w 790531"/>
              <a:gd name="connsiteY10" fmla="*/ 654634 h 790531"/>
              <a:gd name="connsiteX11" fmla="*/ 254322 w 790531"/>
              <a:gd name="connsiteY11" fmla="*/ 678656 h 790531"/>
              <a:gd name="connsiteX12" fmla="*/ 278343 w 790531"/>
              <a:gd name="connsiteY12" fmla="*/ 632258 h 790531"/>
              <a:gd name="connsiteX13" fmla="*/ 254322 w 790531"/>
              <a:gd name="connsiteY13" fmla="*/ 608236 h 790531"/>
              <a:gd name="connsiteX14" fmla="*/ 254322 w 790531"/>
              <a:gd name="connsiteY14" fmla="*/ 562055 h 790531"/>
              <a:gd name="connsiteX15" fmla="*/ 185764 w 790531"/>
              <a:gd name="connsiteY15" fmla="*/ 491693 h 790531"/>
              <a:gd name="connsiteX16" fmla="*/ 42268 w 790531"/>
              <a:gd name="connsiteY16" fmla="*/ 491693 h 790531"/>
              <a:gd name="connsiteX17" fmla="*/ 35719 w 790531"/>
              <a:gd name="connsiteY17" fmla="*/ 463396 h 790531"/>
              <a:gd name="connsiteX18" fmla="*/ 197939 w 790531"/>
              <a:gd name="connsiteY18" fmla="*/ 463396 h 790531"/>
              <a:gd name="connsiteX19" fmla="*/ 278420 w 790531"/>
              <a:gd name="connsiteY19" fmla="*/ 544842 h 790531"/>
              <a:gd name="connsiteX20" fmla="*/ 330604 w 790531"/>
              <a:gd name="connsiteY20" fmla="*/ 544842 h 790531"/>
              <a:gd name="connsiteX21" fmla="*/ 376988 w 790531"/>
              <a:gd name="connsiteY21" fmla="*/ 568892 h 790531"/>
              <a:gd name="connsiteX22" fmla="*/ 401037 w 790531"/>
              <a:gd name="connsiteY22" fmla="*/ 522508 h 790531"/>
              <a:gd name="connsiteX23" fmla="*/ 354653 w 790531"/>
              <a:gd name="connsiteY23" fmla="*/ 498459 h 790531"/>
              <a:gd name="connsiteX24" fmla="*/ 330604 w 790531"/>
              <a:gd name="connsiteY24" fmla="*/ 522508 h 790531"/>
              <a:gd name="connsiteX25" fmla="*/ 287782 w 790531"/>
              <a:gd name="connsiteY25" fmla="*/ 522508 h 790531"/>
              <a:gd name="connsiteX26" fmla="*/ 275439 w 790531"/>
              <a:gd name="connsiteY26" fmla="*/ 510165 h 790531"/>
              <a:gd name="connsiteX27" fmla="*/ 358733 w 790531"/>
              <a:gd name="connsiteY27" fmla="*/ 428845 h 790531"/>
              <a:gd name="connsiteX28" fmla="*/ 397189 w 790531"/>
              <a:gd name="connsiteY28" fmla="*/ 428845 h 790531"/>
              <a:gd name="connsiteX29" fmla="*/ 466418 w 790531"/>
              <a:gd name="connsiteY29" fmla="*/ 499711 h 790531"/>
              <a:gd name="connsiteX30" fmla="*/ 466418 w 790531"/>
              <a:gd name="connsiteY30" fmla="*/ 533297 h 790531"/>
              <a:gd name="connsiteX31" fmla="*/ 449519 w 790531"/>
              <a:gd name="connsiteY31" fmla="*/ 582737 h 790531"/>
              <a:gd name="connsiteX32" fmla="*/ 498959 w 790531"/>
              <a:gd name="connsiteY32" fmla="*/ 599635 h 790531"/>
              <a:gd name="connsiteX33" fmla="*/ 515857 w 790531"/>
              <a:gd name="connsiteY33" fmla="*/ 550196 h 790531"/>
              <a:gd name="connsiteX34" fmla="*/ 488753 w 790531"/>
              <a:gd name="connsiteY34" fmla="*/ 530023 h 790531"/>
              <a:gd name="connsiteX35" fmla="*/ 488753 w 790531"/>
              <a:gd name="connsiteY35" fmla="*/ 490685 h 790531"/>
              <a:gd name="connsiteX36" fmla="*/ 428424 w 790531"/>
              <a:gd name="connsiteY36" fmla="*/ 428887 h 790531"/>
              <a:gd name="connsiteX37" fmla="*/ 480314 w 790531"/>
              <a:gd name="connsiteY37" fmla="*/ 428887 h 790531"/>
              <a:gd name="connsiteX38" fmla="*/ 526712 w 790531"/>
              <a:gd name="connsiteY38" fmla="*/ 452908 h 790531"/>
              <a:gd name="connsiteX39" fmla="*/ 550734 w 790531"/>
              <a:gd name="connsiteY39" fmla="*/ 406510 h 790531"/>
              <a:gd name="connsiteX40" fmla="*/ 504335 w 790531"/>
              <a:gd name="connsiteY40" fmla="*/ 382489 h 790531"/>
              <a:gd name="connsiteX41" fmla="*/ 480314 w 790531"/>
              <a:gd name="connsiteY41" fmla="*/ 406510 h 790531"/>
              <a:gd name="connsiteX42" fmla="*/ 349748 w 790531"/>
              <a:gd name="connsiteY42" fmla="*/ 406510 h 790531"/>
              <a:gd name="connsiteX43" fmla="*/ 259822 w 790531"/>
              <a:gd name="connsiteY43" fmla="*/ 494296 h 790531"/>
              <a:gd name="connsiteX44" fmla="*/ 207259 w 790531"/>
              <a:gd name="connsiteY44" fmla="*/ 441062 h 790531"/>
              <a:gd name="connsiteX45" fmla="*/ 32192 w 790531"/>
              <a:gd name="connsiteY45" fmla="*/ 441062 h 790531"/>
              <a:gd name="connsiteX46" fmla="*/ 29757 w 790531"/>
              <a:gd name="connsiteY46" fmla="*/ 412933 h 790531"/>
              <a:gd name="connsiteX47" fmla="*/ 280435 w 790531"/>
              <a:gd name="connsiteY47" fmla="*/ 412933 h 790531"/>
              <a:gd name="connsiteX48" fmla="*/ 330436 w 790531"/>
              <a:gd name="connsiteY48" fmla="*/ 364108 h 790531"/>
              <a:gd name="connsiteX49" fmla="*/ 598705 w 790531"/>
              <a:gd name="connsiteY49" fmla="*/ 364108 h 790531"/>
              <a:gd name="connsiteX50" fmla="*/ 645147 w 790531"/>
              <a:gd name="connsiteY50" fmla="*/ 388173 h 790531"/>
              <a:gd name="connsiteX51" fmla="*/ 669212 w 790531"/>
              <a:gd name="connsiteY51" fmla="*/ 341731 h 790531"/>
              <a:gd name="connsiteX52" fmla="*/ 622770 w 790531"/>
              <a:gd name="connsiteY52" fmla="*/ 317665 h 790531"/>
              <a:gd name="connsiteX53" fmla="*/ 598705 w 790531"/>
              <a:gd name="connsiteY53" fmla="*/ 341731 h 790531"/>
              <a:gd name="connsiteX54" fmla="*/ 441774 w 790531"/>
              <a:gd name="connsiteY54" fmla="*/ 341731 h 790531"/>
              <a:gd name="connsiteX55" fmla="*/ 499080 w 790531"/>
              <a:gd name="connsiteY55" fmla="*/ 282955 h 790531"/>
              <a:gd name="connsiteX56" fmla="*/ 499080 w 790531"/>
              <a:gd name="connsiteY56" fmla="*/ 242988 h 790531"/>
              <a:gd name="connsiteX57" fmla="*/ 525849 w 790531"/>
              <a:gd name="connsiteY57" fmla="*/ 198188 h 790531"/>
              <a:gd name="connsiteX58" fmla="*/ 481049 w 790531"/>
              <a:gd name="connsiteY58" fmla="*/ 171419 h 790531"/>
              <a:gd name="connsiteX59" fmla="*/ 454280 w 790531"/>
              <a:gd name="connsiteY59" fmla="*/ 216219 h 790531"/>
              <a:gd name="connsiteX60" fmla="*/ 476704 w 790531"/>
              <a:gd name="connsiteY60" fmla="*/ 241602 h 790531"/>
              <a:gd name="connsiteX61" fmla="*/ 476704 w 790531"/>
              <a:gd name="connsiteY61" fmla="*/ 274013 h 790531"/>
              <a:gd name="connsiteX62" fmla="*/ 410539 w 790531"/>
              <a:gd name="connsiteY62" fmla="*/ 341773 h 790531"/>
              <a:gd name="connsiteX63" fmla="*/ 321326 w 790531"/>
              <a:gd name="connsiteY63" fmla="*/ 341773 h 790531"/>
              <a:gd name="connsiteX64" fmla="*/ 271241 w 790531"/>
              <a:gd name="connsiteY64" fmla="*/ 390557 h 790531"/>
              <a:gd name="connsiteX65" fmla="*/ 29379 w 790531"/>
              <a:gd name="connsiteY65" fmla="*/ 390557 h 790531"/>
              <a:gd name="connsiteX66" fmla="*/ 30807 w 790531"/>
              <a:gd name="connsiteY66" fmla="*/ 362428 h 790531"/>
              <a:gd name="connsiteX67" fmla="*/ 207134 w 790531"/>
              <a:gd name="connsiteY67" fmla="*/ 362428 h 790531"/>
              <a:gd name="connsiteX68" fmla="*/ 287656 w 790531"/>
              <a:gd name="connsiteY68" fmla="*/ 280982 h 790531"/>
              <a:gd name="connsiteX69" fmla="*/ 330478 w 790531"/>
              <a:gd name="connsiteY69" fmla="*/ 280982 h 790531"/>
              <a:gd name="connsiteX70" fmla="*/ 376876 w 790531"/>
              <a:gd name="connsiteY70" fmla="*/ 305004 h 790531"/>
              <a:gd name="connsiteX71" fmla="*/ 400898 w 790531"/>
              <a:gd name="connsiteY71" fmla="*/ 258605 h 790531"/>
              <a:gd name="connsiteX72" fmla="*/ 354500 w 790531"/>
              <a:gd name="connsiteY72" fmla="*/ 234584 h 790531"/>
              <a:gd name="connsiteX73" fmla="*/ 330478 w 790531"/>
              <a:gd name="connsiteY73" fmla="*/ 258605 h 790531"/>
              <a:gd name="connsiteX74" fmla="*/ 278420 w 790531"/>
              <a:gd name="connsiteY74" fmla="*/ 258605 h 790531"/>
              <a:gd name="connsiteX75" fmla="*/ 197939 w 790531"/>
              <a:gd name="connsiteY75" fmla="*/ 340052 h 790531"/>
              <a:gd name="connsiteX76" fmla="*/ 33494 w 790531"/>
              <a:gd name="connsiteY76" fmla="*/ 340052 h 790531"/>
              <a:gd name="connsiteX77" fmla="*/ 38867 w 790531"/>
              <a:gd name="connsiteY77" fmla="*/ 312091 h 790531"/>
              <a:gd name="connsiteX78" fmla="*/ 185806 w 790531"/>
              <a:gd name="connsiteY78" fmla="*/ 312091 h 790531"/>
              <a:gd name="connsiteX79" fmla="*/ 254448 w 790531"/>
              <a:gd name="connsiteY79" fmla="*/ 241896 h 790531"/>
              <a:gd name="connsiteX80" fmla="*/ 254448 w 790531"/>
              <a:gd name="connsiteY80" fmla="*/ 200586 h 790531"/>
              <a:gd name="connsiteX81" fmla="*/ 278513 w 790531"/>
              <a:gd name="connsiteY81" fmla="*/ 154143 h 790531"/>
              <a:gd name="connsiteX82" fmla="*/ 232071 w 790531"/>
              <a:gd name="connsiteY82" fmla="*/ 130078 h 790531"/>
              <a:gd name="connsiteX83" fmla="*/ 208006 w 790531"/>
              <a:gd name="connsiteY83" fmla="*/ 176520 h 790531"/>
              <a:gd name="connsiteX84" fmla="*/ 232071 w 790531"/>
              <a:gd name="connsiteY84" fmla="*/ 200586 h 790531"/>
              <a:gd name="connsiteX85" fmla="*/ 232071 w 790531"/>
              <a:gd name="connsiteY85" fmla="*/ 232828 h 790531"/>
              <a:gd name="connsiteX86" fmla="*/ 176360 w 790531"/>
              <a:gd name="connsiteY86" fmla="*/ 289715 h 790531"/>
              <a:gd name="connsiteX87" fmla="*/ 44871 w 790531"/>
              <a:gd name="connsiteY87" fmla="*/ 289715 h 790531"/>
              <a:gd name="connsiteX88" fmla="*/ 500710 w 790531"/>
              <a:gd name="connsiteY88" fmla="*/ 44880 h 790531"/>
              <a:gd name="connsiteX89" fmla="*/ 745545 w 790531"/>
              <a:gd name="connsiteY89" fmla="*/ 500719 h 790531"/>
              <a:gd name="connsiteX90" fmla="*/ 395215 w 790531"/>
              <a:gd name="connsiteY90" fmla="*/ 761095 h 790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</a:cxnLst>
            <a:rect l="l" t="t" r="r" b="b"/>
            <a:pathLst>
              <a:path w="790531" h="790531">
                <a:moveTo>
                  <a:pt x="395215" y="-49"/>
                </a:moveTo>
                <a:cubicBezTo>
                  <a:pt x="176916" y="-49"/>
                  <a:pt x="-50" y="176917"/>
                  <a:pt x="-50" y="395217"/>
                </a:cubicBezTo>
                <a:cubicBezTo>
                  <a:pt x="-50" y="613516"/>
                  <a:pt x="176916" y="790482"/>
                  <a:pt x="395215" y="790482"/>
                </a:cubicBezTo>
                <a:cubicBezTo>
                  <a:pt x="613515" y="790482"/>
                  <a:pt x="790481" y="613516"/>
                  <a:pt x="790481" y="395217"/>
                </a:cubicBezTo>
                <a:cubicBezTo>
                  <a:pt x="790227" y="177023"/>
                  <a:pt x="613409" y="205"/>
                  <a:pt x="395215" y="-49"/>
                </a:cubicBezTo>
                <a:close/>
                <a:moveTo>
                  <a:pt x="395215" y="761095"/>
                </a:moveTo>
                <a:cubicBezTo>
                  <a:pt x="238995" y="760908"/>
                  <a:pt x="100063" y="661720"/>
                  <a:pt x="49153" y="514027"/>
                </a:cubicBezTo>
                <a:lnTo>
                  <a:pt x="176360" y="514027"/>
                </a:lnTo>
                <a:lnTo>
                  <a:pt x="231945" y="570956"/>
                </a:lnTo>
                <a:lnTo>
                  <a:pt x="231945" y="608236"/>
                </a:lnTo>
                <a:cubicBezTo>
                  <a:pt x="212499" y="614415"/>
                  <a:pt x="201745" y="635188"/>
                  <a:pt x="207924" y="654634"/>
                </a:cubicBezTo>
                <a:cubicBezTo>
                  <a:pt x="214103" y="674080"/>
                  <a:pt x="234876" y="684835"/>
                  <a:pt x="254322" y="678656"/>
                </a:cubicBezTo>
                <a:cubicBezTo>
                  <a:pt x="273768" y="672477"/>
                  <a:pt x="284523" y="651703"/>
                  <a:pt x="278343" y="632258"/>
                </a:cubicBezTo>
                <a:cubicBezTo>
                  <a:pt x="274711" y="620826"/>
                  <a:pt x="265754" y="611869"/>
                  <a:pt x="254322" y="608236"/>
                </a:cubicBezTo>
                <a:lnTo>
                  <a:pt x="254322" y="562055"/>
                </a:lnTo>
                <a:lnTo>
                  <a:pt x="185764" y="491693"/>
                </a:lnTo>
                <a:lnTo>
                  <a:pt x="42268" y="491693"/>
                </a:lnTo>
                <a:cubicBezTo>
                  <a:pt x="39707" y="482414"/>
                  <a:pt x="37566" y="472968"/>
                  <a:pt x="35719" y="463396"/>
                </a:cubicBezTo>
                <a:lnTo>
                  <a:pt x="197939" y="463396"/>
                </a:lnTo>
                <a:lnTo>
                  <a:pt x="278420" y="544842"/>
                </a:lnTo>
                <a:lnTo>
                  <a:pt x="330604" y="544842"/>
                </a:lnTo>
                <a:cubicBezTo>
                  <a:pt x="336772" y="564292"/>
                  <a:pt x="357539" y="575059"/>
                  <a:pt x="376988" y="568892"/>
                </a:cubicBezTo>
                <a:cubicBezTo>
                  <a:pt x="396438" y="562724"/>
                  <a:pt x="407205" y="541957"/>
                  <a:pt x="401037" y="522508"/>
                </a:cubicBezTo>
                <a:cubicBezTo>
                  <a:pt x="394870" y="503058"/>
                  <a:pt x="374103" y="492291"/>
                  <a:pt x="354653" y="498459"/>
                </a:cubicBezTo>
                <a:cubicBezTo>
                  <a:pt x="343204" y="502089"/>
                  <a:pt x="334235" y="511059"/>
                  <a:pt x="330604" y="522508"/>
                </a:cubicBezTo>
                <a:lnTo>
                  <a:pt x="287782" y="522508"/>
                </a:lnTo>
                <a:lnTo>
                  <a:pt x="275439" y="510165"/>
                </a:lnTo>
                <a:lnTo>
                  <a:pt x="358733" y="428845"/>
                </a:lnTo>
                <a:lnTo>
                  <a:pt x="397189" y="428845"/>
                </a:lnTo>
                <a:lnTo>
                  <a:pt x="466418" y="499711"/>
                </a:lnTo>
                <a:lnTo>
                  <a:pt x="466418" y="533297"/>
                </a:lnTo>
                <a:cubicBezTo>
                  <a:pt x="448099" y="542283"/>
                  <a:pt x="440533" y="564418"/>
                  <a:pt x="449519" y="582737"/>
                </a:cubicBezTo>
                <a:cubicBezTo>
                  <a:pt x="458505" y="601055"/>
                  <a:pt x="480640" y="608621"/>
                  <a:pt x="498959" y="599635"/>
                </a:cubicBezTo>
                <a:cubicBezTo>
                  <a:pt x="517278" y="590649"/>
                  <a:pt x="524843" y="568514"/>
                  <a:pt x="515857" y="550196"/>
                </a:cubicBezTo>
                <a:cubicBezTo>
                  <a:pt x="510607" y="539492"/>
                  <a:pt x="500513" y="531980"/>
                  <a:pt x="488753" y="530023"/>
                </a:cubicBezTo>
                <a:lnTo>
                  <a:pt x="488753" y="490685"/>
                </a:lnTo>
                <a:lnTo>
                  <a:pt x="428424" y="428887"/>
                </a:lnTo>
                <a:lnTo>
                  <a:pt x="480314" y="428887"/>
                </a:lnTo>
                <a:cubicBezTo>
                  <a:pt x="486493" y="448332"/>
                  <a:pt x="507266" y="459087"/>
                  <a:pt x="526712" y="452908"/>
                </a:cubicBezTo>
                <a:cubicBezTo>
                  <a:pt x="546158" y="446729"/>
                  <a:pt x="556913" y="425956"/>
                  <a:pt x="550734" y="406510"/>
                </a:cubicBezTo>
                <a:cubicBezTo>
                  <a:pt x="544554" y="387064"/>
                  <a:pt x="523781" y="376309"/>
                  <a:pt x="504335" y="382489"/>
                </a:cubicBezTo>
                <a:cubicBezTo>
                  <a:pt x="492903" y="386121"/>
                  <a:pt x="483947" y="395078"/>
                  <a:pt x="480314" y="406510"/>
                </a:cubicBezTo>
                <a:lnTo>
                  <a:pt x="349748" y="406510"/>
                </a:lnTo>
                <a:lnTo>
                  <a:pt x="259822" y="494296"/>
                </a:lnTo>
                <a:lnTo>
                  <a:pt x="207259" y="441062"/>
                </a:lnTo>
                <a:lnTo>
                  <a:pt x="32192" y="441062"/>
                </a:lnTo>
                <a:cubicBezTo>
                  <a:pt x="31017" y="431783"/>
                  <a:pt x="30219" y="422379"/>
                  <a:pt x="29757" y="412933"/>
                </a:cubicBezTo>
                <a:lnTo>
                  <a:pt x="280435" y="412933"/>
                </a:lnTo>
                <a:lnTo>
                  <a:pt x="330436" y="364108"/>
                </a:lnTo>
                <a:lnTo>
                  <a:pt x="598705" y="364108"/>
                </a:lnTo>
                <a:cubicBezTo>
                  <a:pt x="604884" y="383578"/>
                  <a:pt x="625677" y="394352"/>
                  <a:pt x="645147" y="388173"/>
                </a:cubicBezTo>
                <a:cubicBezTo>
                  <a:pt x="664617" y="381994"/>
                  <a:pt x="675392" y="361201"/>
                  <a:pt x="669212" y="341731"/>
                </a:cubicBezTo>
                <a:cubicBezTo>
                  <a:pt x="663033" y="322261"/>
                  <a:pt x="642240" y="311486"/>
                  <a:pt x="622770" y="317665"/>
                </a:cubicBezTo>
                <a:cubicBezTo>
                  <a:pt x="611315" y="321301"/>
                  <a:pt x="602340" y="330276"/>
                  <a:pt x="598705" y="341731"/>
                </a:cubicBezTo>
                <a:lnTo>
                  <a:pt x="441774" y="341731"/>
                </a:lnTo>
                <a:lnTo>
                  <a:pt x="499080" y="282955"/>
                </a:lnTo>
                <a:lnTo>
                  <a:pt x="499080" y="242988"/>
                </a:lnTo>
                <a:cubicBezTo>
                  <a:pt x="518843" y="238009"/>
                  <a:pt x="530828" y="217951"/>
                  <a:pt x="525849" y="198188"/>
                </a:cubicBezTo>
                <a:cubicBezTo>
                  <a:pt x="520870" y="178425"/>
                  <a:pt x="500812" y="166440"/>
                  <a:pt x="481049" y="171419"/>
                </a:cubicBezTo>
                <a:cubicBezTo>
                  <a:pt x="461286" y="176398"/>
                  <a:pt x="449301" y="196456"/>
                  <a:pt x="454280" y="216219"/>
                </a:cubicBezTo>
                <a:cubicBezTo>
                  <a:pt x="457201" y="227813"/>
                  <a:pt x="465558" y="237274"/>
                  <a:pt x="476704" y="241602"/>
                </a:cubicBezTo>
                <a:lnTo>
                  <a:pt x="476704" y="274013"/>
                </a:lnTo>
                <a:lnTo>
                  <a:pt x="410539" y="341773"/>
                </a:lnTo>
                <a:lnTo>
                  <a:pt x="321326" y="341773"/>
                </a:lnTo>
                <a:lnTo>
                  <a:pt x="271241" y="390557"/>
                </a:lnTo>
                <a:lnTo>
                  <a:pt x="29379" y="390557"/>
                </a:lnTo>
                <a:cubicBezTo>
                  <a:pt x="29379" y="381069"/>
                  <a:pt x="30009" y="371706"/>
                  <a:pt x="30807" y="362428"/>
                </a:cubicBezTo>
                <a:lnTo>
                  <a:pt x="207134" y="362428"/>
                </a:lnTo>
                <a:lnTo>
                  <a:pt x="287656" y="280982"/>
                </a:lnTo>
                <a:lnTo>
                  <a:pt x="330478" y="280982"/>
                </a:lnTo>
                <a:cubicBezTo>
                  <a:pt x="336657" y="300428"/>
                  <a:pt x="357431" y="311183"/>
                  <a:pt x="376876" y="305004"/>
                </a:cubicBezTo>
                <a:cubicBezTo>
                  <a:pt x="396322" y="298824"/>
                  <a:pt x="407077" y="278051"/>
                  <a:pt x="400898" y="258605"/>
                </a:cubicBezTo>
                <a:cubicBezTo>
                  <a:pt x="394719" y="239160"/>
                  <a:pt x="373946" y="228405"/>
                  <a:pt x="354500" y="234584"/>
                </a:cubicBezTo>
                <a:cubicBezTo>
                  <a:pt x="343068" y="238217"/>
                  <a:pt x="334111" y="247173"/>
                  <a:pt x="330478" y="258605"/>
                </a:cubicBezTo>
                <a:lnTo>
                  <a:pt x="278420" y="258605"/>
                </a:lnTo>
                <a:lnTo>
                  <a:pt x="197939" y="340052"/>
                </a:lnTo>
                <a:lnTo>
                  <a:pt x="33494" y="340052"/>
                </a:lnTo>
                <a:cubicBezTo>
                  <a:pt x="34921" y="330620"/>
                  <a:pt x="36712" y="321299"/>
                  <a:pt x="38867" y="312091"/>
                </a:cubicBezTo>
                <a:lnTo>
                  <a:pt x="185806" y="312091"/>
                </a:lnTo>
                <a:lnTo>
                  <a:pt x="254448" y="241896"/>
                </a:lnTo>
                <a:lnTo>
                  <a:pt x="254448" y="200586"/>
                </a:lnTo>
                <a:cubicBezTo>
                  <a:pt x="273918" y="194406"/>
                  <a:pt x="284693" y="173614"/>
                  <a:pt x="278513" y="154143"/>
                </a:cubicBezTo>
                <a:cubicBezTo>
                  <a:pt x="272334" y="134673"/>
                  <a:pt x="251541" y="123899"/>
                  <a:pt x="232071" y="130078"/>
                </a:cubicBezTo>
                <a:cubicBezTo>
                  <a:pt x="212601" y="136257"/>
                  <a:pt x="201827" y="157050"/>
                  <a:pt x="208006" y="176520"/>
                </a:cubicBezTo>
                <a:cubicBezTo>
                  <a:pt x="211641" y="187975"/>
                  <a:pt x="220616" y="196950"/>
                  <a:pt x="232071" y="200586"/>
                </a:cubicBezTo>
                <a:lnTo>
                  <a:pt x="232071" y="232828"/>
                </a:lnTo>
                <a:lnTo>
                  <a:pt x="176360" y="289715"/>
                </a:lnTo>
                <a:lnTo>
                  <a:pt x="44871" y="289715"/>
                </a:lnTo>
                <a:cubicBezTo>
                  <a:pt x="103138" y="96229"/>
                  <a:pt x="307224" y="-13388"/>
                  <a:pt x="500710" y="44880"/>
                </a:cubicBezTo>
                <a:cubicBezTo>
                  <a:pt x="694196" y="103147"/>
                  <a:pt x="803812" y="307233"/>
                  <a:pt x="745545" y="500719"/>
                </a:cubicBezTo>
                <a:cubicBezTo>
                  <a:pt x="698996" y="655292"/>
                  <a:pt x="556645" y="761091"/>
                  <a:pt x="395215" y="761095"/>
                </a:cubicBezTo>
                <a:close/>
              </a:path>
            </a:pathLst>
          </a:custGeom>
          <a:solidFill>
            <a:schemeClr val="bg1"/>
          </a:solidFill>
          <a:ln w="41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139" name="Gruppieren 138">
            <a:extLst>
              <a:ext uri="{FF2B5EF4-FFF2-40B4-BE49-F238E27FC236}">
                <a16:creationId xmlns:a16="http://schemas.microsoft.com/office/drawing/2014/main" id="{16DAD18B-DB30-4DF2-8687-49BC3CCA5F2F}"/>
              </a:ext>
            </a:extLst>
          </p:cNvPr>
          <p:cNvGrpSpPr/>
          <p:nvPr/>
        </p:nvGrpSpPr>
        <p:grpSpPr>
          <a:xfrm>
            <a:off x="5703244" y="3737752"/>
            <a:ext cx="790617" cy="715353"/>
            <a:chOff x="5703244" y="2520522"/>
            <a:chExt cx="790617" cy="715353"/>
          </a:xfrm>
          <a:solidFill>
            <a:schemeClr val="bg1"/>
          </a:solidFill>
        </p:grpSpPr>
        <p:sp>
          <p:nvSpPr>
            <p:cNvPr id="140" name="Freihandform: Form 139">
              <a:extLst>
                <a:ext uri="{FF2B5EF4-FFF2-40B4-BE49-F238E27FC236}">
                  <a16:creationId xmlns:a16="http://schemas.microsoft.com/office/drawing/2014/main" id="{9493787A-ACDD-4BDF-B597-692FF18493D6}"/>
                </a:ext>
              </a:extLst>
            </p:cNvPr>
            <p:cNvSpPr/>
            <p:nvPr/>
          </p:nvSpPr>
          <p:spPr>
            <a:xfrm>
              <a:off x="6025294" y="2776197"/>
              <a:ext cx="147939" cy="177573"/>
            </a:xfrm>
            <a:custGeom>
              <a:avLst/>
              <a:gdLst>
                <a:gd name="connsiteX0" fmla="*/ 76003 w 147939"/>
                <a:gd name="connsiteY0" fmla="*/ 152213 h 177573"/>
                <a:gd name="connsiteX1" fmla="*/ 73902 w 147939"/>
                <a:gd name="connsiteY1" fmla="*/ 152213 h 177573"/>
                <a:gd name="connsiteX2" fmla="*/ 41988 w 147939"/>
                <a:gd name="connsiteY2" fmla="*/ 146905 h 177573"/>
                <a:gd name="connsiteX3" fmla="*/ 18867 w 147939"/>
                <a:gd name="connsiteY3" fmla="*/ 131750 h 177573"/>
                <a:gd name="connsiteX4" fmla="*/ 4711 w 147939"/>
                <a:gd name="connsiteY4" fmla="*/ 107691 h 177573"/>
                <a:gd name="connsiteX5" fmla="*/ 4711 w 147939"/>
                <a:gd name="connsiteY5" fmla="*/ 44247 h 177573"/>
                <a:gd name="connsiteX6" fmla="*/ 18738 w 147939"/>
                <a:gd name="connsiteY6" fmla="*/ 20274 h 177573"/>
                <a:gd name="connsiteX7" fmla="*/ 41902 w 147939"/>
                <a:gd name="connsiteY7" fmla="*/ 5205 h 177573"/>
                <a:gd name="connsiteX8" fmla="*/ 105901 w 147939"/>
                <a:gd name="connsiteY8" fmla="*/ 5205 h 177573"/>
                <a:gd name="connsiteX9" fmla="*/ 129022 w 147939"/>
                <a:gd name="connsiteY9" fmla="*/ 20274 h 177573"/>
                <a:gd name="connsiteX10" fmla="*/ 143092 w 147939"/>
                <a:gd name="connsiteY10" fmla="*/ 44247 h 177573"/>
                <a:gd name="connsiteX11" fmla="*/ 147853 w 147939"/>
                <a:gd name="connsiteY11" fmla="*/ 76055 h 177573"/>
                <a:gd name="connsiteX12" fmla="*/ 138330 w 147939"/>
                <a:gd name="connsiteY12" fmla="*/ 118650 h 177573"/>
                <a:gd name="connsiteX13" fmla="*/ 110234 w 147939"/>
                <a:gd name="connsiteY13" fmla="*/ 144807 h 177573"/>
                <a:gd name="connsiteX14" fmla="*/ 145108 w 147939"/>
                <a:gd name="connsiteY14" fmla="*/ 177514 h 177573"/>
                <a:gd name="connsiteX15" fmla="*/ 100711 w 147939"/>
                <a:gd name="connsiteY15" fmla="*/ 177514 h 177573"/>
                <a:gd name="connsiteX16" fmla="*/ 40529 w 147939"/>
                <a:gd name="connsiteY16" fmla="*/ 76055 h 177573"/>
                <a:gd name="connsiteX17" fmla="*/ 42416 w 147939"/>
                <a:gd name="connsiteY17" fmla="*/ 93692 h 177573"/>
                <a:gd name="connsiteX18" fmla="*/ 48336 w 147939"/>
                <a:gd name="connsiteY18" fmla="*/ 108761 h 177573"/>
                <a:gd name="connsiteX19" fmla="*/ 58674 w 147939"/>
                <a:gd name="connsiteY19" fmla="*/ 119207 h 177573"/>
                <a:gd name="connsiteX20" fmla="*/ 89129 w 147939"/>
                <a:gd name="connsiteY20" fmla="*/ 119207 h 177573"/>
                <a:gd name="connsiteX21" fmla="*/ 99467 w 147939"/>
                <a:gd name="connsiteY21" fmla="*/ 108761 h 177573"/>
                <a:gd name="connsiteX22" fmla="*/ 105387 w 147939"/>
                <a:gd name="connsiteY22" fmla="*/ 93692 h 177573"/>
                <a:gd name="connsiteX23" fmla="*/ 107274 w 147939"/>
                <a:gd name="connsiteY23" fmla="*/ 76055 h 177573"/>
                <a:gd name="connsiteX24" fmla="*/ 105387 w 147939"/>
                <a:gd name="connsiteY24" fmla="*/ 58032 h 177573"/>
                <a:gd name="connsiteX25" fmla="*/ 99467 w 147939"/>
                <a:gd name="connsiteY25" fmla="*/ 43048 h 177573"/>
                <a:gd name="connsiteX26" fmla="*/ 89129 w 147939"/>
                <a:gd name="connsiteY26" fmla="*/ 32860 h 177573"/>
                <a:gd name="connsiteX27" fmla="*/ 58674 w 147939"/>
                <a:gd name="connsiteY27" fmla="*/ 32860 h 177573"/>
                <a:gd name="connsiteX28" fmla="*/ 48336 w 147939"/>
                <a:gd name="connsiteY28" fmla="*/ 43048 h 177573"/>
                <a:gd name="connsiteX29" fmla="*/ 42416 w 147939"/>
                <a:gd name="connsiteY29" fmla="*/ 58032 h 177573"/>
                <a:gd name="connsiteX30" fmla="*/ 40529 w 147939"/>
                <a:gd name="connsiteY30" fmla="*/ 76055 h 177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7939" h="177573">
                  <a:moveTo>
                    <a:pt x="76003" y="152213"/>
                  </a:moveTo>
                  <a:lnTo>
                    <a:pt x="73902" y="152213"/>
                  </a:lnTo>
                  <a:cubicBezTo>
                    <a:pt x="63027" y="152411"/>
                    <a:pt x="52209" y="150612"/>
                    <a:pt x="41988" y="146905"/>
                  </a:cubicBezTo>
                  <a:cubicBezTo>
                    <a:pt x="33237" y="143653"/>
                    <a:pt x="25333" y="138473"/>
                    <a:pt x="18867" y="131750"/>
                  </a:cubicBezTo>
                  <a:cubicBezTo>
                    <a:pt x="12447" y="124857"/>
                    <a:pt x="7615" y="116645"/>
                    <a:pt x="4711" y="107691"/>
                  </a:cubicBezTo>
                  <a:cubicBezTo>
                    <a:pt x="-1637" y="87018"/>
                    <a:pt x="-1637" y="64921"/>
                    <a:pt x="4711" y="44247"/>
                  </a:cubicBezTo>
                  <a:cubicBezTo>
                    <a:pt x="7580" y="35331"/>
                    <a:pt x="12367" y="27149"/>
                    <a:pt x="18738" y="20274"/>
                  </a:cubicBezTo>
                  <a:cubicBezTo>
                    <a:pt x="25226" y="13576"/>
                    <a:pt x="33143" y="8426"/>
                    <a:pt x="41902" y="5205"/>
                  </a:cubicBezTo>
                  <a:cubicBezTo>
                    <a:pt x="62655" y="-1815"/>
                    <a:pt x="85148" y="-1815"/>
                    <a:pt x="105901" y="5205"/>
                  </a:cubicBezTo>
                  <a:cubicBezTo>
                    <a:pt x="114652" y="8415"/>
                    <a:pt x="122558" y="13568"/>
                    <a:pt x="129022" y="20274"/>
                  </a:cubicBezTo>
                  <a:cubicBezTo>
                    <a:pt x="135416" y="27139"/>
                    <a:pt x="140220" y="35323"/>
                    <a:pt x="143092" y="44247"/>
                  </a:cubicBezTo>
                  <a:cubicBezTo>
                    <a:pt x="146400" y="54521"/>
                    <a:pt x="148008" y="65264"/>
                    <a:pt x="147853" y="76055"/>
                  </a:cubicBezTo>
                  <a:cubicBezTo>
                    <a:pt x="148279" y="90823"/>
                    <a:pt x="145006" y="105464"/>
                    <a:pt x="138330" y="118650"/>
                  </a:cubicBezTo>
                  <a:cubicBezTo>
                    <a:pt x="132190" y="130283"/>
                    <a:pt x="122288" y="139502"/>
                    <a:pt x="110234" y="144807"/>
                  </a:cubicBezTo>
                  <a:lnTo>
                    <a:pt x="145108" y="177514"/>
                  </a:lnTo>
                  <a:lnTo>
                    <a:pt x="100711" y="177514"/>
                  </a:lnTo>
                  <a:close/>
                  <a:moveTo>
                    <a:pt x="40529" y="76055"/>
                  </a:moveTo>
                  <a:cubicBezTo>
                    <a:pt x="40499" y="81986"/>
                    <a:pt x="41132" y="87901"/>
                    <a:pt x="42416" y="93692"/>
                  </a:cubicBezTo>
                  <a:cubicBezTo>
                    <a:pt x="43535" y="99009"/>
                    <a:pt x="45536" y="104102"/>
                    <a:pt x="48336" y="108761"/>
                  </a:cubicBezTo>
                  <a:cubicBezTo>
                    <a:pt x="50903" y="113012"/>
                    <a:pt x="54447" y="116592"/>
                    <a:pt x="58674" y="119207"/>
                  </a:cubicBezTo>
                  <a:cubicBezTo>
                    <a:pt x="68159" y="124401"/>
                    <a:pt x="79645" y="124401"/>
                    <a:pt x="89129" y="119207"/>
                  </a:cubicBezTo>
                  <a:cubicBezTo>
                    <a:pt x="93357" y="116592"/>
                    <a:pt x="96900" y="113012"/>
                    <a:pt x="99467" y="108761"/>
                  </a:cubicBezTo>
                  <a:cubicBezTo>
                    <a:pt x="102249" y="104093"/>
                    <a:pt x="104248" y="99003"/>
                    <a:pt x="105387" y="93692"/>
                  </a:cubicBezTo>
                  <a:cubicBezTo>
                    <a:pt x="106650" y="87898"/>
                    <a:pt x="107282" y="81985"/>
                    <a:pt x="107274" y="76055"/>
                  </a:cubicBezTo>
                  <a:cubicBezTo>
                    <a:pt x="107294" y="69997"/>
                    <a:pt x="106661" y="63955"/>
                    <a:pt x="105387" y="58032"/>
                  </a:cubicBezTo>
                  <a:cubicBezTo>
                    <a:pt x="104256" y="52745"/>
                    <a:pt x="102256" y="47682"/>
                    <a:pt x="99467" y="43048"/>
                  </a:cubicBezTo>
                  <a:cubicBezTo>
                    <a:pt x="96893" y="38872"/>
                    <a:pt x="93347" y="35377"/>
                    <a:pt x="89129" y="32860"/>
                  </a:cubicBezTo>
                  <a:cubicBezTo>
                    <a:pt x="79615" y="27783"/>
                    <a:pt x="68189" y="27783"/>
                    <a:pt x="58674" y="32860"/>
                  </a:cubicBezTo>
                  <a:cubicBezTo>
                    <a:pt x="54457" y="35377"/>
                    <a:pt x="50911" y="38872"/>
                    <a:pt x="48336" y="43048"/>
                  </a:cubicBezTo>
                  <a:cubicBezTo>
                    <a:pt x="45529" y="47673"/>
                    <a:pt x="43527" y="52739"/>
                    <a:pt x="42416" y="58032"/>
                  </a:cubicBezTo>
                  <a:cubicBezTo>
                    <a:pt x="41122" y="63951"/>
                    <a:pt x="40489" y="69996"/>
                    <a:pt x="40529" y="76055"/>
                  </a:cubicBezTo>
                  <a:close/>
                </a:path>
              </a:pathLst>
            </a:custGeom>
            <a:grpFill/>
            <a:ln w="424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41" name="Grafik 106">
              <a:extLst>
                <a:ext uri="{FF2B5EF4-FFF2-40B4-BE49-F238E27FC236}">
                  <a16:creationId xmlns:a16="http://schemas.microsoft.com/office/drawing/2014/main" id="{24623152-0529-4237-9E70-459A9ADAF58D}"/>
                </a:ext>
              </a:extLst>
            </p:cNvPr>
            <p:cNvGrpSpPr/>
            <p:nvPr/>
          </p:nvGrpSpPr>
          <p:grpSpPr>
            <a:xfrm>
              <a:off x="5703244" y="2520522"/>
              <a:ext cx="790617" cy="715353"/>
              <a:chOff x="5703244" y="2520522"/>
              <a:chExt cx="790617" cy="715353"/>
            </a:xfrm>
            <a:grpFill/>
          </p:grpSpPr>
          <p:sp>
            <p:nvSpPr>
              <p:cNvPr id="142" name="Freihandform: Form 141">
                <a:extLst>
                  <a:ext uri="{FF2B5EF4-FFF2-40B4-BE49-F238E27FC236}">
                    <a16:creationId xmlns:a16="http://schemas.microsoft.com/office/drawing/2014/main" id="{D4AA2A68-F416-451A-811F-98C58AEA26F4}"/>
                  </a:ext>
                </a:extLst>
              </p:cNvPr>
              <p:cNvSpPr/>
              <p:nvPr/>
            </p:nvSpPr>
            <p:spPr>
              <a:xfrm>
                <a:off x="5703244" y="2734941"/>
                <a:ext cx="582997" cy="493128"/>
              </a:xfrm>
              <a:custGeom>
                <a:avLst/>
                <a:gdLst>
                  <a:gd name="connsiteX0" fmla="*/ 194816 w 582997"/>
                  <a:gd name="connsiteY0" fmla="*/ 479181 h 493128"/>
                  <a:gd name="connsiteX1" fmla="*/ 186237 w 582997"/>
                  <a:gd name="connsiteY1" fmla="*/ 471604 h 493128"/>
                  <a:gd name="connsiteX2" fmla="*/ 166677 w 582997"/>
                  <a:gd name="connsiteY2" fmla="*/ 441637 h 493128"/>
                  <a:gd name="connsiteX3" fmla="*/ 156210 w 582997"/>
                  <a:gd name="connsiteY3" fmla="*/ 392278 h 493128"/>
                  <a:gd name="connsiteX4" fmla="*/ 156210 w 582997"/>
                  <a:gd name="connsiteY4" fmla="*/ 352422 h 493128"/>
                  <a:gd name="connsiteX5" fmla="*/ 164489 w 582997"/>
                  <a:gd name="connsiteY5" fmla="*/ 292489 h 493128"/>
                  <a:gd name="connsiteX6" fmla="*/ 168092 w 582997"/>
                  <a:gd name="connsiteY6" fmla="*/ 276392 h 493128"/>
                  <a:gd name="connsiteX7" fmla="*/ 165990 w 582997"/>
                  <a:gd name="connsiteY7" fmla="*/ 272967 h 493128"/>
                  <a:gd name="connsiteX8" fmla="*/ 126398 w 582997"/>
                  <a:gd name="connsiteY8" fmla="*/ 260553 h 493128"/>
                  <a:gd name="connsiteX9" fmla="*/ 101776 w 582997"/>
                  <a:gd name="connsiteY9" fmla="*/ 250749 h 493128"/>
                  <a:gd name="connsiteX10" fmla="*/ 68618 w 582997"/>
                  <a:gd name="connsiteY10" fmla="*/ 234524 h 493128"/>
                  <a:gd name="connsiteX11" fmla="*/ 21905 w 582997"/>
                  <a:gd name="connsiteY11" fmla="*/ 197323 h 493128"/>
                  <a:gd name="connsiteX12" fmla="*/ 2216 w 582997"/>
                  <a:gd name="connsiteY12" fmla="*/ 161106 h 493128"/>
                  <a:gd name="connsiteX13" fmla="*/ 3846 w 582997"/>
                  <a:gd name="connsiteY13" fmla="*/ 119837 h 493128"/>
                  <a:gd name="connsiteX14" fmla="*/ 23578 w 582997"/>
                  <a:gd name="connsiteY14" fmla="*/ 87131 h 493128"/>
                  <a:gd name="connsiteX15" fmla="*/ 35117 w 582997"/>
                  <a:gd name="connsiteY15" fmla="*/ 75401 h 493128"/>
                  <a:gd name="connsiteX16" fmla="*/ 36275 w 582997"/>
                  <a:gd name="connsiteY16" fmla="*/ 71120 h 493128"/>
                  <a:gd name="connsiteX17" fmla="*/ 35717 w 582997"/>
                  <a:gd name="connsiteY17" fmla="*/ 41538 h 493128"/>
                  <a:gd name="connsiteX18" fmla="*/ 68790 w 582997"/>
                  <a:gd name="connsiteY18" fmla="*/ 3994 h 493128"/>
                  <a:gd name="connsiteX19" fmla="*/ 97529 w 582997"/>
                  <a:gd name="connsiteY19" fmla="*/ 655 h 493128"/>
                  <a:gd name="connsiteX20" fmla="*/ 145057 w 582997"/>
                  <a:gd name="connsiteY20" fmla="*/ 56650 h 493128"/>
                  <a:gd name="connsiteX21" fmla="*/ 87818 w 582997"/>
                  <a:gd name="connsiteY21" fmla="*/ 110790 h 493128"/>
                  <a:gd name="connsiteX22" fmla="*/ 67245 w 582997"/>
                  <a:gd name="connsiteY22" fmla="*/ 106267 h 493128"/>
                  <a:gd name="connsiteX23" fmla="*/ 53948 w 582997"/>
                  <a:gd name="connsiteY23" fmla="*/ 97962 h 493128"/>
                  <a:gd name="connsiteX24" fmla="*/ 49873 w 582997"/>
                  <a:gd name="connsiteY24" fmla="*/ 98218 h 493128"/>
                  <a:gd name="connsiteX25" fmla="*/ 30141 w 582997"/>
                  <a:gd name="connsiteY25" fmla="*/ 125916 h 493128"/>
                  <a:gd name="connsiteX26" fmla="*/ 27396 w 582997"/>
                  <a:gd name="connsiteY26" fmla="*/ 151131 h 493128"/>
                  <a:gd name="connsiteX27" fmla="*/ 40607 w 582997"/>
                  <a:gd name="connsiteY27" fmla="*/ 178230 h 493128"/>
                  <a:gd name="connsiteX28" fmla="*/ 62441 w 582997"/>
                  <a:gd name="connsiteY28" fmla="*/ 198650 h 493128"/>
                  <a:gd name="connsiteX29" fmla="*/ 98773 w 582997"/>
                  <a:gd name="connsiteY29" fmla="*/ 220312 h 493128"/>
                  <a:gd name="connsiteX30" fmla="*/ 123481 w 582997"/>
                  <a:gd name="connsiteY30" fmla="*/ 230971 h 493128"/>
                  <a:gd name="connsiteX31" fmla="*/ 162087 w 582997"/>
                  <a:gd name="connsiteY31" fmla="*/ 244199 h 493128"/>
                  <a:gd name="connsiteX32" fmla="*/ 189969 w 582997"/>
                  <a:gd name="connsiteY32" fmla="*/ 251391 h 493128"/>
                  <a:gd name="connsiteX33" fmla="*/ 286269 w 582997"/>
                  <a:gd name="connsiteY33" fmla="*/ 267702 h 493128"/>
                  <a:gd name="connsiteX34" fmla="*/ 319555 w 582997"/>
                  <a:gd name="connsiteY34" fmla="*/ 270784 h 493128"/>
                  <a:gd name="connsiteX35" fmla="*/ 382268 w 582997"/>
                  <a:gd name="connsiteY35" fmla="*/ 272711 h 493128"/>
                  <a:gd name="connsiteX36" fmla="*/ 451973 w 582997"/>
                  <a:gd name="connsiteY36" fmla="*/ 270442 h 493128"/>
                  <a:gd name="connsiteX37" fmla="*/ 507737 w 582997"/>
                  <a:gd name="connsiteY37" fmla="*/ 264834 h 493128"/>
                  <a:gd name="connsiteX38" fmla="*/ 555694 w 582997"/>
                  <a:gd name="connsiteY38" fmla="*/ 257427 h 493128"/>
                  <a:gd name="connsiteX39" fmla="*/ 574139 w 582997"/>
                  <a:gd name="connsiteY39" fmla="*/ 253489 h 493128"/>
                  <a:gd name="connsiteX40" fmla="*/ 577099 w 582997"/>
                  <a:gd name="connsiteY40" fmla="*/ 254945 h 493128"/>
                  <a:gd name="connsiteX41" fmla="*/ 582761 w 582997"/>
                  <a:gd name="connsiteY41" fmla="*/ 276349 h 493128"/>
                  <a:gd name="connsiteX42" fmla="*/ 580788 w 582997"/>
                  <a:gd name="connsiteY42" fmla="*/ 279175 h 493128"/>
                  <a:gd name="connsiteX43" fmla="*/ 520134 w 582997"/>
                  <a:gd name="connsiteY43" fmla="*/ 290048 h 493128"/>
                  <a:gd name="connsiteX44" fmla="*/ 456863 w 582997"/>
                  <a:gd name="connsiteY44" fmla="*/ 296641 h 493128"/>
                  <a:gd name="connsiteX45" fmla="*/ 396424 w 582997"/>
                  <a:gd name="connsiteY45" fmla="*/ 299295 h 493128"/>
                  <a:gd name="connsiteX46" fmla="*/ 370300 w 582997"/>
                  <a:gd name="connsiteY46" fmla="*/ 299295 h 493128"/>
                  <a:gd name="connsiteX47" fmla="*/ 346451 w 582997"/>
                  <a:gd name="connsiteY47" fmla="*/ 298396 h 493128"/>
                  <a:gd name="connsiteX48" fmla="*/ 313807 w 582997"/>
                  <a:gd name="connsiteY48" fmla="*/ 296812 h 493128"/>
                  <a:gd name="connsiteX49" fmla="*/ 221540 w 582997"/>
                  <a:gd name="connsiteY49" fmla="*/ 285254 h 493128"/>
                  <a:gd name="connsiteX50" fmla="*/ 197819 w 582997"/>
                  <a:gd name="connsiteY50" fmla="*/ 280502 h 493128"/>
                  <a:gd name="connsiteX51" fmla="*/ 193872 w 582997"/>
                  <a:gd name="connsiteY51" fmla="*/ 283070 h 493128"/>
                  <a:gd name="connsiteX52" fmla="*/ 184778 w 582997"/>
                  <a:gd name="connsiteY52" fmla="*/ 333329 h 493128"/>
                  <a:gd name="connsiteX53" fmla="*/ 182076 w 582997"/>
                  <a:gd name="connsiteY53" fmla="*/ 365479 h 493128"/>
                  <a:gd name="connsiteX54" fmla="*/ 189497 w 582997"/>
                  <a:gd name="connsiteY54" fmla="*/ 425798 h 493128"/>
                  <a:gd name="connsiteX55" fmla="*/ 205926 w 582997"/>
                  <a:gd name="connsiteY55" fmla="*/ 453239 h 493128"/>
                  <a:gd name="connsiteX56" fmla="*/ 239556 w 582997"/>
                  <a:gd name="connsiteY56" fmla="*/ 466082 h 493128"/>
                  <a:gd name="connsiteX57" fmla="*/ 278762 w 582997"/>
                  <a:gd name="connsiteY57" fmla="*/ 457135 h 493128"/>
                  <a:gd name="connsiteX58" fmla="*/ 330236 w 582997"/>
                  <a:gd name="connsiteY58" fmla="*/ 426654 h 493128"/>
                  <a:gd name="connsiteX59" fmla="*/ 394837 w 582997"/>
                  <a:gd name="connsiteY59" fmla="*/ 367577 h 493128"/>
                  <a:gd name="connsiteX60" fmla="*/ 429582 w 582997"/>
                  <a:gd name="connsiteY60" fmla="*/ 327079 h 493128"/>
                  <a:gd name="connsiteX61" fmla="*/ 437517 w 582997"/>
                  <a:gd name="connsiteY61" fmla="*/ 317190 h 493128"/>
                  <a:gd name="connsiteX62" fmla="*/ 440777 w 582997"/>
                  <a:gd name="connsiteY62" fmla="*/ 315734 h 493128"/>
                  <a:gd name="connsiteX63" fmla="*/ 470418 w 582997"/>
                  <a:gd name="connsiteY63" fmla="*/ 314750 h 493128"/>
                  <a:gd name="connsiteX64" fmla="*/ 471791 w 582997"/>
                  <a:gd name="connsiteY64" fmla="*/ 315092 h 493128"/>
                  <a:gd name="connsiteX65" fmla="*/ 471276 w 582997"/>
                  <a:gd name="connsiteY65" fmla="*/ 316462 h 493128"/>
                  <a:gd name="connsiteX66" fmla="*/ 462182 w 582997"/>
                  <a:gd name="connsiteY66" fmla="*/ 328834 h 493128"/>
                  <a:gd name="connsiteX67" fmla="*/ 445024 w 582997"/>
                  <a:gd name="connsiteY67" fmla="*/ 350239 h 493128"/>
                  <a:gd name="connsiteX68" fmla="*/ 411180 w 582997"/>
                  <a:gd name="connsiteY68" fmla="*/ 388767 h 493128"/>
                  <a:gd name="connsiteX69" fmla="*/ 371716 w 582997"/>
                  <a:gd name="connsiteY69" fmla="*/ 426996 h 493128"/>
                  <a:gd name="connsiteX70" fmla="*/ 350054 w 582997"/>
                  <a:gd name="connsiteY70" fmla="*/ 444805 h 493128"/>
                  <a:gd name="connsiteX71" fmla="*/ 306901 w 582997"/>
                  <a:gd name="connsiteY71" fmla="*/ 473616 h 493128"/>
                  <a:gd name="connsiteX72" fmla="*/ 253625 w 582997"/>
                  <a:gd name="connsiteY72" fmla="*/ 492067 h 493128"/>
                  <a:gd name="connsiteX73" fmla="*/ 214419 w 582997"/>
                  <a:gd name="connsiteY73" fmla="*/ 489156 h 493128"/>
                  <a:gd name="connsiteX74" fmla="*/ 209743 w 582997"/>
                  <a:gd name="connsiteY74" fmla="*/ 487658 h 493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</a:cxnLst>
                <a:rect l="l" t="t" r="r" b="b"/>
                <a:pathLst>
                  <a:path w="582997" h="493128">
                    <a:moveTo>
                      <a:pt x="194816" y="479181"/>
                    </a:moveTo>
                    <a:cubicBezTo>
                      <a:pt x="191942" y="476656"/>
                      <a:pt x="188982" y="474258"/>
                      <a:pt x="186237" y="471604"/>
                    </a:cubicBezTo>
                    <a:cubicBezTo>
                      <a:pt x="177724" y="463062"/>
                      <a:pt x="171065" y="452861"/>
                      <a:pt x="166677" y="441637"/>
                    </a:cubicBezTo>
                    <a:cubicBezTo>
                      <a:pt x="160558" y="425851"/>
                      <a:pt x="157024" y="409185"/>
                      <a:pt x="156210" y="392278"/>
                    </a:cubicBezTo>
                    <a:cubicBezTo>
                      <a:pt x="155374" y="379006"/>
                      <a:pt x="155374" y="365694"/>
                      <a:pt x="156210" y="352422"/>
                    </a:cubicBezTo>
                    <a:cubicBezTo>
                      <a:pt x="157598" y="332279"/>
                      <a:pt x="160364" y="312255"/>
                      <a:pt x="164489" y="292489"/>
                    </a:cubicBezTo>
                    <a:cubicBezTo>
                      <a:pt x="165561" y="287095"/>
                      <a:pt x="166934" y="281786"/>
                      <a:pt x="168092" y="276392"/>
                    </a:cubicBezTo>
                    <a:cubicBezTo>
                      <a:pt x="168650" y="273738"/>
                      <a:pt x="168564" y="273738"/>
                      <a:pt x="165990" y="272967"/>
                    </a:cubicBezTo>
                    <a:cubicBezTo>
                      <a:pt x="152778" y="268686"/>
                      <a:pt x="139481" y="265005"/>
                      <a:pt x="126398" y="260553"/>
                    </a:cubicBezTo>
                    <a:cubicBezTo>
                      <a:pt x="117819" y="257727"/>
                      <a:pt x="109926" y="254131"/>
                      <a:pt x="101776" y="250749"/>
                    </a:cubicBezTo>
                    <a:cubicBezTo>
                      <a:pt x="90337" y="246165"/>
                      <a:pt x="79254" y="240742"/>
                      <a:pt x="68618" y="234524"/>
                    </a:cubicBezTo>
                    <a:cubicBezTo>
                      <a:pt x="51096" y="224783"/>
                      <a:pt x="35311" y="212212"/>
                      <a:pt x="21905" y="197323"/>
                    </a:cubicBezTo>
                    <a:cubicBezTo>
                      <a:pt x="12645" y="186918"/>
                      <a:pt x="5909" y="174526"/>
                      <a:pt x="2216" y="161106"/>
                    </a:cubicBezTo>
                    <a:cubicBezTo>
                      <a:pt x="-1285" y="147485"/>
                      <a:pt x="-718" y="133140"/>
                      <a:pt x="3846" y="119837"/>
                    </a:cubicBezTo>
                    <a:cubicBezTo>
                      <a:pt x="8077" y="107686"/>
                      <a:pt x="14797" y="96547"/>
                      <a:pt x="23578" y="87131"/>
                    </a:cubicBezTo>
                    <a:cubicBezTo>
                      <a:pt x="27224" y="82850"/>
                      <a:pt x="31170" y="79168"/>
                      <a:pt x="35117" y="75401"/>
                    </a:cubicBezTo>
                    <a:cubicBezTo>
                      <a:pt x="36457" y="74419"/>
                      <a:pt x="36938" y="72642"/>
                      <a:pt x="36275" y="71120"/>
                    </a:cubicBezTo>
                    <a:cubicBezTo>
                      <a:pt x="33186" y="61527"/>
                      <a:pt x="32992" y="51240"/>
                      <a:pt x="35717" y="41538"/>
                    </a:cubicBezTo>
                    <a:cubicBezTo>
                      <a:pt x="40007" y="24422"/>
                      <a:pt x="52329" y="10433"/>
                      <a:pt x="68790" y="3994"/>
                    </a:cubicBezTo>
                    <a:cubicBezTo>
                      <a:pt x="77859" y="187"/>
                      <a:pt x="87826" y="-971"/>
                      <a:pt x="97529" y="655"/>
                    </a:cubicBezTo>
                    <a:cubicBezTo>
                      <a:pt x="125324" y="4561"/>
                      <a:pt x="145767" y="28646"/>
                      <a:pt x="145057" y="56650"/>
                    </a:cubicBezTo>
                    <a:cubicBezTo>
                      <a:pt x="144231" y="87375"/>
                      <a:pt x="118604" y="111614"/>
                      <a:pt x="87818" y="110790"/>
                    </a:cubicBezTo>
                    <a:cubicBezTo>
                      <a:pt x="80735" y="110600"/>
                      <a:pt x="73753" y="109065"/>
                      <a:pt x="67245" y="106267"/>
                    </a:cubicBezTo>
                    <a:cubicBezTo>
                      <a:pt x="62475" y="104077"/>
                      <a:pt x="58006" y="101286"/>
                      <a:pt x="53948" y="97962"/>
                    </a:cubicBezTo>
                    <a:cubicBezTo>
                      <a:pt x="51932" y="96378"/>
                      <a:pt x="51846" y="96420"/>
                      <a:pt x="49873" y="98218"/>
                    </a:cubicBezTo>
                    <a:cubicBezTo>
                      <a:pt x="41375" y="105926"/>
                      <a:pt x="34644" y="115374"/>
                      <a:pt x="30141" y="125916"/>
                    </a:cubicBezTo>
                    <a:cubicBezTo>
                      <a:pt x="26695" y="133851"/>
                      <a:pt x="25738" y="142642"/>
                      <a:pt x="27396" y="151131"/>
                    </a:cubicBezTo>
                    <a:cubicBezTo>
                      <a:pt x="29395" y="161146"/>
                      <a:pt x="33945" y="170479"/>
                      <a:pt x="40607" y="178230"/>
                    </a:cubicBezTo>
                    <a:cubicBezTo>
                      <a:pt x="47062" y="185863"/>
                      <a:pt x="54390" y="192717"/>
                      <a:pt x="62441" y="198650"/>
                    </a:cubicBezTo>
                    <a:cubicBezTo>
                      <a:pt x="73872" y="206949"/>
                      <a:pt x="86033" y="214199"/>
                      <a:pt x="98773" y="220312"/>
                    </a:cubicBezTo>
                    <a:cubicBezTo>
                      <a:pt x="106752" y="224378"/>
                      <a:pt x="115245" y="227461"/>
                      <a:pt x="123481" y="230971"/>
                    </a:cubicBezTo>
                    <a:cubicBezTo>
                      <a:pt x="136094" y="236091"/>
                      <a:pt x="148983" y="240507"/>
                      <a:pt x="162087" y="244199"/>
                    </a:cubicBezTo>
                    <a:cubicBezTo>
                      <a:pt x="171266" y="246939"/>
                      <a:pt x="180660" y="249037"/>
                      <a:pt x="189969" y="251391"/>
                    </a:cubicBezTo>
                    <a:cubicBezTo>
                      <a:pt x="221633" y="259135"/>
                      <a:pt x="253817" y="264586"/>
                      <a:pt x="286269" y="267702"/>
                    </a:cubicBezTo>
                    <a:cubicBezTo>
                      <a:pt x="297336" y="268900"/>
                      <a:pt x="308445" y="270270"/>
                      <a:pt x="319555" y="270784"/>
                    </a:cubicBezTo>
                    <a:cubicBezTo>
                      <a:pt x="340460" y="271726"/>
                      <a:pt x="361364" y="272368"/>
                      <a:pt x="382268" y="272711"/>
                    </a:cubicBezTo>
                    <a:cubicBezTo>
                      <a:pt x="405517" y="273096"/>
                      <a:pt x="428767" y="272240"/>
                      <a:pt x="451973" y="270442"/>
                    </a:cubicBezTo>
                    <a:cubicBezTo>
                      <a:pt x="470532" y="268986"/>
                      <a:pt x="489120" y="267117"/>
                      <a:pt x="507737" y="264834"/>
                    </a:cubicBezTo>
                    <a:cubicBezTo>
                      <a:pt x="523780" y="262864"/>
                      <a:pt x="539737" y="260082"/>
                      <a:pt x="555694" y="257427"/>
                    </a:cubicBezTo>
                    <a:cubicBezTo>
                      <a:pt x="561914" y="256443"/>
                      <a:pt x="568005" y="254859"/>
                      <a:pt x="574139" y="253489"/>
                    </a:cubicBezTo>
                    <a:cubicBezTo>
                      <a:pt x="575640" y="253147"/>
                      <a:pt x="576670" y="253489"/>
                      <a:pt x="577099" y="254945"/>
                    </a:cubicBezTo>
                    <a:lnTo>
                      <a:pt x="582761" y="276349"/>
                    </a:lnTo>
                    <a:cubicBezTo>
                      <a:pt x="583275" y="278147"/>
                      <a:pt x="582761" y="278790"/>
                      <a:pt x="580788" y="279175"/>
                    </a:cubicBezTo>
                    <a:cubicBezTo>
                      <a:pt x="560713" y="283456"/>
                      <a:pt x="540466" y="287095"/>
                      <a:pt x="520134" y="290048"/>
                    </a:cubicBezTo>
                    <a:cubicBezTo>
                      <a:pt x="499115" y="293131"/>
                      <a:pt x="478010" y="294843"/>
                      <a:pt x="456863" y="296641"/>
                    </a:cubicBezTo>
                    <a:cubicBezTo>
                      <a:pt x="436745" y="298354"/>
                      <a:pt x="416627" y="298953"/>
                      <a:pt x="396424" y="299295"/>
                    </a:cubicBezTo>
                    <a:cubicBezTo>
                      <a:pt x="387845" y="299295"/>
                      <a:pt x="379008" y="299295"/>
                      <a:pt x="370300" y="299295"/>
                    </a:cubicBezTo>
                    <a:cubicBezTo>
                      <a:pt x="362365" y="299295"/>
                      <a:pt x="354386" y="298782"/>
                      <a:pt x="346451" y="298396"/>
                    </a:cubicBezTo>
                    <a:cubicBezTo>
                      <a:pt x="335555" y="297925"/>
                      <a:pt x="324703" y="297540"/>
                      <a:pt x="313807" y="296812"/>
                    </a:cubicBezTo>
                    <a:cubicBezTo>
                      <a:pt x="282855" y="294728"/>
                      <a:pt x="252048" y="290868"/>
                      <a:pt x="221540" y="285254"/>
                    </a:cubicBezTo>
                    <a:cubicBezTo>
                      <a:pt x="213604" y="283798"/>
                      <a:pt x="205711" y="282086"/>
                      <a:pt x="197819" y="280502"/>
                    </a:cubicBezTo>
                    <a:cubicBezTo>
                      <a:pt x="194687" y="279860"/>
                      <a:pt x="194601" y="279817"/>
                      <a:pt x="193872" y="283070"/>
                    </a:cubicBezTo>
                    <a:cubicBezTo>
                      <a:pt x="189879" y="299636"/>
                      <a:pt x="186842" y="316416"/>
                      <a:pt x="184778" y="333329"/>
                    </a:cubicBezTo>
                    <a:cubicBezTo>
                      <a:pt x="183577" y="343989"/>
                      <a:pt x="182376" y="354734"/>
                      <a:pt x="182076" y="365479"/>
                    </a:cubicBezTo>
                    <a:cubicBezTo>
                      <a:pt x="180926" y="385866"/>
                      <a:pt x="183439" y="406294"/>
                      <a:pt x="189497" y="425798"/>
                    </a:cubicBezTo>
                    <a:cubicBezTo>
                      <a:pt x="192663" y="436139"/>
                      <a:pt x="198302" y="445556"/>
                      <a:pt x="205926" y="453239"/>
                    </a:cubicBezTo>
                    <a:cubicBezTo>
                      <a:pt x="214952" y="461854"/>
                      <a:pt x="227072" y="466482"/>
                      <a:pt x="239556" y="466082"/>
                    </a:cubicBezTo>
                    <a:cubicBezTo>
                      <a:pt x="253098" y="465787"/>
                      <a:pt x="266438" y="462743"/>
                      <a:pt x="278762" y="457135"/>
                    </a:cubicBezTo>
                    <a:cubicBezTo>
                      <a:pt x="297128" y="449159"/>
                      <a:pt x="314421" y="438920"/>
                      <a:pt x="330236" y="426654"/>
                    </a:cubicBezTo>
                    <a:cubicBezTo>
                      <a:pt x="353491" y="408922"/>
                      <a:pt x="375110" y="389151"/>
                      <a:pt x="394837" y="367577"/>
                    </a:cubicBezTo>
                    <a:cubicBezTo>
                      <a:pt x="406933" y="354520"/>
                      <a:pt x="418600" y="341078"/>
                      <a:pt x="429582" y="327079"/>
                    </a:cubicBezTo>
                    <a:cubicBezTo>
                      <a:pt x="432155" y="323740"/>
                      <a:pt x="434944" y="320529"/>
                      <a:pt x="437517" y="317190"/>
                    </a:cubicBezTo>
                    <a:cubicBezTo>
                      <a:pt x="438275" y="316170"/>
                      <a:pt x="439511" y="315619"/>
                      <a:pt x="440777" y="315734"/>
                    </a:cubicBezTo>
                    <a:lnTo>
                      <a:pt x="470418" y="314750"/>
                    </a:lnTo>
                    <a:cubicBezTo>
                      <a:pt x="470885" y="314823"/>
                      <a:pt x="471344" y="314938"/>
                      <a:pt x="471791" y="315092"/>
                    </a:cubicBezTo>
                    <a:cubicBezTo>
                      <a:pt x="471671" y="315567"/>
                      <a:pt x="471499" y="316026"/>
                      <a:pt x="471276" y="316462"/>
                    </a:cubicBezTo>
                    <a:cubicBezTo>
                      <a:pt x="468273" y="320743"/>
                      <a:pt x="465356" y="324810"/>
                      <a:pt x="462182" y="328834"/>
                    </a:cubicBezTo>
                    <a:cubicBezTo>
                      <a:pt x="456606" y="336026"/>
                      <a:pt x="450944" y="343090"/>
                      <a:pt x="445024" y="350239"/>
                    </a:cubicBezTo>
                    <a:cubicBezTo>
                      <a:pt x="434257" y="363595"/>
                      <a:pt x="422933" y="376481"/>
                      <a:pt x="411180" y="388767"/>
                    </a:cubicBezTo>
                    <a:cubicBezTo>
                      <a:pt x="398678" y="402165"/>
                      <a:pt x="385507" y="414924"/>
                      <a:pt x="371716" y="426996"/>
                    </a:cubicBezTo>
                    <a:cubicBezTo>
                      <a:pt x="364638" y="433118"/>
                      <a:pt x="357518" y="439197"/>
                      <a:pt x="350054" y="444805"/>
                    </a:cubicBezTo>
                    <a:cubicBezTo>
                      <a:pt x="336483" y="455570"/>
                      <a:pt x="322051" y="465206"/>
                      <a:pt x="306901" y="473616"/>
                    </a:cubicBezTo>
                    <a:cubicBezTo>
                      <a:pt x="290341" y="482784"/>
                      <a:pt x="272317" y="489026"/>
                      <a:pt x="253625" y="492067"/>
                    </a:cubicBezTo>
                    <a:cubicBezTo>
                      <a:pt x="240504" y="494062"/>
                      <a:pt x="227100" y="493067"/>
                      <a:pt x="214419" y="489156"/>
                    </a:cubicBezTo>
                    <a:lnTo>
                      <a:pt x="209743" y="487658"/>
                    </a:lnTo>
                    <a:close/>
                  </a:path>
                </a:pathLst>
              </a:custGeom>
              <a:grpFill/>
              <a:ln w="42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3" name="Freihandform: Form 142">
                <a:extLst>
                  <a:ext uri="{FF2B5EF4-FFF2-40B4-BE49-F238E27FC236}">
                    <a16:creationId xmlns:a16="http://schemas.microsoft.com/office/drawing/2014/main" id="{984017FB-8671-4E2B-AE27-9E3DB552C4CB}"/>
                  </a:ext>
                </a:extLst>
              </p:cNvPr>
              <p:cNvSpPr/>
              <p:nvPr/>
            </p:nvSpPr>
            <p:spPr>
              <a:xfrm>
                <a:off x="6107631" y="2642958"/>
                <a:ext cx="386230" cy="592917"/>
              </a:xfrm>
              <a:custGeom>
                <a:avLst/>
                <a:gdLst>
                  <a:gd name="connsiteX0" fmla="*/ 215779 w 386230"/>
                  <a:gd name="connsiteY0" fmla="*/ 549417 h 592917"/>
                  <a:gd name="connsiteX1" fmla="*/ 206342 w 386230"/>
                  <a:gd name="connsiteY1" fmla="*/ 559862 h 592917"/>
                  <a:gd name="connsiteX2" fmla="*/ 179060 w 386230"/>
                  <a:gd name="connsiteY2" fmla="*/ 576644 h 592917"/>
                  <a:gd name="connsiteX3" fmla="*/ 136165 w 386230"/>
                  <a:gd name="connsiteY3" fmla="*/ 579255 h 592917"/>
                  <a:gd name="connsiteX4" fmla="*/ 115618 w 386230"/>
                  <a:gd name="connsiteY4" fmla="*/ 574417 h 592917"/>
                  <a:gd name="connsiteX5" fmla="*/ 111672 w 386230"/>
                  <a:gd name="connsiteY5" fmla="*/ 575445 h 592917"/>
                  <a:gd name="connsiteX6" fmla="*/ 50460 w 386230"/>
                  <a:gd name="connsiteY6" fmla="*/ 588716 h 592917"/>
                  <a:gd name="connsiteX7" fmla="*/ 18675 w 386230"/>
                  <a:gd name="connsiteY7" fmla="*/ 519407 h 592917"/>
                  <a:gd name="connsiteX8" fmla="*/ 81988 w 386230"/>
                  <a:gd name="connsiteY8" fmla="*/ 483019 h 592917"/>
                  <a:gd name="connsiteX9" fmla="*/ 111672 w 386230"/>
                  <a:gd name="connsiteY9" fmla="*/ 499543 h 592917"/>
                  <a:gd name="connsiteX10" fmla="*/ 125999 w 386230"/>
                  <a:gd name="connsiteY10" fmla="*/ 546292 h 592917"/>
                  <a:gd name="connsiteX11" fmla="*/ 128015 w 386230"/>
                  <a:gd name="connsiteY11" fmla="*/ 550273 h 592917"/>
                  <a:gd name="connsiteX12" fmla="*/ 164176 w 386230"/>
                  <a:gd name="connsiteY12" fmla="*/ 553098 h 592917"/>
                  <a:gd name="connsiteX13" fmla="*/ 192872 w 386230"/>
                  <a:gd name="connsiteY13" fmla="*/ 535247 h 592917"/>
                  <a:gd name="connsiteX14" fmla="*/ 207500 w 386230"/>
                  <a:gd name="connsiteY14" fmla="*/ 498602 h 592917"/>
                  <a:gd name="connsiteX15" fmla="*/ 210073 w 386230"/>
                  <a:gd name="connsiteY15" fmla="*/ 456092 h 592917"/>
                  <a:gd name="connsiteX16" fmla="*/ 203296 w 386230"/>
                  <a:gd name="connsiteY16" fmla="*/ 401509 h 592917"/>
                  <a:gd name="connsiteX17" fmla="*/ 188283 w 386230"/>
                  <a:gd name="connsiteY17" fmla="*/ 343031 h 592917"/>
                  <a:gd name="connsiteX18" fmla="*/ 178417 w 386230"/>
                  <a:gd name="connsiteY18" fmla="*/ 313536 h 592917"/>
                  <a:gd name="connsiteX19" fmla="*/ 160701 w 386230"/>
                  <a:gd name="connsiteY19" fmla="*/ 269698 h 592917"/>
                  <a:gd name="connsiteX20" fmla="*/ 133463 w 386230"/>
                  <a:gd name="connsiteY20" fmla="*/ 212334 h 592917"/>
                  <a:gd name="connsiteX21" fmla="*/ 97516 w 386230"/>
                  <a:gd name="connsiteY21" fmla="*/ 149147 h 592917"/>
                  <a:gd name="connsiteX22" fmla="*/ 81045 w 386230"/>
                  <a:gd name="connsiteY22" fmla="*/ 123204 h 592917"/>
                  <a:gd name="connsiteX23" fmla="*/ 67747 w 386230"/>
                  <a:gd name="connsiteY23" fmla="*/ 103897 h 592917"/>
                  <a:gd name="connsiteX24" fmla="*/ 49130 w 386230"/>
                  <a:gd name="connsiteY24" fmla="*/ 77997 h 592917"/>
                  <a:gd name="connsiteX25" fmla="*/ 28626 w 386230"/>
                  <a:gd name="connsiteY25" fmla="*/ 52311 h 592917"/>
                  <a:gd name="connsiteX26" fmla="*/ 1817 w 386230"/>
                  <a:gd name="connsiteY26" fmla="*/ 21103 h 592917"/>
                  <a:gd name="connsiteX27" fmla="*/ 1817 w 386230"/>
                  <a:gd name="connsiteY27" fmla="*/ 15580 h 592917"/>
                  <a:gd name="connsiteX28" fmla="*/ 16230 w 386230"/>
                  <a:gd name="connsiteY28" fmla="*/ 1239 h 592917"/>
                  <a:gd name="connsiteX29" fmla="*/ 20219 w 386230"/>
                  <a:gd name="connsiteY29" fmla="*/ 1539 h 592917"/>
                  <a:gd name="connsiteX30" fmla="*/ 72208 w 386230"/>
                  <a:gd name="connsiteY30" fmla="*/ 64683 h 592917"/>
                  <a:gd name="connsiteX31" fmla="*/ 96530 w 386230"/>
                  <a:gd name="connsiteY31" fmla="*/ 99273 h 592917"/>
                  <a:gd name="connsiteX32" fmla="*/ 108240 w 386230"/>
                  <a:gd name="connsiteY32" fmla="*/ 116397 h 592917"/>
                  <a:gd name="connsiteX33" fmla="*/ 115232 w 386230"/>
                  <a:gd name="connsiteY33" fmla="*/ 127442 h 592917"/>
                  <a:gd name="connsiteX34" fmla="*/ 129516 w 386230"/>
                  <a:gd name="connsiteY34" fmla="*/ 150688 h 592917"/>
                  <a:gd name="connsiteX35" fmla="*/ 164604 w 386230"/>
                  <a:gd name="connsiteY35" fmla="*/ 214902 h 592917"/>
                  <a:gd name="connsiteX36" fmla="*/ 195275 w 386230"/>
                  <a:gd name="connsiteY36" fmla="*/ 283398 h 592917"/>
                  <a:gd name="connsiteX37" fmla="*/ 208701 w 386230"/>
                  <a:gd name="connsiteY37" fmla="*/ 319829 h 592917"/>
                  <a:gd name="connsiteX38" fmla="*/ 212990 w 386230"/>
                  <a:gd name="connsiteY38" fmla="*/ 332671 h 592917"/>
                  <a:gd name="connsiteX39" fmla="*/ 215693 w 386230"/>
                  <a:gd name="connsiteY39" fmla="*/ 334041 h 592917"/>
                  <a:gd name="connsiteX40" fmla="*/ 241687 w 386230"/>
                  <a:gd name="connsiteY40" fmla="*/ 325479 h 592917"/>
                  <a:gd name="connsiteX41" fmla="*/ 290888 w 386230"/>
                  <a:gd name="connsiteY41" fmla="*/ 304374 h 592917"/>
                  <a:gd name="connsiteX42" fmla="*/ 334985 w 386230"/>
                  <a:gd name="connsiteY42" fmla="*/ 274408 h 592917"/>
                  <a:gd name="connsiteX43" fmla="*/ 349226 w 386230"/>
                  <a:gd name="connsiteY43" fmla="*/ 258397 h 592917"/>
                  <a:gd name="connsiteX44" fmla="*/ 356732 w 386230"/>
                  <a:gd name="connsiteY44" fmla="*/ 211306 h 592917"/>
                  <a:gd name="connsiteX45" fmla="*/ 339574 w 386230"/>
                  <a:gd name="connsiteY45" fmla="*/ 185620 h 592917"/>
                  <a:gd name="connsiteX46" fmla="*/ 318813 w 386230"/>
                  <a:gd name="connsiteY46" fmla="*/ 168496 h 592917"/>
                  <a:gd name="connsiteX47" fmla="*/ 286427 w 386230"/>
                  <a:gd name="connsiteY47" fmla="*/ 149917 h 592917"/>
                  <a:gd name="connsiteX48" fmla="*/ 245076 w 386230"/>
                  <a:gd name="connsiteY48" fmla="*/ 133264 h 592917"/>
                  <a:gd name="connsiteX49" fmla="*/ 148433 w 386230"/>
                  <a:gd name="connsiteY49" fmla="*/ 109676 h 592917"/>
                  <a:gd name="connsiteX50" fmla="*/ 125613 w 386230"/>
                  <a:gd name="connsiteY50" fmla="*/ 106251 h 592917"/>
                  <a:gd name="connsiteX51" fmla="*/ 121709 w 386230"/>
                  <a:gd name="connsiteY51" fmla="*/ 103683 h 592917"/>
                  <a:gd name="connsiteX52" fmla="*/ 106524 w 386230"/>
                  <a:gd name="connsiteY52" fmla="*/ 79153 h 592917"/>
                  <a:gd name="connsiteX53" fmla="*/ 105881 w 386230"/>
                  <a:gd name="connsiteY53" fmla="*/ 77526 h 592917"/>
                  <a:gd name="connsiteX54" fmla="*/ 107640 w 386230"/>
                  <a:gd name="connsiteY54" fmla="*/ 77184 h 592917"/>
                  <a:gd name="connsiteX55" fmla="*/ 136680 w 386230"/>
                  <a:gd name="connsiteY55" fmla="*/ 80822 h 592917"/>
                  <a:gd name="connsiteX56" fmla="*/ 195661 w 386230"/>
                  <a:gd name="connsiteY56" fmla="*/ 91739 h 592917"/>
                  <a:gd name="connsiteX57" fmla="*/ 258073 w 386230"/>
                  <a:gd name="connsiteY57" fmla="*/ 109590 h 592917"/>
                  <a:gd name="connsiteX58" fmla="*/ 287800 w 386230"/>
                  <a:gd name="connsiteY58" fmla="*/ 121149 h 592917"/>
                  <a:gd name="connsiteX59" fmla="*/ 301998 w 386230"/>
                  <a:gd name="connsiteY59" fmla="*/ 127999 h 592917"/>
                  <a:gd name="connsiteX60" fmla="*/ 319414 w 386230"/>
                  <a:gd name="connsiteY60" fmla="*/ 137117 h 592917"/>
                  <a:gd name="connsiteX61" fmla="*/ 363038 w 386230"/>
                  <a:gd name="connsiteY61" fmla="*/ 171750 h 592917"/>
                  <a:gd name="connsiteX62" fmla="*/ 382684 w 386230"/>
                  <a:gd name="connsiteY62" fmla="*/ 204970 h 592917"/>
                  <a:gd name="connsiteX63" fmla="*/ 381869 w 386230"/>
                  <a:gd name="connsiteY63" fmla="*/ 252061 h 592917"/>
                  <a:gd name="connsiteX64" fmla="*/ 379853 w 386230"/>
                  <a:gd name="connsiteY64" fmla="*/ 257284 h 592917"/>
                  <a:gd name="connsiteX65" fmla="*/ 371274 w 386230"/>
                  <a:gd name="connsiteY65" fmla="*/ 272738 h 592917"/>
                  <a:gd name="connsiteX66" fmla="*/ 367456 w 386230"/>
                  <a:gd name="connsiteY66" fmla="*/ 277832 h 592917"/>
                  <a:gd name="connsiteX67" fmla="*/ 351671 w 386230"/>
                  <a:gd name="connsiteY67" fmla="*/ 294571 h 592917"/>
                  <a:gd name="connsiteX68" fmla="*/ 302513 w 386230"/>
                  <a:gd name="connsiteY68" fmla="*/ 327962 h 592917"/>
                  <a:gd name="connsiteX69" fmla="*/ 261033 w 386230"/>
                  <a:gd name="connsiteY69" fmla="*/ 346413 h 592917"/>
                  <a:gd name="connsiteX70" fmla="*/ 224186 w 386230"/>
                  <a:gd name="connsiteY70" fmla="*/ 358785 h 592917"/>
                  <a:gd name="connsiteX71" fmla="*/ 221870 w 386230"/>
                  <a:gd name="connsiteY71" fmla="*/ 363066 h 592917"/>
                  <a:gd name="connsiteX72" fmla="*/ 232894 w 386230"/>
                  <a:gd name="connsiteY72" fmla="*/ 415722 h 592917"/>
                  <a:gd name="connsiteX73" fmla="*/ 235811 w 386230"/>
                  <a:gd name="connsiteY73" fmla="*/ 488499 h 592917"/>
                  <a:gd name="connsiteX74" fmla="*/ 225516 w 386230"/>
                  <a:gd name="connsiteY74" fmla="*/ 530795 h 592917"/>
                  <a:gd name="connsiteX75" fmla="*/ 225516 w 386230"/>
                  <a:gd name="connsiteY75" fmla="*/ 532635 h 592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</a:cxnLst>
                <a:rect l="l" t="t" r="r" b="b"/>
                <a:pathLst>
                  <a:path w="386230" h="592917">
                    <a:moveTo>
                      <a:pt x="215779" y="549417"/>
                    </a:moveTo>
                    <a:cubicBezTo>
                      <a:pt x="212647" y="552927"/>
                      <a:pt x="209645" y="556523"/>
                      <a:pt x="206342" y="559862"/>
                    </a:cubicBezTo>
                    <a:cubicBezTo>
                      <a:pt x="198747" y="567583"/>
                      <a:pt x="189384" y="573342"/>
                      <a:pt x="179060" y="576644"/>
                    </a:cubicBezTo>
                    <a:cubicBezTo>
                      <a:pt x="165213" y="581117"/>
                      <a:pt x="150455" y="582016"/>
                      <a:pt x="136165" y="579255"/>
                    </a:cubicBezTo>
                    <a:cubicBezTo>
                      <a:pt x="129259" y="578013"/>
                      <a:pt x="122438" y="576215"/>
                      <a:pt x="115618" y="574417"/>
                    </a:cubicBezTo>
                    <a:cubicBezTo>
                      <a:pt x="114221" y="573828"/>
                      <a:pt x="112602" y="574249"/>
                      <a:pt x="111672" y="575445"/>
                    </a:cubicBezTo>
                    <a:cubicBezTo>
                      <a:pt x="96014" y="592133"/>
                      <a:pt x="71645" y="597417"/>
                      <a:pt x="50460" y="588716"/>
                    </a:cubicBezTo>
                    <a:cubicBezTo>
                      <a:pt x="23107" y="577699"/>
                      <a:pt x="9151" y="547268"/>
                      <a:pt x="18675" y="519407"/>
                    </a:cubicBezTo>
                    <a:cubicBezTo>
                      <a:pt x="27662" y="493159"/>
                      <a:pt x="54729" y="477603"/>
                      <a:pt x="81988" y="483019"/>
                    </a:cubicBezTo>
                    <a:cubicBezTo>
                      <a:pt x="93420" y="485160"/>
                      <a:pt x="103840" y="490961"/>
                      <a:pt x="111672" y="499543"/>
                    </a:cubicBezTo>
                    <a:cubicBezTo>
                      <a:pt x="123600" y="511980"/>
                      <a:pt x="128915" y="529324"/>
                      <a:pt x="125999" y="546292"/>
                    </a:cubicBezTo>
                    <a:cubicBezTo>
                      <a:pt x="125527" y="549331"/>
                      <a:pt x="125570" y="549588"/>
                      <a:pt x="128015" y="550273"/>
                    </a:cubicBezTo>
                    <a:cubicBezTo>
                      <a:pt x="139685" y="554003"/>
                      <a:pt x="152066" y="554971"/>
                      <a:pt x="164176" y="553098"/>
                    </a:cubicBezTo>
                    <a:cubicBezTo>
                      <a:pt x="175667" y="551005"/>
                      <a:pt x="185929" y="544622"/>
                      <a:pt x="192872" y="535247"/>
                    </a:cubicBezTo>
                    <a:cubicBezTo>
                      <a:pt x="200616" y="524376"/>
                      <a:pt x="205632" y="511809"/>
                      <a:pt x="207500" y="498602"/>
                    </a:cubicBezTo>
                    <a:cubicBezTo>
                      <a:pt x="209984" y="484577"/>
                      <a:pt x="210848" y="470313"/>
                      <a:pt x="210073" y="456092"/>
                    </a:cubicBezTo>
                    <a:cubicBezTo>
                      <a:pt x="209190" y="437754"/>
                      <a:pt x="206925" y="419508"/>
                      <a:pt x="203296" y="401509"/>
                    </a:cubicBezTo>
                    <a:cubicBezTo>
                      <a:pt x="199328" y="381766"/>
                      <a:pt x="194317" y="362246"/>
                      <a:pt x="188283" y="343031"/>
                    </a:cubicBezTo>
                    <a:cubicBezTo>
                      <a:pt x="185237" y="333100"/>
                      <a:pt x="182106" y="323211"/>
                      <a:pt x="178417" y="313536"/>
                    </a:cubicBezTo>
                    <a:cubicBezTo>
                      <a:pt x="172797" y="298809"/>
                      <a:pt x="166792" y="284211"/>
                      <a:pt x="160701" y="269698"/>
                    </a:cubicBezTo>
                    <a:cubicBezTo>
                      <a:pt x="152508" y="250134"/>
                      <a:pt x="143243" y="231170"/>
                      <a:pt x="133463" y="212334"/>
                    </a:cubicBezTo>
                    <a:cubicBezTo>
                      <a:pt x="122224" y="190929"/>
                      <a:pt x="110342" y="169738"/>
                      <a:pt x="97516" y="149147"/>
                    </a:cubicBezTo>
                    <a:cubicBezTo>
                      <a:pt x="92069" y="140585"/>
                      <a:pt x="86664" y="131766"/>
                      <a:pt x="81045" y="123204"/>
                    </a:cubicBezTo>
                    <a:cubicBezTo>
                      <a:pt x="76755" y="116654"/>
                      <a:pt x="72251" y="110361"/>
                      <a:pt x="67747" y="103897"/>
                    </a:cubicBezTo>
                    <a:cubicBezTo>
                      <a:pt x="61613" y="95335"/>
                      <a:pt x="55522" y="86473"/>
                      <a:pt x="49130" y="77997"/>
                    </a:cubicBezTo>
                    <a:cubicBezTo>
                      <a:pt x="42739" y="69521"/>
                      <a:pt x="35661" y="60531"/>
                      <a:pt x="28626" y="52311"/>
                    </a:cubicBezTo>
                    <a:cubicBezTo>
                      <a:pt x="19833" y="41780"/>
                      <a:pt x="10782" y="31506"/>
                      <a:pt x="1817" y="21103"/>
                    </a:cubicBezTo>
                    <a:cubicBezTo>
                      <a:pt x="-585" y="18320"/>
                      <a:pt x="-757" y="18192"/>
                      <a:pt x="1817" y="15580"/>
                    </a:cubicBezTo>
                    <a:cubicBezTo>
                      <a:pt x="6535" y="10657"/>
                      <a:pt x="11340" y="5905"/>
                      <a:pt x="16230" y="1239"/>
                    </a:cubicBezTo>
                    <a:cubicBezTo>
                      <a:pt x="18160" y="-602"/>
                      <a:pt x="18417" y="-473"/>
                      <a:pt x="20219" y="1539"/>
                    </a:cubicBezTo>
                    <a:cubicBezTo>
                      <a:pt x="38644" y="21664"/>
                      <a:pt x="55998" y="42741"/>
                      <a:pt x="72208" y="64683"/>
                    </a:cubicBezTo>
                    <a:cubicBezTo>
                      <a:pt x="80530" y="76070"/>
                      <a:pt x="88465" y="87715"/>
                      <a:pt x="96530" y="99273"/>
                    </a:cubicBezTo>
                    <a:cubicBezTo>
                      <a:pt x="100519" y="104924"/>
                      <a:pt x="104380" y="110661"/>
                      <a:pt x="108240" y="116397"/>
                    </a:cubicBezTo>
                    <a:cubicBezTo>
                      <a:pt x="110642" y="119993"/>
                      <a:pt x="112916" y="123718"/>
                      <a:pt x="115232" y="127442"/>
                    </a:cubicBezTo>
                    <a:cubicBezTo>
                      <a:pt x="120036" y="135148"/>
                      <a:pt x="124841" y="142853"/>
                      <a:pt x="129516" y="150688"/>
                    </a:cubicBezTo>
                    <a:cubicBezTo>
                      <a:pt x="142084" y="171579"/>
                      <a:pt x="153666" y="192984"/>
                      <a:pt x="164604" y="214902"/>
                    </a:cubicBezTo>
                    <a:cubicBezTo>
                      <a:pt x="175543" y="236821"/>
                      <a:pt x="186052" y="260109"/>
                      <a:pt x="195275" y="283398"/>
                    </a:cubicBezTo>
                    <a:cubicBezTo>
                      <a:pt x="200079" y="295427"/>
                      <a:pt x="204326" y="307671"/>
                      <a:pt x="208701" y="319829"/>
                    </a:cubicBezTo>
                    <a:cubicBezTo>
                      <a:pt x="210245" y="324109"/>
                      <a:pt x="211618" y="328390"/>
                      <a:pt x="212990" y="332671"/>
                    </a:cubicBezTo>
                    <a:cubicBezTo>
                      <a:pt x="213462" y="334384"/>
                      <a:pt x="214234" y="334512"/>
                      <a:pt x="215693" y="334041"/>
                    </a:cubicBezTo>
                    <a:cubicBezTo>
                      <a:pt x="224272" y="331173"/>
                      <a:pt x="233108" y="328519"/>
                      <a:pt x="241687" y="325479"/>
                    </a:cubicBezTo>
                    <a:cubicBezTo>
                      <a:pt x="258589" y="319670"/>
                      <a:pt x="275034" y="312616"/>
                      <a:pt x="290888" y="304374"/>
                    </a:cubicBezTo>
                    <a:cubicBezTo>
                      <a:pt x="306819" y="296323"/>
                      <a:pt x="321641" y="286250"/>
                      <a:pt x="334985" y="274408"/>
                    </a:cubicBezTo>
                    <a:cubicBezTo>
                      <a:pt x="340331" y="269633"/>
                      <a:pt x="345110" y="264261"/>
                      <a:pt x="349226" y="258397"/>
                    </a:cubicBezTo>
                    <a:cubicBezTo>
                      <a:pt x="359220" y="243927"/>
                      <a:pt x="363167" y="228430"/>
                      <a:pt x="356732" y="211306"/>
                    </a:cubicBezTo>
                    <a:cubicBezTo>
                      <a:pt x="352928" y="201614"/>
                      <a:pt x="347076" y="192853"/>
                      <a:pt x="339574" y="185620"/>
                    </a:cubicBezTo>
                    <a:cubicBezTo>
                      <a:pt x="333184" y="179300"/>
                      <a:pt x="326236" y="173569"/>
                      <a:pt x="318813" y="168496"/>
                    </a:cubicBezTo>
                    <a:cubicBezTo>
                      <a:pt x="308542" y="161435"/>
                      <a:pt x="297711" y="155221"/>
                      <a:pt x="286427" y="149917"/>
                    </a:cubicBezTo>
                    <a:cubicBezTo>
                      <a:pt x="272998" y="143527"/>
                      <a:pt x="259188" y="137966"/>
                      <a:pt x="245076" y="133264"/>
                    </a:cubicBezTo>
                    <a:cubicBezTo>
                      <a:pt x="213561" y="122782"/>
                      <a:pt x="181238" y="114893"/>
                      <a:pt x="148433" y="109676"/>
                    </a:cubicBezTo>
                    <a:cubicBezTo>
                      <a:pt x="140841" y="108435"/>
                      <a:pt x="133205" y="107321"/>
                      <a:pt x="125613" y="106251"/>
                    </a:cubicBezTo>
                    <a:cubicBezTo>
                      <a:pt x="123948" y="106144"/>
                      <a:pt x="122464" y="105167"/>
                      <a:pt x="121709" y="103683"/>
                    </a:cubicBezTo>
                    <a:cubicBezTo>
                      <a:pt x="116733" y="95463"/>
                      <a:pt x="111586" y="87329"/>
                      <a:pt x="106524" y="79153"/>
                    </a:cubicBezTo>
                    <a:cubicBezTo>
                      <a:pt x="106259" y="78632"/>
                      <a:pt x="106043" y="78087"/>
                      <a:pt x="105881" y="77526"/>
                    </a:cubicBezTo>
                    <a:cubicBezTo>
                      <a:pt x="106448" y="77330"/>
                      <a:pt x="107040" y="77215"/>
                      <a:pt x="107640" y="77184"/>
                    </a:cubicBezTo>
                    <a:cubicBezTo>
                      <a:pt x="117334" y="78382"/>
                      <a:pt x="127028" y="79410"/>
                      <a:pt x="136680" y="80822"/>
                    </a:cubicBezTo>
                    <a:cubicBezTo>
                      <a:pt x="156454" y="83733"/>
                      <a:pt x="176186" y="87201"/>
                      <a:pt x="195661" y="91739"/>
                    </a:cubicBezTo>
                    <a:cubicBezTo>
                      <a:pt x="216808" y="96420"/>
                      <a:pt x="237651" y="102382"/>
                      <a:pt x="258073" y="109590"/>
                    </a:cubicBezTo>
                    <a:cubicBezTo>
                      <a:pt x="268082" y="113272"/>
                      <a:pt x="277991" y="117125"/>
                      <a:pt x="287800" y="121149"/>
                    </a:cubicBezTo>
                    <a:cubicBezTo>
                      <a:pt x="292647" y="123161"/>
                      <a:pt x="297322" y="125644"/>
                      <a:pt x="301998" y="127999"/>
                    </a:cubicBezTo>
                    <a:cubicBezTo>
                      <a:pt x="307832" y="130952"/>
                      <a:pt x="313794" y="133778"/>
                      <a:pt x="319414" y="137117"/>
                    </a:cubicBezTo>
                    <a:cubicBezTo>
                      <a:pt x="335640" y="146373"/>
                      <a:pt x="350352" y="158052"/>
                      <a:pt x="363038" y="171750"/>
                    </a:cubicBezTo>
                    <a:cubicBezTo>
                      <a:pt x="371813" y="181352"/>
                      <a:pt x="378502" y="192663"/>
                      <a:pt x="382684" y="204970"/>
                    </a:cubicBezTo>
                    <a:cubicBezTo>
                      <a:pt x="387611" y="220329"/>
                      <a:pt x="387325" y="236881"/>
                      <a:pt x="381869" y="252061"/>
                    </a:cubicBezTo>
                    <a:cubicBezTo>
                      <a:pt x="381269" y="253816"/>
                      <a:pt x="380539" y="255528"/>
                      <a:pt x="379853" y="257284"/>
                    </a:cubicBezTo>
                    <a:lnTo>
                      <a:pt x="371274" y="272738"/>
                    </a:lnTo>
                    <a:cubicBezTo>
                      <a:pt x="369987" y="274450"/>
                      <a:pt x="368872" y="276248"/>
                      <a:pt x="367456" y="277832"/>
                    </a:cubicBezTo>
                    <a:cubicBezTo>
                      <a:pt x="362266" y="283483"/>
                      <a:pt x="357290" y="289391"/>
                      <a:pt x="351671" y="294571"/>
                    </a:cubicBezTo>
                    <a:cubicBezTo>
                      <a:pt x="336851" y="307841"/>
                      <a:pt x="320319" y="319071"/>
                      <a:pt x="302513" y="327962"/>
                    </a:cubicBezTo>
                    <a:cubicBezTo>
                      <a:pt x="289103" y="335007"/>
                      <a:pt x="275247" y="341171"/>
                      <a:pt x="261033" y="346413"/>
                    </a:cubicBezTo>
                    <a:cubicBezTo>
                      <a:pt x="248851" y="350694"/>
                      <a:pt x="236497" y="354718"/>
                      <a:pt x="224186" y="358785"/>
                    </a:cubicBezTo>
                    <a:cubicBezTo>
                      <a:pt x="221226" y="359770"/>
                      <a:pt x="221055" y="359941"/>
                      <a:pt x="221870" y="363066"/>
                    </a:cubicBezTo>
                    <a:cubicBezTo>
                      <a:pt x="226159" y="380490"/>
                      <a:pt x="230191" y="397956"/>
                      <a:pt x="232894" y="415722"/>
                    </a:cubicBezTo>
                    <a:cubicBezTo>
                      <a:pt x="236887" y="439766"/>
                      <a:pt x="237867" y="464213"/>
                      <a:pt x="235811" y="488499"/>
                    </a:cubicBezTo>
                    <a:cubicBezTo>
                      <a:pt x="234820" y="503080"/>
                      <a:pt x="231338" y="517385"/>
                      <a:pt x="225516" y="530795"/>
                    </a:cubicBezTo>
                    <a:cubicBezTo>
                      <a:pt x="225424" y="531405"/>
                      <a:pt x="225424" y="532025"/>
                      <a:pt x="225516" y="532635"/>
                    </a:cubicBezTo>
                    <a:close/>
                  </a:path>
                </a:pathLst>
              </a:custGeom>
              <a:grpFill/>
              <a:ln w="42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4" name="Freihandform: Form 143">
                <a:extLst>
                  <a:ext uri="{FF2B5EF4-FFF2-40B4-BE49-F238E27FC236}">
                    <a16:creationId xmlns:a16="http://schemas.microsoft.com/office/drawing/2014/main" id="{86D987B6-A0E5-4AD5-9722-2D078F98E8F1}"/>
                  </a:ext>
                </a:extLst>
              </p:cNvPr>
              <p:cNvSpPr/>
              <p:nvPr/>
            </p:nvSpPr>
            <p:spPr>
              <a:xfrm>
                <a:off x="5852640" y="2520522"/>
                <a:ext cx="527022" cy="452700"/>
              </a:xfrm>
              <a:custGeom>
                <a:avLst/>
                <a:gdLst>
                  <a:gd name="connsiteX0" fmla="*/ 106031 w 527022"/>
                  <a:gd name="connsiteY0" fmla="*/ 275564 h 452700"/>
                  <a:gd name="connsiteX1" fmla="*/ 117356 w 527022"/>
                  <a:gd name="connsiteY1" fmla="*/ 255443 h 452700"/>
                  <a:gd name="connsiteX2" fmla="*/ 132412 w 527022"/>
                  <a:gd name="connsiteY2" fmla="*/ 231256 h 452700"/>
                  <a:gd name="connsiteX3" fmla="*/ 141634 w 527022"/>
                  <a:gd name="connsiteY3" fmla="*/ 216658 h 452700"/>
                  <a:gd name="connsiteX4" fmla="*/ 155661 w 527022"/>
                  <a:gd name="connsiteY4" fmla="*/ 195981 h 452700"/>
                  <a:gd name="connsiteX5" fmla="*/ 165999 w 527022"/>
                  <a:gd name="connsiteY5" fmla="*/ 181169 h 452700"/>
                  <a:gd name="connsiteX6" fmla="*/ 177924 w 527022"/>
                  <a:gd name="connsiteY6" fmla="*/ 165115 h 452700"/>
                  <a:gd name="connsiteX7" fmla="*/ 195082 w 527022"/>
                  <a:gd name="connsiteY7" fmla="*/ 143710 h 452700"/>
                  <a:gd name="connsiteX8" fmla="*/ 219747 w 527022"/>
                  <a:gd name="connsiteY8" fmla="*/ 114771 h 452700"/>
                  <a:gd name="connsiteX9" fmla="*/ 222878 w 527022"/>
                  <a:gd name="connsiteY9" fmla="*/ 111389 h 452700"/>
                  <a:gd name="connsiteX10" fmla="*/ 222621 w 527022"/>
                  <a:gd name="connsiteY10" fmla="*/ 108264 h 452700"/>
                  <a:gd name="connsiteX11" fmla="*/ 205463 w 527022"/>
                  <a:gd name="connsiteY11" fmla="*/ 92810 h 452700"/>
                  <a:gd name="connsiteX12" fmla="*/ 181656 w 527022"/>
                  <a:gd name="connsiteY12" fmla="*/ 73417 h 452700"/>
                  <a:gd name="connsiteX13" fmla="*/ 166171 w 527022"/>
                  <a:gd name="connsiteY13" fmla="*/ 62672 h 452700"/>
                  <a:gd name="connsiteX14" fmla="*/ 134900 w 527022"/>
                  <a:gd name="connsiteY14" fmla="*/ 44520 h 452700"/>
                  <a:gd name="connsiteX15" fmla="*/ 84026 w 527022"/>
                  <a:gd name="connsiteY15" fmla="*/ 30736 h 452700"/>
                  <a:gd name="connsiteX16" fmla="*/ 56487 w 527022"/>
                  <a:gd name="connsiteY16" fmla="*/ 38142 h 452700"/>
                  <a:gd name="connsiteX17" fmla="*/ 42847 w 527022"/>
                  <a:gd name="connsiteY17" fmla="*/ 51413 h 452700"/>
                  <a:gd name="connsiteX18" fmla="*/ 29034 w 527022"/>
                  <a:gd name="connsiteY18" fmla="*/ 89000 h 452700"/>
                  <a:gd name="connsiteX19" fmla="*/ 29377 w 527022"/>
                  <a:gd name="connsiteY19" fmla="*/ 156810 h 452700"/>
                  <a:gd name="connsiteX20" fmla="*/ 39930 w 527022"/>
                  <a:gd name="connsiteY20" fmla="*/ 210793 h 452700"/>
                  <a:gd name="connsiteX21" fmla="*/ 57603 w 527022"/>
                  <a:gd name="connsiteY21" fmla="*/ 268115 h 452700"/>
                  <a:gd name="connsiteX22" fmla="*/ 69828 w 527022"/>
                  <a:gd name="connsiteY22" fmla="*/ 299666 h 452700"/>
                  <a:gd name="connsiteX23" fmla="*/ 69356 w 527022"/>
                  <a:gd name="connsiteY23" fmla="*/ 305402 h 452700"/>
                  <a:gd name="connsiteX24" fmla="*/ 61978 w 527022"/>
                  <a:gd name="connsiteY24" fmla="*/ 318245 h 452700"/>
                  <a:gd name="connsiteX25" fmla="*/ 56144 w 527022"/>
                  <a:gd name="connsiteY25" fmla="*/ 329975 h 452700"/>
                  <a:gd name="connsiteX26" fmla="*/ 54686 w 527022"/>
                  <a:gd name="connsiteY26" fmla="*/ 331516 h 452700"/>
                  <a:gd name="connsiteX27" fmla="*/ 53656 w 527022"/>
                  <a:gd name="connsiteY27" fmla="*/ 329975 h 452700"/>
                  <a:gd name="connsiteX28" fmla="*/ 44219 w 527022"/>
                  <a:gd name="connsiteY28" fmla="*/ 307671 h 452700"/>
                  <a:gd name="connsiteX29" fmla="*/ 20069 w 527022"/>
                  <a:gd name="connsiteY29" fmla="*/ 239176 h 452700"/>
                  <a:gd name="connsiteX30" fmla="*/ 1453 w 527022"/>
                  <a:gd name="connsiteY30" fmla="*/ 148034 h 452700"/>
                  <a:gd name="connsiteX31" fmla="*/ 2525 w 527022"/>
                  <a:gd name="connsiteY31" fmla="*/ 84890 h 452700"/>
                  <a:gd name="connsiteX32" fmla="*/ 12391 w 527022"/>
                  <a:gd name="connsiteY32" fmla="*/ 51113 h 452700"/>
                  <a:gd name="connsiteX33" fmla="*/ 32552 w 527022"/>
                  <a:gd name="connsiteY33" fmla="*/ 22859 h 452700"/>
                  <a:gd name="connsiteX34" fmla="*/ 79179 w 527022"/>
                  <a:gd name="connsiteY34" fmla="*/ 4194 h 452700"/>
                  <a:gd name="connsiteX35" fmla="*/ 126921 w 527022"/>
                  <a:gd name="connsiteY35" fmla="*/ 12370 h 452700"/>
                  <a:gd name="connsiteX36" fmla="*/ 164112 w 527022"/>
                  <a:gd name="connsiteY36" fmla="*/ 29922 h 452700"/>
                  <a:gd name="connsiteX37" fmla="*/ 180884 w 527022"/>
                  <a:gd name="connsiteY37" fmla="*/ 40796 h 452700"/>
                  <a:gd name="connsiteX38" fmla="*/ 199414 w 527022"/>
                  <a:gd name="connsiteY38" fmla="*/ 53639 h 452700"/>
                  <a:gd name="connsiteX39" fmla="*/ 233044 w 527022"/>
                  <a:gd name="connsiteY39" fmla="*/ 81636 h 452700"/>
                  <a:gd name="connsiteX40" fmla="*/ 240465 w 527022"/>
                  <a:gd name="connsiteY40" fmla="*/ 88700 h 452700"/>
                  <a:gd name="connsiteX41" fmla="*/ 244454 w 527022"/>
                  <a:gd name="connsiteY41" fmla="*/ 88700 h 452700"/>
                  <a:gd name="connsiteX42" fmla="*/ 264658 w 527022"/>
                  <a:gd name="connsiteY42" fmla="*/ 69778 h 452700"/>
                  <a:gd name="connsiteX43" fmla="*/ 306824 w 527022"/>
                  <a:gd name="connsiteY43" fmla="*/ 36386 h 452700"/>
                  <a:gd name="connsiteX44" fmla="*/ 344701 w 527022"/>
                  <a:gd name="connsiteY44" fmla="*/ 14339 h 452700"/>
                  <a:gd name="connsiteX45" fmla="*/ 397591 w 527022"/>
                  <a:gd name="connsiteY45" fmla="*/ 84 h 452700"/>
                  <a:gd name="connsiteX46" fmla="*/ 444046 w 527022"/>
                  <a:gd name="connsiteY46" fmla="*/ 12413 h 452700"/>
                  <a:gd name="connsiteX47" fmla="*/ 465494 w 527022"/>
                  <a:gd name="connsiteY47" fmla="*/ 34546 h 452700"/>
                  <a:gd name="connsiteX48" fmla="*/ 481279 w 527022"/>
                  <a:gd name="connsiteY48" fmla="*/ 74401 h 452700"/>
                  <a:gd name="connsiteX49" fmla="*/ 484110 w 527022"/>
                  <a:gd name="connsiteY49" fmla="*/ 77270 h 452700"/>
                  <a:gd name="connsiteX50" fmla="*/ 524861 w 527022"/>
                  <a:gd name="connsiteY50" fmla="*/ 116269 h 452700"/>
                  <a:gd name="connsiteX51" fmla="*/ 523788 w 527022"/>
                  <a:gd name="connsiteY51" fmla="*/ 148805 h 452700"/>
                  <a:gd name="connsiteX52" fmla="*/ 516024 w 527022"/>
                  <a:gd name="connsiteY52" fmla="*/ 164173 h 452700"/>
                  <a:gd name="connsiteX53" fmla="*/ 493419 w 527022"/>
                  <a:gd name="connsiteY53" fmla="*/ 182110 h 452700"/>
                  <a:gd name="connsiteX54" fmla="*/ 442759 w 527022"/>
                  <a:gd name="connsiteY54" fmla="*/ 178686 h 452700"/>
                  <a:gd name="connsiteX55" fmla="*/ 416422 w 527022"/>
                  <a:gd name="connsiteY55" fmla="*/ 139044 h 452700"/>
                  <a:gd name="connsiteX56" fmla="*/ 452110 w 527022"/>
                  <a:gd name="connsiteY56" fmla="*/ 79110 h 452700"/>
                  <a:gd name="connsiteX57" fmla="*/ 454084 w 527022"/>
                  <a:gd name="connsiteY57" fmla="*/ 75643 h 452700"/>
                  <a:gd name="connsiteX58" fmla="*/ 439070 w 527022"/>
                  <a:gd name="connsiteY58" fmla="*/ 43536 h 452700"/>
                  <a:gd name="connsiteX59" fmla="*/ 407628 w 527022"/>
                  <a:gd name="connsiteY59" fmla="*/ 26883 h 452700"/>
                  <a:gd name="connsiteX60" fmla="*/ 374556 w 527022"/>
                  <a:gd name="connsiteY60" fmla="*/ 31164 h 452700"/>
                  <a:gd name="connsiteX61" fmla="*/ 338567 w 527022"/>
                  <a:gd name="connsiteY61" fmla="*/ 47560 h 452700"/>
                  <a:gd name="connsiteX62" fmla="*/ 285977 w 527022"/>
                  <a:gd name="connsiteY62" fmla="*/ 86088 h 452700"/>
                  <a:gd name="connsiteX63" fmla="*/ 235832 w 527022"/>
                  <a:gd name="connsiteY63" fmla="*/ 136390 h 452700"/>
                  <a:gd name="connsiteX64" fmla="*/ 203918 w 527022"/>
                  <a:gd name="connsiteY64" fmla="*/ 175218 h 452700"/>
                  <a:gd name="connsiteX65" fmla="*/ 182128 w 527022"/>
                  <a:gd name="connsiteY65" fmla="*/ 204500 h 452700"/>
                  <a:gd name="connsiteX66" fmla="*/ 166943 w 527022"/>
                  <a:gd name="connsiteY66" fmla="*/ 226675 h 452700"/>
                  <a:gd name="connsiteX67" fmla="*/ 141205 w 527022"/>
                  <a:gd name="connsiteY67" fmla="*/ 267687 h 452700"/>
                  <a:gd name="connsiteX68" fmla="*/ 126793 w 527022"/>
                  <a:gd name="connsiteY68" fmla="*/ 292174 h 452700"/>
                  <a:gd name="connsiteX69" fmla="*/ 109635 w 527022"/>
                  <a:gd name="connsiteY69" fmla="*/ 324453 h 452700"/>
                  <a:gd name="connsiteX70" fmla="*/ 93806 w 527022"/>
                  <a:gd name="connsiteY70" fmla="*/ 357373 h 452700"/>
                  <a:gd name="connsiteX71" fmla="*/ 77849 w 527022"/>
                  <a:gd name="connsiteY71" fmla="*/ 394832 h 452700"/>
                  <a:gd name="connsiteX72" fmla="*/ 60691 w 527022"/>
                  <a:gd name="connsiteY72" fmla="*/ 439696 h 452700"/>
                  <a:gd name="connsiteX73" fmla="*/ 57217 w 527022"/>
                  <a:gd name="connsiteY73" fmla="*/ 450655 h 452700"/>
                  <a:gd name="connsiteX74" fmla="*/ 54514 w 527022"/>
                  <a:gd name="connsiteY74" fmla="*/ 452539 h 452700"/>
                  <a:gd name="connsiteX75" fmla="*/ 34096 w 527022"/>
                  <a:gd name="connsiteY75" fmla="*/ 447188 h 452700"/>
                  <a:gd name="connsiteX76" fmla="*/ 31865 w 527022"/>
                  <a:gd name="connsiteY76" fmla="*/ 442436 h 452700"/>
                  <a:gd name="connsiteX77" fmla="*/ 40873 w 527022"/>
                  <a:gd name="connsiteY77" fmla="*/ 415894 h 452700"/>
                  <a:gd name="connsiteX78" fmla="*/ 50825 w 527022"/>
                  <a:gd name="connsiteY78" fmla="*/ 389309 h 452700"/>
                  <a:gd name="connsiteX79" fmla="*/ 57560 w 527022"/>
                  <a:gd name="connsiteY79" fmla="*/ 373384 h 452700"/>
                  <a:gd name="connsiteX80" fmla="*/ 63308 w 527022"/>
                  <a:gd name="connsiteY80" fmla="*/ 359985 h 452700"/>
                  <a:gd name="connsiteX81" fmla="*/ 68884 w 527022"/>
                  <a:gd name="connsiteY81" fmla="*/ 347142 h 452700"/>
                  <a:gd name="connsiteX82" fmla="*/ 75747 w 527022"/>
                  <a:gd name="connsiteY82" fmla="*/ 332929 h 452700"/>
                  <a:gd name="connsiteX83" fmla="*/ 91704 w 527022"/>
                  <a:gd name="connsiteY83" fmla="*/ 300479 h 452700"/>
                  <a:gd name="connsiteX84" fmla="*/ 105774 w 527022"/>
                  <a:gd name="connsiteY84" fmla="*/ 275264 h 452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</a:cxnLst>
                <a:rect l="l" t="t" r="r" b="b"/>
                <a:pathLst>
                  <a:path w="527022" h="452700">
                    <a:moveTo>
                      <a:pt x="106031" y="275564"/>
                    </a:moveTo>
                    <a:cubicBezTo>
                      <a:pt x="109806" y="268843"/>
                      <a:pt x="113409" y="262079"/>
                      <a:pt x="117356" y="255443"/>
                    </a:cubicBezTo>
                    <a:cubicBezTo>
                      <a:pt x="122246" y="247310"/>
                      <a:pt x="127350" y="239304"/>
                      <a:pt x="132412" y="231256"/>
                    </a:cubicBezTo>
                    <a:cubicBezTo>
                      <a:pt x="135457" y="226376"/>
                      <a:pt x="138460" y="221453"/>
                      <a:pt x="141634" y="216658"/>
                    </a:cubicBezTo>
                    <a:cubicBezTo>
                      <a:pt x="146224" y="209680"/>
                      <a:pt x="150943" y="202830"/>
                      <a:pt x="155661" y="195981"/>
                    </a:cubicBezTo>
                    <a:cubicBezTo>
                      <a:pt x="159050" y="191015"/>
                      <a:pt x="162482" y="186049"/>
                      <a:pt x="165999" y="181169"/>
                    </a:cubicBezTo>
                    <a:cubicBezTo>
                      <a:pt x="169516" y="176288"/>
                      <a:pt x="173849" y="170381"/>
                      <a:pt x="177924" y="165115"/>
                    </a:cubicBezTo>
                    <a:cubicBezTo>
                      <a:pt x="183500" y="157923"/>
                      <a:pt x="189077" y="150774"/>
                      <a:pt x="195082" y="143710"/>
                    </a:cubicBezTo>
                    <a:cubicBezTo>
                      <a:pt x="203189" y="133950"/>
                      <a:pt x="211511" y="124403"/>
                      <a:pt x="219747" y="114771"/>
                    </a:cubicBezTo>
                    <a:cubicBezTo>
                      <a:pt x="220733" y="113615"/>
                      <a:pt x="221806" y="112502"/>
                      <a:pt x="222878" y="111389"/>
                    </a:cubicBezTo>
                    <a:cubicBezTo>
                      <a:pt x="223950" y="110276"/>
                      <a:pt x="223908" y="109377"/>
                      <a:pt x="222621" y="108264"/>
                    </a:cubicBezTo>
                    <a:cubicBezTo>
                      <a:pt x="216873" y="103169"/>
                      <a:pt x="211382" y="97776"/>
                      <a:pt x="205463" y="92810"/>
                    </a:cubicBezTo>
                    <a:cubicBezTo>
                      <a:pt x="197656" y="86160"/>
                      <a:pt x="189720" y="79696"/>
                      <a:pt x="181656" y="73417"/>
                    </a:cubicBezTo>
                    <a:cubicBezTo>
                      <a:pt x="176680" y="69607"/>
                      <a:pt x="171318" y="66268"/>
                      <a:pt x="166171" y="62672"/>
                    </a:cubicBezTo>
                    <a:cubicBezTo>
                      <a:pt x="156250" y="55796"/>
                      <a:pt x="145793" y="49726"/>
                      <a:pt x="134900" y="44520"/>
                    </a:cubicBezTo>
                    <a:cubicBezTo>
                      <a:pt x="119206" y="36142"/>
                      <a:pt x="101811" y="31428"/>
                      <a:pt x="84026" y="30736"/>
                    </a:cubicBezTo>
                    <a:cubicBezTo>
                      <a:pt x="74320" y="30475"/>
                      <a:pt x="64748" y="33049"/>
                      <a:pt x="56487" y="38142"/>
                    </a:cubicBezTo>
                    <a:cubicBezTo>
                      <a:pt x="51030" y="41526"/>
                      <a:pt x="46376" y="46054"/>
                      <a:pt x="42847" y="51413"/>
                    </a:cubicBezTo>
                    <a:cubicBezTo>
                      <a:pt x="35559" y="62790"/>
                      <a:pt x="30845" y="75617"/>
                      <a:pt x="29034" y="89000"/>
                    </a:cubicBezTo>
                    <a:cubicBezTo>
                      <a:pt x="25909" y="111504"/>
                      <a:pt x="26025" y="134338"/>
                      <a:pt x="29377" y="156810"/>
                    </a:cubicBezTo>
                    <a:cubicBezTo>
                      <a:pt x="31822" y="174997"/>
                      <a:pt x="35346" y="193023"/>
                      <a:pt x="39930" y="210793"/>
                    </a:cubicBezTo>
                    <a:cubicBezTo>
                      <a:pt x="44777" y="230229"/>
                      <a:pt x="50911" y="249322"/>
                      <a:pt x="57603" y="268115"/>
                    </a:cubicBezTo>
                    <a:cubicBezTo>
                      <a:pt x="61377" y="278732"/>
                      <a:pt x="65624" y="289220"/>
                      <a:pt x="69828" y="299666"/>
                    </a:cubicBezTo>
                    <a:cubicBezTo>
                      <a:pt x="70695" y="301527"/>
                      <a:pt x="70515" y="303707"/>
                      <a:pt x="69356" y="305402"/>
                    </a:cubicBezTo>
                    <a:cubicBezTo>
                      <a:pt x="66739" y="309683"/>
                      <a:pt x="64294" y="313964"/>
                      <a:pt x="61978" y="318245"/>
                    </a:cubicBezTo>
                    <a:cubicBezTo>
                      <a:pt x="59662" y="322526"/>
                      <a:pt x="58117" y="326079"/>
                      <a:pt x="56144" y="329975"/>
                    </a:cubicBezTo>
                    <a:cubicBezTo>
                      <a:pt x="55739" y="330559"/>
                      <a:pt x="55247" y="331079"/>
                      <a:pt x="54686" y="331516"/>
                    </a:cubicBezTo>
                    <a:cubicBezTo>
                      <a:pt x="54303" y="331029"/>
                      <a:pt x="53959" y="330514"/>
                      <a:pt x="53656" y="329975"/>
                    </a:cubicBezTo>
                    <a:cubicBezTo>
                      <a:pt x="50482" y="322526"/>
                      <a:pt x="47222" y="315163"/>
                      <a:pt x="44219" y="307671"/>
                    </a:cubicBezTo>
                    <a:cubicBezTo>
                      <a:pt x="35125" y="285153"/>
                      <a:pt x="27061" y="262336"/>
                      <a:pt x="20069" y="239176"/>
                    </a:cubicBezTo>
                    <a:cubicBezTo>
                      <a:pt x="11005" y="209447"/>
                      <a:pt x="4772" y="178931"/>
                      <a:pt x="1453" y="148034"/>
                    </a:cubicBezTo>
                    <a:cubicBezTo>
                      <a:pt x="-861" y="127025"/>
                      <a:pt x="-501" y="105808"/>
                      <a:pt x="2525" y="84890"/>
                    </a:cubicBezTo>
                    <a:cubicBezTo>
                      <a:pt x="4372" y="73260"/>
                      <a:pt x="7687" y="61911"/>
                      <a:pt x="12391" y="51113"/>
                    </a:cubicBezTo>
                    <a:cubicBezTo>
                      <a:pt x="16997" y="40358"/>
                      <a:pt x="23874" y="30720"/>
                      <a:pt x="32552" y="22859"/>
                    </a:cubicBezTo>
                    <a:cubicBezTo>
                      <a:pt x="45376" y="11302"/>
                      <a:pt x="61907" y="4685"/>
                      <a:pt x="79179" y="4194"/>
                    </a:cubicBezTo>
                    <a:cubicBezTo>
                      <a:pt x="95482" y="3695"/>
                      <a:pt x="111718" y="6476"/>
                      <a:pt x="126921" y="12370"/>
                    </a:cubicBezTo>
                    <a:cubicBezTo>
                      <a:pt x="139829" y="17075"/>
                      <a:pt x="152278" y="22950"/>
                      <a:pt x="164112" y="29922"/>
                    </a:cubicBezTo>
                    <a:cubicBezTo>
                      <a:pt x="169859" y="33304"/>
                      <a:pt x="175393" y="37029"/>
                      <a:pt x="180884" y="40796"/>
                    </a:cubicBezTo>
                    <a:cubicBezTo>
                      <a:pt x="187146" y="45077"/>
                      <a:pt x="193366" y="49358"/>
                      <a:pt x="199414" y="53639"/>
                    </a:cubicBezTo>
                    <a:cubicBezTo>
                      <a:pt x="211112" y="62371"/>
                      <a:pt x="222338" y="71717"/>
                      <a:pt x="233044" y="81636"/>
                    </a:cubicBezTo>
                    <a:lnTo>
                      <a:pt x="240465" y="88700"/>
                    </a:lnTo>
                    <a:cubicBezTo>
                      <a:pt x="242481" y="90498"/>
                      <a:pt x="242481" y="90541"/>
                      <a:pt x="244454" y="88700"/>
                    </a:cubicBezTo>
                    <a:cubicBezTo>
                      <a:pt x="251189" y="82407"/>
                      <a:pt x="257838" y="75857"/>
                      <a:pt x="264658" y="69778"/>
                    </a:cubicBezTo>
                    <a:cubicBezTo>
                      <a:pt x="277890" y="57649"/>
                      <a:pt x="291982" y="46490"/>
                      <a:pt x="306824" y="36386"/>
                    </a:cubicBezTo>
                    <a:cubicBezTo>
                      <a:pt x="318824" y="28016"/>
                      <a:pt x="331492" y="20642"/>
                      <a:pt x="344701" y="14339"/>
                    </a:cubicBezTo>
                    <a:cubicBezTo>
                      <a:pt x="361210" y="6138"/>
                      <a:pt x="379188" y="1292"/>
                      <a:pt x="397591" y="84"/>
                    </a:cubicBezTo>
                    <a:cubicBezTo>
                      <a:pt x="414004" y="-927"/>
                      <a:pt x="430304" y="3399"/>
                      <a:pt x="444046" y="12413"/>
                    </a:cubicBezTo>
                    <a:cubicBezTo>
                      <a:pt x="452667" y="18214"/>
                      <a:pt x="459973" y="25753"/>
                      <a:pt x="465494" y="34546"/>
                    </a:cubicBezTo>
                    <a:cubicBezTo>
                      <a:pt x="473149" y="46758"/>
                      <a:pt x="478499" y="60266"/>
                      <a:pt x="481279" y="74401"/>
                    </a:cubicBezTo>
                    <a:cubicBezTo>
                      <a:pt x="481414" y="75910"/>
                      <a:pt x="482601" y="77112"/>
                      <a:pt x="484110" y="77270"/>
                    </a:cubicBezTo>
                    <a:cubicBezTo>
                      <a:pt x="503911" y="81682"/>
                      <a:pt x="519614" y="96711"/>
                      <a:pt x="524861" y="116269"/>
                    </a:cubicBezTo>
                    <a:cubicBezTo>
                      <a:pt x="528007" y="126949"/>
                      <a:pt x="527631" y="138354"/>
                      <a:pt x="523788" y="148805"/>
                    </a:cubicBezTo>
                    <a:cubicBezTo>
                      <a:pt x="521995" y="154290"/>
                      <a:pt x="519377" y="159472"/>
                      <a:pt x="516024" y="164173"/>
                    </a:cubicBezTo>
                    <a:cubicBezTo>
                      <a:pt x="510306" y="172133"/>
                      <a:pt x="502478" y="178344"/>
                      <a:pt x="493419" y="182110"/>
                    </a:cubicBezTo>
                    <a:cubicBezTo>
                      <a:pt x="477010" y="189433"/>
                      <a:pt x="458029" y="188150"/>
                      <a:pt x="442759" y="178686"/>
                    </a:cubicBezTo>
                    <a:cubicBezTo>
                      <a:pt x="428222" y="170341"/>
                      <a:pt x="418465" y="155656"/>
                      <a:pt x="416422" y="139044"/>
                    </a:cubicBezTo>
                    <a:cubicBezTo>
                      <a:pt x="412547" y="113143"/>
                      <a:pt x="427462" y="88095"/>
                      <a:pt x="452110" y="79110"/>
                    </a:cubicBezTo>
                    <a:cubicBezTo>
                      <a:pt x="454641" y="78169"/>
                      <a:pt x="454727" y="78169"/>
                      <a:pt x="454084" y="75643"/>
                    </a:cubicBezTo>
                    <a:cubicBezTo>
                      <a:pt x="451606" y="63935"/>
                      <a:pt x="446470" y="52951"/>
                      <a:pt x="439070" y="43536"/>
                    </a:cubicBezTo>
                    <a:cubicBezTo>
                      <a:pt x="431293" y="33951"/>
                      <a:pt x="419941" y="27939"/>
                      <a:pt x="407628" y="26883"/>
                    </a:cubicBezTo>
                    <a:cubicBezTo>
                      <a:pt x="396428" y="26091"/>
                      <a:pt x="385183" y="27547"/>
                      <a:pt x="374556" y="31164"/>
                    </a:cubicBezTo>
                    <a:cubicBezTo>
                      <a:pt x="361966" y="35226"/>
                      <a:pt x="349889" y="40728"/>
                      <a:pt x="338567" y="47560"/>
                    </a:cubicBezTo>
                    <a:cubicBezTo>
                      <a:pt x="319844" y="58698"/>
                      <a:pt x="302234" y="71599"/>
                      <a:pt x="285977" y="86088"/>
                    </a:cubicBezTo>
                    <a:cubicBezTo>
                      <a:pt x="268163" y="101727"/>
                      <a:pt x="251411" y="118531"/>
                      <a:pt x="235832" y="136390"/>
                    </a:cubicBezTo>
                    <a:cubicBezTo>
                      <a:pt x="224765" y="148933"/>
                      <a:pt x="214385" y="162076"/>
                      <a:pt x="203918" y="175218"/>
                    </a:cubicBezTo>
                    <a:cubicBezTo>
                      <a:pt x="196369" y="184765"/>
                      <a:pt x="189248" y="194654"/>
                      <a:pt x="182128" y="204500"/>
                    </a:cubicBezTo>
                    <a:cubicBezTo>
                      <a:pt x="176894" y="211778"/>
                      <a:pt x="172004" y="219312"/>
                      <a:pt x="166943" y="226675"/>
                    </a:cubicBezTo>
                    <a:cubicBezTo>
                      <a:pt x="157763" y="240032"/>
                      <a:pt x="149484" y="253902"/>
                      <a:pt x="141205" y="267687"/>
                    </a:cubicBezTo>
                    <a:cubicBezTo>
                      <a:pt x="136272" y="275778"/>
                      <a:pt x="131297" y="283869"/>
                      <a:pt x="126793" y="292174"/>
                    </a:cubicBezTo>
                    <a:cubicBezTo>
                      <a:pt x="120959" y="302834"/>
                      <a:pt x="115254" y="313579"/>
                      <a:pt x="109635" y="324453"/>
                    </a:cubicBezTo>
                    <a:cubicBezTo>
                      <a:pt x="104015" y="335326"/>
                      <a:pt x="98825" y="346285"/>
                      <a:pt x="93806" y="357373"/>
                    </a:cubicBezTo>
                    <a:cubicBezTo>
                      <a:pt x="88230" y="369745"/>
                      <a:pt x="82868" y="382246"/>
                      <a:pt x="77849" y="394832"/>
                    </a:cubicBezTo>
                    <a:cubicBezTo>
                      <a:pt x="71930" y="409687"/>
                      <a:pt x="66482" y="424798"/>
                      <a:pt x="60691" y="439696"/>
                    </a:cubicBezTo>
                    <a:cubicBezTo>
                      <a:pt x="59361" y="443292"/>
                      <a:pt x="58246" y="446974"/>
                      <a:pt x="57217" y="450655"/>
                    </a:cubicBezTo>
                    <a:cubicBezTo>
                      <a:pt x="56788" y="452197"/>
                      <a:pt x="56101" y="452924"/>
                      <a:pt x="54514" y="452539"/>
                    </a:cubicBezTo>
                    <a:cubicBezTo>
                      <a:pt x="47694" y="450784"/>
                      <a:pt x="40831" y="449157"/>
                      <a:pt x="34096" y="447188"/>
                    </a:cubicBezTo>
                    <a:cubicBezTo>
                      <a:pt x="30879" y="446246"/>
                      <a:pt x="30793" y="445689"/>
                      <a:pt x="31865" y="442436"/>
                    </a:cubicBezTo>
                    <a:cubicBezTo>
                      <a:pt x="34782" y="433574"/>
                      <a:pt x="37699" y="424713"/>
                      <a:pt x="40873" y="415894"/>
                    </a:cubicBezTo>
                    <a:cubicBezTo>
                      <a:pt x="44048" y="407075"/>
                      <a:pt x="47393" y="398128"/>
                      <a:pt x="50825" y="389309"/>
                    </a:cubicBezTo>
                    <a:cubicBezTo>
                      <a:pt x="52927" y="383958"/>
                      <a:pt x="55115" y="378692"/>
                      <a:pt x="57560" y="373384"/>
                    </a:cubicBezTo>
                    <a:cubicBezTo>
                      <a:pt x="59490" y="369103"/>
                      <a:pt x="61377" y="364437"/>
                      <a:pt x="63308" y="359985"/>
                    </a:cubicBezTo>
                    <a:cubicBezTo>
                      <a:pt x="65238" y="355532"/>
                      <a:pt x="66954" y="351423"/>
                      <a:pt x="68884" y="347142"/>
                    </a:cubicBezTo>
                    <a:cubicBezTo>
                      <a:pt x="70814" y="342861"/>
                      <a:pt x="73474" y="337638"/>
                      <a:pt x="75747" y="332929"/>
                    </a:cubicBezTo>
                    <a:cubicBezTo>
                      <a:pt x="81066" y="322098"/>
                      <a:pt x="86171" y="311182"/>
                      <a:pt x="91704" y="300479"/>
                    </a:cubicBezTo>
                    <a:cubicBezTo>
                      <a:pt x="95994" y="291917"/>
                      <a:pt x="101055" y="283655"/>
                      <a:pt x="105774" y="275264"/>
                    </a:cubicBezTo>
                    <a:close/>
                  </a:path>
                </a:pathLst>
              </a:custGeom>
              <a:grpFill/>
              <a:ln w="42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45" name="Gruppieren 144">
            <a:extLst>
              <a:ext uri="{FF2B5EF4-FFF2-40B4-BE49-F238E27FC236}">
                <a16:creationId xmlns:a16="http://schemas.microsoft.com/office/drawing/2014/main" id="{BD3552A8-B608-4E97-AC23-9AFA55894BA0}"/>
              </a:ext>
            </a:extLst>
          </p:cNvPr>
          <p:cNvGrpSpPr/>
          <p:nvPr/>
        </p:nvGrpSpPr>
        <p:grpSpPr>
          <a:xfrm>
            <a:off x="4448482" y="3702289"/>
            <a:ext cx="761335" cy="786278"/>
            <a:chOff x="4448482" y="2484974"/>
            <a:chExt cx="761335" cy="786278"/>
          </a:xfrm>
          <a:solidFill>
            <a:schemeClr val="bg1"/>
          </a:solidFill>
        </p:grpSpPr>
        <p:sp>
          <p:nvSpPr>
            <p:cNvPr id="146" name="Freihandform: Form 145">
              <a:extLst>
                <a:ext uri="{FF2B5EF4-FFF2-40B4-BE49-F238E27FC236}">
                  <a16:creationId xmlns:a16="http://schemas.microsoft.com/office/drawing/2014/main" id="{F6A3F3C0-0FF0-407B-AD95-79E9F6BF060F}"/>
                </a:ext>
              </a:extLst>
            </p:cNvPr>
            <p:cNvSpPr/>
            <p:nvPr/>
          </p:nvSpPr>
          <p:spPr>
            <a:xfrm>
              <a:off x="4742665" y="2484974"/>
              <a:ext cx="39559" cy="64844"/>
            </a:xfrm>
            <a:custGeom>
              <a:avLst/>
              <a:gdLst>
                <a:gd name="connsiteX0" fmla="*/ 0 w 39559"/>
                <a:gd name="connsiteY0" fmla="*/ 0 h 64844"/>
                <a:gd name="connsiteX1" fmla="*/ 39559 w 39559"/>
                <a:gd name="connsiteY1" fmla="*/ 0 h 64844"/>
                <a:gd name="connsiteX2" fmla="*/ 39559 w 39559"/>
                <a:gd name="connsiteY2" fmla="*/ 64844 h 64844"/>
                <a:gd name="connsiteX3" fmla="*/ 0 w 39559"/>
                <a:gd name="connsiteY3" fmla="*/ 64844 h 6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9" h="64844">
                  <a:moveTo>
                    <a:pt x="0" y="0"/>
                  </a:moveTo>
                  <a:lnTo>
                    <a:pt x="39559" y="0"/>
                  </a:lnTo>
                  <a:lnTo>
                    <a:pt x="39559" y="64844"/>
                  </a:lnTo>
                  <a:lnTo>
                    <a:pt x="0" y="64844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7" name="Freihandform: Form 146">
              <a:extLst>
                <a:ext uri="{FF2B5EF4-FFF2-40B4-BE49-F238E27FC236}">
                  <a16:creationId xmlns:a16="http://schemas.microsoft.com/office/drawing/2014/main" id="{108FEA03-5C71-4C9D-B646-13BCF85F5023}"/>
                </a:ext>
              </a:extLst>
            </p:cNvPr>
            <p:cNvSpPr/>
            <p:nvPr/>
          </p:nvSpPr>
          <p:spPr>
            <a:xfrm>
              <a:off x="4876123" y="2484974"/>
              <a:ext cx="39559" cy="64844"/>
            </a:xfrm>
            <a:custGeom>
              <a:avLst/>
              <a:gdLst>
                <a:gd name="connsiteX0" fmla="*/ 0 w 39559"/>
                <a:gd name="connsiteY0" fmla="*/ 0 h 64844"/>
                <a:gd name="connsiteX1" fmla="*/ 39559 w 39559"/>
                <a:gd name="connsiteY1" fmla="*/ 0 h 64844"/>
                <a:gd name="connsiteX2" fmla="*/ 39559 w 39559"/>
                <a:gd name="connsiteY2" fmla="*/ 64844 h 64844"/>
                <a:gd name="connsiteX3" fmla="*/ 0 w 39559"/>
                <a:gd name="connsiteY3" fmla="*/ 64844 h 6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9" h="64844">
                  <a:moveTo>
                    <a:pt x="0" y="0"/>
                  </a:moveTo>
                  <a:lnTo>
                    <a:pt x="39559" y="0"/>
                  </a:lnTo>
                  <a:lnTo>
                    <a:pt x="39559" y="64844"/>
                  </a:lnTo>
                  <a:lnTo>
                    <a:pt x="0" y="64844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" name="Freihandform: Form 147">
              <a:extLst>
                <a:ext uri="{FF2B5EF4-FFF2-40B4-BE49-F238E27FC236}">
                  <a16:creationId xmlns:a16="http://schemas.microsoft.com/office/drawing/2014/main" id="{26E0C54C-E5F4-4F7C-A64F-5FEA899B871F}"/>
                </a:ext>
              </a:extLst>
            </p:cNvPr>
            <p:cNvSpPr/>
            <p:nvPr/>
          </p:nvSpPr>
          <p:spPr>
            <a:xfrm>
              <a:off x="4671917" y="2484974"/>
              <a:ext cx="39559" cy="64844"/>
            </a:xfrm>
            <a:custGeom>
              <a:avLst/>
              <a:gdLst>
                <a:gd name="connsiteX0" fmla="*/ 0 w 39559"/>
                <a:gd name="connsiteY0" fmla="*/ 0 h 64844"/>
                <a:gd name="connsiteX1" fmla="*/ 39559 w 39559"/>
                <a:gd name="connsiteY1" fmla="*/ 0 h 64844"/>
                <a:gd name="connsiteX2" fmla="*/ 39559 w 39559"/>
                <a:gd name="connsiteY2" fmla="*/ 64844 h 64844"/>
                <a:gd name="connsiteX3" fmla="*/ 0 w 39559"/>
                <a:gd name="connsiteY3" fmla="*/ 64844 h 6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9" h="64844">
                  <a:moveTo>
                    <a:pt x="0" y="0"/>
                  </a:moveTo>
                  <a:lnTo>
                    <a:pt x="39559" y="0"/>
                  </a:lnTo>
                  <a:lnTo>
                    <a:pt x="39559" y="64844"/>
                  </a:lnTo>
                  <a:lnTo>
                    <a:pt x="0" y="64844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" name="Freihandform: Form 148">
              <a:extLst>
                <a:ext uri="{FF2B5EF4-FFF2-40B4-BE49-F238E27FC236}">
                  <a16:creationId xmlns:a16="http://schemas.microsoft.com/office/drawing/2014/main" id="{7506F266-9869-4F99-BB97-C394846F5E09}"/>
                </a:ext>
              </a:extLst>
            </p:cNvPr>
            <p:cNvSpPr/>
            <p:nvPr/>
          </p:nvSpPr>
          <p:spPr>
            <a:xfrm>
              <a:off x="4946871" y="2484974"/>
              <a:ext cx="39559" cy="64844"/>
            </a:xfrm>
            <a:custGeom>
              <a:avLst/>
              <a:gdLst>
                <a:gd name="connsiteX0" fmla="*/ 0 w 39559"/>
                <a:gd name="connsiteY0" fmla="*/ 0 h 64844"/>
                <a:gd name="connsiteX1" fmla="*/ 39559 w 39559"/>
                <a:gd name="connsiteY1" fmla="*/ 0 h 64844"/>
                <a:gd name="connsiteX2" fmla="*/ 39559 w 39559"/>
                <a:gd name="connsiteY2" fmla="*/ 64844 h 64844"/>
                <a:gd name="connsiteX3" fmla="*/ 0 w 39559"/>
                <a:gd name="connsiteY3" fmla="*/ 64844 h 6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9" h="64844">
                  <a:moveTo>
                    <a:pt x="0" y="0"/>
                  </a:moveTo>
                  <a:lnTo>
                    <a:pt x="39559" y="0"/>
                  </a:lnTo>
                  <a:lnTo>
                    <a:pt x="39559" y="64844"/>
                  </a:lnTo>
                  <a:lnTo>
                    <a:pt x="0" y="64844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" name="Freihandform: Form 149">
              <a:extLst>
                <a:ext uri="{FF2B5EF4-FFF2-40B4-BE49-F238E27FC236}">
                  <a16:creationId xmlns:a16="http://schemas.microsoft.com/office/drawing/2014/main" id="{AEAD5BAD-53F4-4AA2-ADBC-1C18ABDF4EC7}"/>
                </a:ext>
              </a:extLst>
            </p:cNvPr>
            <p:cNvSpPr/>
            <p:nvPr/>
          </p:nvSpPr>
          <p:spPr>
            <a:xfrm>
              <a:off x="4601218" y="2484974"/>
              <a:ext cx="39559" cy="64844"/>
            </a:xfrm>
            <a:custGeom>
              <a:avLst/>
              <a:gdLst>
                <a:gd name="connsiteX0" fmla="*/ 0 w 39559"/>
                <a:gd name="connsiteY0" fmla="*/ 0 h 64844"/>
                <a:gd name="connsiteX1" fmla="*/ 39559 w 39559"/>
                <a:gd name="connsiteY1" fmla="*/ 0 h 64844"/>
                <a:gd name="connsiteX2" fmla="*/ 39559 w 39559"/>
                <a:gd name="connsiteY2" fmla="*/ 64844 h 64844"/>
                <a:gd name="connsiteX3" fmla="*/ 0 w 39559"/>
                <a:gd name="connsiteY3" fmla="*/ 64844 h 6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9" h="64844">
                  <a:moveTo>
                    <a:pt x="0" y="0"/>
                  </a:moveTo>
                  <a:lnTo>
                    <a:pt x="39559" y="0"/>
                  </a:lnTo>
                  <a:lnTo>
                    <a:pt x="39559" y="64844"/>
                  </a:lnTo>
                  <a:lnTo>
                    <a:pt x="0" y="64844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" name="Freihandform: Form 150">
              <a:extLst>
                <a:ext uri="{FF2B5EF4-FFF2-40B4-BE49-F238E27FC236}">
                  <a16:creationId xmlns:a16="http://schemas.microsoft.com/office/drawing/2014/main" id="{5C1B9D3A-57E8-4755-AA49-26A5DBB0B5F7}"/>
                </a:ext>
              </a:extLst>
            </p:cNvPr>
            <p:cNvSpPr/>
            <p:nvPr/>
          </p:nvSpPr>
          <p:spPr>
            <a:xfrm>
              <a:off x="5017570" y="2484974"/>
              <a:ext cx="39559" cy="64844"/>
            </a:xfrm>
            <a:custGeom>
              <a:avLst/>
              <a:gdLst>
                <a:gd name="connsiteX0" fmla="*/ 0 w 39559"/>
                <a:gd name="connsiteY0" fmla="*/ 0 h 64844"/>
                <a:gd name="connsiteX1" fmla="*/ 39559 w 39559"/>
                <a:gd name="connsiteY1" fmla="*/ 0 h 64844"/>
                <a:gd name="connsiteX2" fmla="*/ 39559 w 39559"/>
                <a:gd name="connsiteY2" fmla="*/ 64844 h 64844"/>
                <a:gd name="connsiteX3" fmla="*/ 0 w 39559"/>
                <a:gd name="connsiteY3" fmla="*/ 64844 h 6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9" h="64844">
                  <a:moveTo>
                    <a:pt x="0" y="0"/>
                  </a:moveTo>
                  <a:lnTo>
                    <a:pt x="39559" y="0"/>
                  </a:lnTo>
                  <a:lnTo>
                    <a:pt x="39559" y="64844"/>
                  </a:lnTo>
                  <a:lnTo>
                    <a:pt x="0" y="64844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" name="Freihandform: Form 151">
              <a:extLst>
                <a:ext uri="{FF2B5EF4-FFF2-40B4-BE49-F238E27FC236}">
                  <a16:creationId xmlns:a16="http://schemas.microsoft.com/office/drawing/2014/main" id="{F40CBE2F-78CF-4B8F-BC21-CBDF1355C16E}"/>
                </a:ext>
              </a:extLst>
            </p:cNvPr>
            <p:cNvSpPr/>
            <p:nvPr/>
          </p:nvSpPr>
          <p:spPr>
            <a:xfrm>
              <a:off x="4809394" y="2484974"/>
              <a:ext cx="39559" cy="64844"/>
            </a:xfrm>
            <a:custGeom>
              <a:avLst/>
              <a:gdLst>
                <a:gd name="connsiteX0" fmla="*/ 0 w 39559"/>
                <a:gd name="connsiteY0" fmla="*/ 0 h 64844"/>
                <a:gd name="connsiteX1" fmla="*/ 39559 w 39559"/>
                <a:gd name="connsiteY1" fmla="*/ 0 h 64844"/>
                <a:gd name="connsiteX2" fmla="*/ 39559 w 39559"/>
                <a:gd name="connsiteY2" fmla="*/ 64844 h 64844"/>
                <a:gd name="connsiteX3" fmla="*/ 0 w 39559"/>
                <a:gd name="connsiteY3" fmla="*/ 64844 h 6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9" h="64844">
                  <a:moveTo>
                    <a:pt x="0" y="0"/>
                  </a:moveTo>
                  <a:lnTo>
                    <a:pt x="39559" y="0"/>
                  </a:lnTo>
                  <a:lnTo>
                    <a:pt x="39559" y="64844"/>
                  </a:lnTo>
                  <a:lnTo>
                    <a:pt x="0" y="64844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" name="Freihandform: Form 152">
              <a:extLst>
                <a:ext uri="{FF2B5EF4-FFF2-40B4-BE49-F238E27FC236}">
                  <a16:creationId xmlns:a16="http://schemas.microsoft.com/office/drawing/2014/main" id="{24A7B0C9-4F32-4F15-BA19-610C4B0B6D39}"/>
                </a:ext>
              </a:extLst>
            </p:cNvPr>
            <p:cNvSpPr/>
            <p:nvPr/>
          </p:nvSpPr>
          <p:spPr>
            <a:xfrm>
              <a:off x="4742665" y="3206408"/>
              <a:ext cx="39559" cy="64844"/>
            </a:xfrm>
            <a:custGeom>
              <a:avLst/>
              <a:gdLst>
                <a:gd name="connsiteX0" fmla="*/ 0 w 39559"/>
                <a:gd name="connsiteY0" fmla="*/ 0 h 64844"/>
                <a:gd name="connsiteX1" fmla="*/ 39559 w 39559"/>
                <a:gd name="connsiteY1" fmla="*/ 0 h 64844"/>
                <a:gd name="connsiteX2" fmla="*/ 39559 w 39559"/>
                <a:gd name="connsiteY2" fmla="*/ 64844 h 64844"/>
                <a:gd name="connsiteX3" fmla="*/ 0 w 39559"/>
                <a:gd name="connsiteY3" fmla="*/ 64844 h 6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9" h="64844">
                  <a:moveTo>
                    <a:pt x="0" y="0"/>
                  </a:moveTo>
                  <a:lnTo>
                    <a:pt x="39559" y="0"/>
                  </a:lnTo>
                  <a:lnTo>
                    <a:pt x="39559" y="64844"/>
                  </a:lnTo>
                  <a:lnTo>
                    <a:pt x="0" y="64844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4" name="Freihandform: Form 153">
              <a:extLst>
                <a:ext uri="{FF2B5EF4-FFF2-40B4-BE49-F238E27FC236}">
                  <a16:creationId xmlns:a16="http://schemas.microsoft.com/office/drawing/2014/main" id="{4C62E9F1-3E70-48F9-919F-91B7B7A77024}"/>
                </a:ext>
              </a:extLst>
            </p:cNvPr>
            <p:cNvSpPr/>
            <p:nvPr/>
          </p:nvSpPr>
          <p:spPr>
            <a:xfrm>
              <a:off x="4876123" y="3206408"/>
              <a:ext cx="39559" cy="64844"/>
            </a:xfrm>
            <a:custGeom>
              <a:avLst/>
              <a:gdLst>
                <a:gd name="connsiteX0" fmla="*/ 0 w 39559"/>
                <a:gd name="connsiteY0" fmla="*/ 0 h 64844"/>
                <a:gd name="connsiteX1" fmla="*/ 39559 w 39559"/>
                <a:gd name="connsiteY1" fmla="*/ 0 h 64844"/>
                <a:gd name="connsiteX2" fmla="*/ 39559 w 39559"/>
                <a:gd name="connsiteY2" fmla="*/ 64844 h 64844"/>
                <a:gd name="connsiteX3" fmla="*/ 0 w 39559"/>
                <a:gd name="connsiteY3" fmla="*/ 64844 h 6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9" h="64844">
                  <a:moveTo>
                    <a:pt x="0" y="0"/>
                  </a:moveTo>
                  <a:lnTo>
                    <a:pt x="39559" y="0"/>
                  </a:lnTo>
                  <a:lnTo>
                    <a:pt x="39559" y="64844"/>
                  </a:lnTo>
                  <a:lnTo>
                    <a:pt x="0" y="64844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5" name="Freihandform: Form 154">
              <a:extLst>
                <a:ext uri="{FF2B5EF4-FFF2-40B4-BE49-F238E27FC236}">
                  <a16:creationId xmlns:a16="http://schemas.microsoft.com/office/drawing/2014/main" id="{B2A1147E-7F62-4890-92F8-35CA94F776A7}"/>
                </a:ext>
              </a:extLst>
            </p:cNvPr>
            <p:cNvSpPr/>
            <p:nvPr/>
          </p:nvSpPr>
          <p:spPr>
            <a:xfrm>
              <a:off x="4671917" y="3206408"/>
              <a:ext cx="39559" cy="64844"/>
            </a:xfrm>
            <a:custGeom>
              <a:avLst/>
              <a:gdLst>
                <a:gd name="connsiteX0" fmla="*/ 0 w 39559"/>
                <a:gd name="connsiteY0" fmla="*/ 0 h 64844"/>
                <a:gd name="connsiteX1" fmla="*/ 39559 w 39559"/>
                <a:gd name="connsiteY1" fmla="*/ 0 h 64844"/>
                <a:gd name="connsiteX2" fmla="*/ 39559 w 39559"/>
                <a:gd name="connsiteY2" fmla="*/ 64844 h 64844"/>
                <a:gd name="connsiteX3" fmla="*/ 0 w 39559"/>
                <a:gd name="connsiteY3" fmla="*/ 64844 h 6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9" h="64844">
                  <a:moveTo>
                    <a:pt x="0" y="0"/>
                  </a:moveTo>
                  <a:lnTo>
                    <a:pt x="39559" y="0"/>
                  </a:lnTo>
                  <a:lnTo>
                    <a:pt x="39559" y="64844"/>
                  </a:lnTo>
                  <a:lnTo>
                    <a:pt x="0" y="64844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" name="Freihandform: Form 155">
              <a:extLst>
                <a:ext uri="{FF2B5EF4-FFF2-40B4-BE49-F238E27FC236}">
                  <a16:creationId xmlns:a16="http://schemas.microsoft.com/office/drawing/2014/main" id="{A36BA735-83B2-47CA-AE5F-6C9C0BE149A4}"/>
                </a:ext>
              </a:extLst>
            </p:cNvPr>
            <p:cNvSpPr/>
            <p:nvPr/>
          </p:nvSpPr>
          <p:spPr>
            <a:xfrm>
              <a:off x="4946871" y="3206408"/>
              <a:ext cx="39559" cy="64844"/>
            </a:xfrm>
            <a:custGeom>
              <a:avLst/>
              <a:gdLst>
                <a:gd name="connsiteX0" fmla="*/ 0 w 39559"/>
                <a:gd name="connsiteY0" fmla="*/ 0 h 64844"/>
                <a:gd name="connsiteX1" fmla="*/ 39559 w 39559"/>
                <a:gd name="connsiteY1" fmla="*/ 0 h 64844"/>
                <a:gd name="connsiteX2" fmla="*/ 39559 w 39559"/>
                <a:gd name="connsiteY2" fmla="*/ 64844 h 64844"/>
                <a:gd name="connsiteX3" fmla="*/ 0 w 39559"/>
                <a:gd name="connsiteY3" fmla="*/ 64844 h 6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9" h="64844">
                  <a:moveTo>
                    <a:pt x="0" y="0"/>
                  </a:moveTo>
                  <a:lnTo>
                    <a:pt x="39559" y="0"/>
                  </a:lnTo>
                  <a:lnTo>
                    <a:pt x="39559" y="64844"/>
                  </a:lnTo>
                  <a:lnTo>
                    <a:pt x="0" y="64844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" name="Freihandform: Form 156">
              <a:extLst>
                <a:ext uri="{FF2B5EF4-FFF2-40B4-BE49-F238E27FC236}">
                  <a16:creationId xmlns:a16="http://schemas.microsoft.com/office/drawing/2014/main" id="{932B4882-2531-472E-8811-824EB5FC7EA7}"/>
                </a:ext>
              </a:extLst>
            </p:cNvPr>
            <p:cNvSpPr/>
            <p:nvPr/>
          </p:nvSpPr>
          <p:spPr>
            <a:xfrm>
              <a:off x="4601218" y="3206408"/>
              <a:ext cx="39559" cy="64844"/>
            </a:xfrm>
            <a:custGeom>
              <a:avLst/>
              <a:gdLst>
                <a:gd name="connsiteX0" fmla="*/ 0 w 39559"/>
                <a:gd name="connsiteY0" fmla="*/ 0 h 64844"/>
                <a:gd name="connsiteX1" fmla="*/ 39559 w 39559"/>
                <a:gd name="connsiteY1" fmla="*/ 0 h 64844"/>
                <a:gd name="connsiteX2" fmla="*/ 39559 w 39559"/>
                <a:gd name="connsiteY2" fmla="*/ 64844 h 64844"/>
                <a:gd name="connsiteX3" fmla="*/ 0 w 39559"/>
                <a:gd name="connsiteY3" fmla="*/ 64844 h 6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9" h="64844">
                  <a:moveTo>
                    <a:pt x="0" y="0"/>
                  </a:moveTo>
                  <a:lnTo>
                    <a:pt x="39559" y="0"/>
                  </a:lnTo>
                  <a:lnTo>
                    <a:pt x="39559" y="64844"/>
                  </a:lnTo>
                  <a:lnTo>
                    <a:pt x="0" y="64844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" name="Freihandform: Form 157">
              <a:extLst>
                <a:ext uri="{FF2B5EF4-FFF2-40B4-BE49-F238E27FC236}">
                  <a16:creationId xmlns:a16="http://schemas.microsoft.com/office/drawing/2014/main" id="{2AE83C3C-E086-4E6A-A69E-93B0E9D9ADFB}"/>
                </a:ext>
              </a:extLst>
            </p:cNvPr>
            <p:cNvSpPr/>
            <p:nvPr/>
          </p:nvSpPr>
          <p:spPr>
            <a:xfrm>
              <a:off x="5017570" y="3206408"/>
              <a:ext cx="39559" cy="64844"/>
            </a:xfrm>
            <a:custGeom>
              <a:avLst/>
              <a:gdLst>
                <a:gd name="connsiteX0" fmla="*/ 0 w 39559"/>
                <a:gd name="connsiteY0" fmla="*/ 0 h 64844"/>
                <a:gd name="connsiteX1" fmla="*/ 39559 w 39559"/>
                <a:gd name="connsiteY1" fmla="*/ 0 h 64844"/>
                <a:gd name="connsiteX2" fmla="*/ 39559 w 39559"/>
                <a:gd name="connsiteY2" fmla="*/ 64844 h 64844"/>
                <a:gd name="connsiteX3" fmla="*/ 0 w 39559"/>
                <a:gd name="connsiteY3" fmla="*/ 64844 h 6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9" h="64844">
                  <a:moveTo>
                    <a:pt x="0" y="0"/>
                  </a:moveTo>
                  <a:lnTo>
                    <a:pt x="39559" y="0"/>
                  </a:lnTo>
                  <a:lnTo>
                    <a:pt x="39559" y="64844"/>
                  </a:lnTo>
                  <a:lnTo>
                    <a:pt x="0" y="64844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9" name="Freihandform: Form 158">
              <a:extLst>
                <a:ext uri="{FF2B5EF4-FFF2-40B4-BE49-F238E27FC236}">
                  <a16:creationId xmlns:a16="http://schemas.microsoft.com/office/drawing/2014/main" id="{50FB9C2F-98FC-4021-8244-13643E245722}"/>
                </a:ext>
              </a:extLst>
            </p:cNvPr>
            <p:cNvSpPr/>
            <p:nvPr/>
          </p:nvSpPr>
          <p:spPr>
            <a:xfrm>
              <a:off x="4809394" y="3206408"/>
              <a:ext cx="39559" cy="64844"/>
            </a:xfrm>
            <a:custGeom>
              <a:avLst/>
              <a:gdLst>
                <a:gd name="connsiteX0" fmla="*/ 0 w 39559"/>
                <a:gd name="connsiteY0" fmla="*/ 0 h 64844"/>
                <a:gd name="connsiteX1" fmla="*/ 39559 w 39559"/>
                <a:gd name="connsiteY1" fmla="*/ 0 h 64844"/>
                <a:gd name="connsiteX2" fmla="*/ 39559 w 39559"/>
                <a:gd name="connsiteY2" fmla="*/ 64844 h 64844"/>
                <a:gd name="connsiteX3" fmla="*/ 0 w 39559"/>
                <a:gd name="connsiteY3" fmla="*/ 64844 h 6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559" h="64844">
                  <a:moveTo>
                    <a:pt x="0" y="0"/>
                  </a:moveTo>
                  <a:lnTo>
                    <a:pt x="39559" y="0"/>
                  </a:lnTo>
                  <a:lnTo>
                    <a:pt x="39559" y="64844"/>
                  </a:lnTo>
                  <a:lnTo>
                    <a:pt x="0" y="64844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0" name="Freihandform: Form 159">
              <a:extLst>
                <a:ext uri="{FF2B5EF4-FFF2-40B4-BE49-F238E27FC236}">
                  <a16:creationId xmlns:a16="http://schemas.microsoft.com/office/drawing/2014/main" id="{517C9BCF-85D9-4B2F-8D4A-D1D366948683}"/>
                </a:ext>
              </a:extLst>
            </p:cNvPr>
            <p:cNvSpPr/>
            <p:nvPr/>
          </p:nvSpPr>
          <p:spPr>
            <a:xfrm>
              <a:off x="5147202" y="2788517"/>
              <a:ext cx="62615" cy="40974"/>
            </a:xfrm>
            <a:custGeom>
              <a:avLst/>
              <a:gdLst>
                <a:gd name="connsiteX0" fmla="*/ 0 w 62615"/>
                <a:gd name="connsiteY0" fmla="*/ 0 h 40974"/>
                <a:gd name="connsiteX1" fmla="*/ 62616 w 62615"/>
                <a:gd name="connsiteY1" fmla="*/ 0 h 40974"/>
                <a:gd name="connsiteX2" fmla="*/ 62616 w 62615"/>
                <a:gd name="connsiteY2" fmla="*/ 40974 h 40974"/>
                <a:gd name="connsiteX3" fmla="*/ 0 w 62615"/>
                <a:gd name="connsiteY3" fmla="*/ 40974 h 4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15" h="40974">
                  <a:moveTo>
                    <a:pt x="0" y="0"/>
                  </a:moveTo>
                  <a:lnTo>
                    <a:pt x="62616" y="0"/>
                  </a:lnTo>
                  <a:lnTo>
                    <a:pt x="62616" y="40974"/>
                  </a:lnTo>
                  <a:lnTo>
                    <a:pt x="0" y="40974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1" name="Freihandform: Form 160">
              <a:extLst>
                <a:ext uri="{FF2B5EF4-FFF2-40B4-BE49-F238E27FC236}">
                  <a16:creationId xmlns:a16="http://schemas.microsoft.com/office/drawing/2014/main" id="{14F131F9-7535-49A8-8850-07BCD1F30050}"/>
                </a:ext>
              </a:extLst>
            </p:cNvPr>
            <p:cNvSpPr/>
            <p:nvPr/>
          </p:nvSpPr>
          <p:spPr>
            <a:xfrm>
              <a:off x="5147202" y="2926734"/>
              <a:ext cx="62615" cy="40974"/>
            </a:xfrm>
            <a:custGeom>
              <a:avLst/>
              <a:gdLst>
                <a:gd name="connsiteX0" fmla="*/ 0 w 62615"/>
                <a:gd name="connsiteY0" fmla="*/ 0 h 40974"/>
                <a:gd name="connsiteX1" fmla="*/ 62616 w 62615"/>
                <a:gd name="connsiteY1" fmla="*/ 0 h 40974"/>
                <a:gd name="connsiteX2" fmla="*/ 62616 w 62615"/>
                <a:gd name="connsiteY2" fmla="*/ 40974 h 40974"/>
                <a:gd name="connsiteX3" fmla="*/ 0 w 62615"/>
                <a:gd name="connsiteY3" fmla="*/ 40974 h 4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15" h="40974">
                  <a:moveTo>
                    <a:pt x="0" y="0"/>
                  </a:moveTo>
                  <a:lnTo>
                    <a:pt x="62616" y="0"/>
                  </a:lnTo>
                  <a:lnTo>
                    <a:pt x="62616" y="40974"/>
                  </a:lnTo>
                  <a:lnTo>
                    <a:pt x="0" y="40974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2" name="Freihandform: Form 161">
              <a:extLst>
                <a:ext uri="{FF2B5EF4-FFF2-40B4-BE49-F238E27FC236}">
                  <a16:creationId xmlns:a16="http://schemas.microsoft.com/office/drawing/2014/main" id="{259C1541-D3E2-4E1E-889E-1F7DA85F37BB}"/>
                </a:ext>
              </a:extLst>
            </p:cNvPr>
            <p:cNvSpPr/>
            <p:nvPr/>
          </p:nvSpPr>
          <p:spPr>
            <a:xfrm>
              <a:off x="5147202" y="2715288"/>
              <a:ext cx="62615" cy="40926"/>
            </a:xfrm>
            <a:custGeom>
              <a:avLst/>
              <a:gdLst>
                <a:gd name="connsiteX0" fmla="*/ 0 w 62615"/>
                <a:gd name="connsiteY0" fmla="*/ 0 h 40926"/>
                <a:gd name="connsiteX1" fmla="*/ 62616 w 62615"/>
                <a:gd name="connsiteY1" fmla="*/ 0 h 40926"/>
                <a:gd name="connsiteX2" fmla="*/ 62616 w 62615"/>
                <a:gd name="connsiteY2" fmla="*/ 40927 h 40926"/>
                <a:gd name="connsiteX3" fmla="*/ 0 w 62615"/>
                <a:gd name="connsiteY3" fmla="*/ 40927 h 40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15" h="40926">
                  <a:moveTo>
                    <a:pt x="0" y="0"/>
                  </a:moveTo>
                  <a:lnTo>
                    <a:pt x="62616" y="0"/>
                  </a:lnTo>
                  <a:lnTo>
                    <a:pt x="62616" y="40927"/>
                  </a:lnTo>
                  <a:lnTo>
                    <a:pt x="0" y="40927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" name="Freihandform: Form 162">
              <a:extLst>
                <a:ext uri="{FF2B5EF4-FFF2-40B4-BE49-F238E27FC236}">
                  <a16:creationId xmlns:a16="http://schemas.microsoft.com/office/drawing/2014/main" id="{F745461D-534D-4D0F-8239-375650334AFE}"/>
                </a:ext>
              </a:extLst>
            </p:cNvPr>
            <p:cNvSpPr/>
            <p:nvPr/>
          </p:nvSpPr>
          <p:spPr>
            <a:xfrm>
              <a:off x="5147202" y="2999964"/>
              <a:ext cx="62615" cy="40974"/>
            </a:xfrm>
            <a:custGeom>
              <a:avLst/>
              <a:gdLst>
                <a:gd name="connsiteX0" fmla="*/ 0 w 62615"/>
                <a:gd name="connsiteY0" fmla="*/ 0 h 40974"/>
                <a:gd name="connsiteX1" fmla="*/ 62616 w 62615"/>
                <a:gd name="connsiteY1" fmla="*/ 0 h 40974"/>
                <a:gd name="connsiteX2" fmla="*/ 62616 w 62615"/>
                <a:gd name="connsiteY2" fmla="*/ 40974 h 40974"/>
                <a:gd name="connsiteX3" fmla="*/ 0 w 62615"/>
                <a:gd name="connsiteY3" fmla="*/ 40974 h 4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15" h="40974">
                  <a:moveTo>
                    <a:pt x="0" y="0"/>
                  </a:moveTo>
                  <a:lnTo>
                    <a:pt x="62616" y="0"/>
                  </a:lnTo>
                  <a:lnTo>
                    <a:pt x="62616" y="40974"/>
                  </a:lnTo>
                  <a:lnTo>
                    <a:pt x="0" y="40974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" name="Freihandform: Form 163">
              <a:extLst>
                <a:ext uri="{FF2B5EF4-FFF2-40B4-BE49-F238E27FC236}">
                  <a16:creationId xmlns:a16="http://schemas.microsoft.com/office/drawing/2014/main" id="{A4D45E8E-0FC4-4C75-98D2-539D6AD46D22}"/>
                </a:ext>
              </a:extLst>
            </p:cNvPr>
            <p:cNvSpPr/>
            <p:nvPr/>
          </p:nvSpPr>
          <p:spPr>
            <a:xfrm>
              <a:off x="5147202" y="2642058"/>
              <a:ext cx="62615" cy="40974"/>
            </a:xfrm>
            <a:custGeom>
              <a:avLst/>
              <a:gdLst>
                <a:gd name="connsiteX0" fmla="*/ 0 w 62615"/>
                <a:gd name="connsiteY0" fmla="*/ 0 h 40974"/>
                <a:gd name="connsiteX1" fmla="*/ 62616 w 62615"/>
                <a:gd name="connsiteY1" fmla="*/ 0 h 40974"/>
                <a:gd name="connsiteX2" fmla="*/ 62616 w 62615"/>
                <a:gd name="connsiteY2" fmla="*/ 40974 h 40974"/>
                <a:gd name="connsiteX3" fmla="*/ 0 w 62615"/>
                <a:gd name="connsiteY3" fmla="*/ 40974 h 4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15" h="40974">
                  <a:moveTo>
                    <a:pt x="0" y="0"/>
                  </a:moveTo>
                  <a:lnTo>
                    <a:pt x="62616" y="0"/>
                  </a:lnTo>
                  <a:lnTo>
                    <a:pt x="62616" y="40974"/>
                  </a:lnTo>
                  <a:lnTo>
                    <a:pt x="0" y="40974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" name="Freihandform: Form 164">
              <a:extLst>
                <a:ext uri="{FF2B5EF4-FFF2-40B4-BE49-F238E27FC236}">
                  <a16:creationId xmlns:a16="http://schemas.microsoft.com/office/drawing/2014/main" id="{3EA2D92D-9119-449F-A735-D74EDAD9337B}"/>
                </a:ext>
              </a:extLst>
            </p:cNvPr>
            <p:cNvSpPr/>
            <p:nvPr/>
          </p:nvSpPr>
          <p:spPr>
            <a:xfrm>
              <a:off x="5147202" y="3073194"/>
              <a:ext cx="62615" cy="40974"/>
            </a:xfrm>
            <a:custGeom>
              <a:avLst/>
              <a:gdLst>
                <a:gd name="connsiteX0" fmla="*/ 0 w 62615"/>
                <a:gd name="connsiteY0" fmla="*/ 0 h 40974"/>
                <a:gd name="connsiteX1" fmla="*/ 62616 w 62615"/>
                <a:gd name="connsiteY1" fmla="*/ 0 h 40974"/>
                <a:gd name="connsiteX2" fmla="*/ 62616 w 62615"/>
                <a:gd name="connsiteY2" fmla="*/ 40974 h 40974"/>
                <a:gd name="connsiteX3" fmla="*/ 0 w 62615"/>
                <a:gd name="connsiteY3" fmla="*/ 40974 h 4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15" h="40974">
                  <a:moveTo>
                    <a:pt x="0" y="0"/>
                  </a:moveTo>
                  <a:lnTo>
                    <a:pt x="62616" y="0"/>
                  </a:lnTo>
                  <a:lnTo>
                    <a:pt x="62616" y="40974"/>
                  </a:lnTo>
                  <a:lnTo>
                    <a:pt x="0" y="40974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" name="Freihandform: Form 165">
              <a:extLst>
                <a:ext uri="{FF2B5EF4-FFF2-40B4-BE49-F238E27FC236}">
                  <a16:creationId xmlns:a16="http://schemas.microsoft.com/office/drawing/2014/main" id="{CC69CB06-DF88-4242-8109-CDBB0C27CDD6}"/>
                </a:ext>
              </a:extLst>
            </p:cNvPr>
            <p:cNvSpPr/>
            <p:nvPr/>
          </p:nvSpPr>
          <p:spPr>
            <a:xfrm>
              <a:off x="5147202" y="2857650"/>
              <a:ext cx="62615" cy="40926"/>
            </a:xfrm>
            <a:custGeom>
              <a:avLst/>
              <a:gdLst>
                <a:gd name="connsiteX0" fmla="*/ 0 w 62615"/>
                <a:gd name="connsiteY0" fmla="*/ 0 h 40926"/>
                <a:gd name="connsiteX1" fmla="*/ 62616 w 62615"/>
                <a:gd name="connsiteY1" fmla="*/ 0 h 40926"/>
                <a:gd name="connsiteX2" fmla="*/ 62616 w 62615"/>
                <a:gd name="connsiteY2" fmla="*/ 40927 h 40926"/>
                <a:gd name="connsiteX3" fmla="*/ 0 w 62615"/>
                <a:gd name="connsiteY3" fmla="*/ 40927 h 40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15" h="40926">
                  <a:moveTo>
                    <a:pt x="0" y="0"/>
                  </a:moveTo>
                  <a:lnTo>
                    <a:pt x="62616" y="0"/>
                  </a:lnTo>
                  <a:lnTo>
                    <a:pt x="62616" y="40927"/>
                  </a:lnTo>
                  <a:lnTo>
                    <a:pt x="0" y="40927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" name="Freihandform: Form 166">
              <a:extLst>
                <a:ext uri="{FF2B5EF4-FFF2-40B4-BE49-F238E27FC236}">
                  <a16:creationId xmlns:a16="http://schemas.microsoft.com/office/drawing/2014/main" id="{C98FC416-CC41-4349-B288-6695D09FB721}"/>
                </a:ext>
              </a:extLst>
            </p:cNvPr>
            <p:cNvSpPr/>
            <p:nvPr/>
          </p:nvSpPr>
          <p:spPr>
            <a:xfrm>
              <a:off x="4448482" y="2788517"/>
              <a:ext cx="62615" cy="40974"/>
            </a:xfrm>
            <a:custGeom>
              <a:avLst/>
              <a:gdLst>
                <a:gd name="connsiteX0" fmla="*/ 0 w 62615"/>
                <a:gd name="connsiteY0" fmla="*/ 0 h 40974"/>
                <a:gd name="connsiteX1" fmla="*/ 62616 w 62615"/>
                <a:gd name="connsiteY1" fmla="*/ 0 h 40974"/>
                <a:gd name="connsiteX2" fmla="*/ 62616 w 62615"/>
                <a:gd name="connsiteY2" fmla="*/ 40974 h 40974"/>
                <a:gd name="connsiteX3" fmla="*/ 0 w 62615"/>
                <a:gd name="connsiteY3" fmla="*/ 40974 h 4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15" h="40974">
                  <a:moveTo>
                    <a:pt x="0" y="0"/>
                  </a:moveTo>
                  <a:lnTo>
                    <a:pt x="62616" y="0"/>
                  </a:lnTo>
                  <a:lnTo>
                    <a:pt x="62616" y="40974"/>
                  </a:lnTo>
                  <a:lnTo>
                    <a:pt x="0" y="40974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" name="Freihandform: Form 167">
              <a:extLst>
                <a:ext uri="{FF2B5EF4-FFF2-40B4-BE49-F238E27FC236}">
                  <a16:creationId xmlns:a16="http://schemas.microsoft.com/office/drawing/2014/main" id="{479A4460-42AA-4716-ACD9-AEB10F014209}"/>
                </a:ext>
              </a:extLst>
            </p:cNvPr>
            <p:cNvSpPr/>
            <p:nvPr/>
          </p:nvSpPr>
          <p:spPr>
            <a:xfrm>
              <a:off x="4448482" y="2926734"/>
              <a:ext cx="62615" cy="40974"/>
            </a:xfrm>
            <a:custGeom>
              <a:avLst/>
              <a:gdLst>
                <a:gd name="connsiteX0" fmla="*/ 0 w 62615"/>
                <a:gd name="connsiteY0" fmla="*/ 0 h 40974"/>
                <a:gd name="connsiteX1" fmla="*/ 62616 w 62615"/>
                <a:gd name="connsiteY1" fmla="*/ 0 h 40974"/>
                <a:gd name="connsiteX2" fmla="*/ 62616 w 62615"/>
                <a:gd name="connsiteY2" fmla="*/ 40974 h 40974"/>
                <a:gd name="connsiteX3" fmla="*/ 0 w 62615"/>
                <a:gd name="connsiteY3" fmla="*/ 40974 h 4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15" h="40974">
                  <a:moveTo>
                    <a:pt x="0" y="0"/>
                  </a:moveTo>
                  <a:lnTo>
                    <a:pt x="62616" y="0"/>
                  </a:lnTo>
                  <a:lnTo>
                    <a:pt x="62616" y="40974"/>
                  </a:lnTo>
                  <a:lnTo>
                    <a:pt x="0" y="40974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9" name="Freihandform: Form 168">
              <a:extLst>
                <a:ext uri="{FF2B5EF4-FFF2-40B4-BE49-F238E27FC236}">
                  <a16:creationId xmlns:a16="http://schemas.microsoft.com/office/drawing/2014/main" id="{F547E450-7B87-4934-94EB-553530B17FBD}"/>
                </a:ext>
              </a:extLst>
            </p:cNvPr>
            <p:cNvSpPr/>
            <p:nvPr/>
          </p:nvSpPr>
          <p:spPr>
            <a:xfrm>
              <a:off x="4448482" y="2715288"/>
              <a:ext cx="62615" cy="40974"/>
            </a:xfrm>
            <a:custGeom>
              <a:avLst/>
              <a:gdLst>
                <a:gd name="connsiteX0" fmla="*/ 0 w 62615"/>
                <a:gd name="connsiteY0" fmla="*/ 0 h 40974"/>
                <a:gd name="connsiteX1" fmla="*/ 62616 w 62615"/>
                <a:gd name="connsiteY1" fmla="*/ 0 h 40974"/>
                <a:gd name="connsiteX2" fmla="*/ 62616 w 62615"/>
                <a:gd name="connsiteY2" fmla="*/ 40974 h 40974"/>
                <a:gd name="connsiteX3" fmla="*/ 0 w 62615"/>
                <a:gd name="connsiteY3" fmla="*/ 40974 h 4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15" h="40974">
                  <a:moveTo>
                    <a:pt x="0" y="0"/>
                  </a:moveTo>
                  <a:lnTo>
                    <a:pt x="62616" y="0"/>
                  </a:lnTo>
                  <a:lnTo>
                    <a:pt x="62616" y="40974"/>
                  </a:lnTo>
                  <a:lnTo>
                    <a:pt x="0" y="40974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" name="Freihandform: Form 169">
              <a:extLst>
                <a:ext uri="{FF2B5EF4-FFF2-40B4-BE49-F238E27FC236}">
                  <a16:creationId xmlns:a16="http://schemas.microsoft.com/office/drawing/2014/main" id="{3E173841-BB24-4951-9016-25AE520C7CFE}"/>
                </a:ext>
              </a:extLst>
            </p:cNvPr>
            <p:cNvSpPr/>
            <p:nvPr/>
          </p:nvSpPr>
          <p:spPr>
            <a:xfrm>
              <a:off x="4448482" y="2999964"/>
              <a:ext cx="62615" cy="40974"/>
            </a:xfrm>
            <a:custGeom>
              <a:avLst/>
              <a:gdLst>
                <a:gd name="connsiteX0" fmla="*/ 0 w 62615"/>
                <a:gd name="connsiteY0" fmla="*/ 0 h 40974"/>
                <a:gd name="connsiteX1" fmla="*/ 62616 w 62615"/>
                <a:gd name="connsiteY1" fmla="*/ 0 h 40974"/>
                <a:gd name="connsiteX2" fmla="*/ 62616 w 62615"/>
                <a:gd name="connsiteY2" fmla="*/ 40974 h 40974"/>
                <a:gd name="connsiteX3" fmla="*/ 0 w 62615"/>
                <a:gd name="connsiteY3" fmla="*/ 40974 h 4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15" h="40974">
                  <a:moveTo>
                    <a:pt x="0" y="0"/>
                  </a:moveTo>
                  <a:lnTo>
                    <a:pt x="62616" y="0"/>
                  </a:lnTo>
                  <a:lnTo>
                    <a:pt x="62616" y="40974"/>
                  </a:lnTo>
                  <a:lnTo>
                    <a:pt x="0" y="40974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" name="Freihandform: Form 170">
              <a:extLst>
                <a:ext uri="{FF2B5EF4-FFF2-40B4-BE49-F238E27FC236}">
                  <a16:creationId xmlns:a16="http://schemas.microsoft.com/office/drawing/2014/main" id="{33BB5A18-7BD1-4AF8-B9E1-5C92659669CB}"/>
                </a:ext>
              </a:extLst>
            </p:cNvPr>
            <p:cNvSpPr/>
            <p:nvPr/>
          </p:nvSpPr>
          <p:spPr>
            <a:xfrm>
              <a:off x="4448482" y="2642058"/>
              <a:ext cx="62615" cy="40974"/>
            </a:xfrm>
            <a:custGeom>
              <a:avLst/>
              <a:gdLst>
                <a:gd name="connsiteX0" fmla="*/ 0 w 62615"/>
                <a:gd name="connsiteY0" fmla="*/ 0 h 40974"/>
                <a:gd name="connsiteX1" fmla="*/ 62616 w 62615"/>
                <a:gd name="connsiteY1" fmla="*/ 0 h 40974"/>
                <a:gd name="connsiteX2" fmla="*/ 62616 w 62615"/>
                <a:gd name="connsiteY2" fmla="*/ 40974 h 40974"/>
                <a:gd name="connsiteX3" fmla="*/ 0 w 62615"/>
                <a:gd name="connsiteY3" fmla="*/ 40974 h 4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15" h="40974">
                  <a:moveTo>
                    <a:pt x="0" y="0"/>
                  </a:moveTo>
                  <a:lnTo>
                    <a:pt x="62616" y="0"/>
                  </a:lnTo>
                  <a:lnTo>
                    <a:pt x="62616" y="40974"/>
                  </a:lnTo>
                  <a:lnTo>
                    <a:pt x="0" y="40974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" name="Freihandform: Form 171">
              <a:extLst>
                <a:ext uri="{FF2B5EF4-FFF2-40B4-BE49-F238E27FC236}">
                  <a16:creationId xmlns:a16="http://schemas.microsoft.com/office/drawing/2014/main" id="{20418D1A-C4FB-43E2-8955-5FBDFEE3B788}"/>
                </a:ext>
              </a:extLst>
            </p:cNvPr>
            <p:cNvSpPr/>
            <p:nvPr/>
          </p:nvSpPr>
          <p:spPr>
            <a:xfrm>
              <a:off x="4448482" y="3073194"/>
              <a:ext cx="62615" cy="40974"/>
            </a:xfrm>
            <a:custGeom>
              <a:avLst/>
              <a:gdLst>
                <a:gd name="connsiteX0" fmla="*/ 0 w 62615"/>
                <a:gd name="connsiteY0" fmla="*/ 0 h 40974"/>
                <a:gd name="connsiteX1" fmla="*/ 62616 w 62615"/>
                <a:gd name="connsiteY1" fmla="*/ 0 h 40974"/>
                <a:gd name="connsiteX2" fmla="*/ 62616 w 62615"/>
                <a:gd name="connsiteY2" fmla="*/ 40974 h 40974"/>
                <a:gd name="connsiteX3" fmla="*/ 0 w 62615"/>
                <a:gd name="connsiteY3" fmla="*/ 40974 h 4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15" h="40974">
                  <a:moveTo>
                    <a:pt x="0" y="0"/>
                  </a:moveTo>
                  <a:lnTo>
                    <a:pt x="62616" y="0"/>
                  </a:lnTo>
                  <a:lnTo>
                    <a:pt x="62616" y="40974"/>
                  </a:lnTo>
                  <a:lnTo>
                    <a:pt x="0" y="40974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" name="Freihandform: Form 172">
              <a:extLst>
                <a:ext uri="{FF2B5EF4-FFF2-40B4-BE49-F238E27FC236}">
                  <a16:creationId xmlns:a16="http://schemas.microsoft.com/office/drawing/2014/main" id="{707FC4A0-38BC-46FA-925F-881AEC438A86}"/>
                </a:ext>
              </a:extLst>
            </p:cNvPr>
            <p:cNvSpPr/>
            <p:nvPr/>
          </p:nvSpPr>
          <p:spPr>
            <a:xfrm>
              <a:off x="4448482" y="2857650"/>
              <a:ext cx="62615" cy="40926"/>
            </a:xfrm>
            <a:custGeom>
              <a:avLst/>
              <a:gdLst>
                <a:gd name="connsiteX0" fmla="*/ 0 w 62615"/>
                <a:gd name="connsiteY0" fmla="*/ 0 h 40926"/>
                <a:gd name="connsiteX1" fmla="*/ 62616 w 62615"/>
                <a:gd name="connsiteY1" fmla="*/ 0 h 40926"/>
                <a:gd name="connsiteX2" fmla="*/ 62616 w 62615"/>
                <a:gd name="connsiteY2" fmla="*/ 40927 h 40926"/>
                <a:gd name="connsiteX3" fmla="*/ 0 w 62615"/>
                <a:gd name="connsiteY3" fmla="*/ 40927 h 40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615" h="40926">
                  <a:moveTo>
                    <a:pt x="0" y="0"/>
                  </a:moveTo>
                  <a:lnTo>
                    <a:pt x="62616" y="0"/>
                  </a:lnTo>
                  <a:lnTo>
                    <a:pt x="62616" y="40927"/>
                  </a:lnTo>
                  <a:lnTo>
                    <a:pt x="0" y="40927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4" name="Freihandform: Form 173">
              <a:extLst>
                <a:ext uri="{FF2B5EF4-FFF2-40B4-BE49-F238E27FC236}">
                  <a16:creationId xmlns:a16="http://schemas.microsoft.com/office/drawing/2014/main" id="{2E6970D7-D01D-41FC-A045-EDE1ABA18D96}"/>
                </a:ext>
              </a:extLst>
            </p:cNvPr>
            <p:cNvSpPr/>
            <p:nvPr/>
          </p:nvSpPr>
          <p:spPr>
            <a:xfrm>
              <a:off x="4660628" y="2775224"/>
              <a:ext cx="235585" cy="214924"/>
            </a:xfrm>
            <a:custGeom>
              <a:avLst/>
              <a:gdLst>
                <a:gd name="connsiteX0" fmla="*/ 81879 w 235585"/>
                <a:gd name="connsiteY0" fmla="*/ -60 h 214924"/>
                <a:gd name="connsiteX1" fmla="*/ 152387 w 235585"/>
                <a:gd name="connsiteY1" fmla="*/ -60 h 214924"/>
                <a:gd name="connsiteX2" fmla="*/ 235524 w 235585"/>
                <a:gd name="connsiteY2" fmla="*/ 214865 h 214924"/>
                <a:gd name="connsiteX3" fmla="*/ 172477 w 235585"/>
                <a:gd name="connsiteY3" fmla="*/ 214865 h 214924"/>
                <a:gd name="connsiteX4" fmla="*/ 156405 w 235585"/>
                <a:gd name="connsiteY4" fmla="*/ 168983 h 214924"/>
                <a:gd name="connsiteX5" fmla="*/ 75373 w 235585"/>
                <a:gd name="connsiteY5" fmla="*/ 168983 h 214924"/>
                <a:gd name="connsiteX6" fmla="*/ 58392 w 235585"/>
                <a:gd name="connsiteY6" fmla="*/ 214865 h 214924"/>
                <a:gd name="connsiteX7" fmla="*/ -62 w 235585"/>
                <a:gd name="connsiteY7" fmla="*/ 214865 h 214924"/>
                <a:gd name="connsiteX8" fmla="*/ 117133 w 235585"/>
                <a:gd name="connsiteY8" fmla="*/ 44249 h 214924"/>
                <a:gd name="connsiteX9" fmla="*/ 116511 w 235585"/>
                <a:gd name="connsiteY9" fmla="*/ 44249 h 214924"/>
                <a:gd name="connsiteX10" fmla="*/ 88671 w 235585"/>
                <a:gd name="connsiteY10" fmla="*/ 128342 h 214924"/>
                <a:gd name="connsiteX11" fmla="*/ 142772 w 235585"/>
                <a:gd name="connsiteY11" fmla="*/ 128342 h 214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5585" h="214924">
                  <a:moveTo>
                    <a:pt x="81879" y="-60"/>
                  </a:moveTo>
                  <a:lnTo>
                    <a:pt x="152387" y="-60"/>
                  </a:lnTo>
                  <a:lnTo>
                    <a:pt x="235524" y="214865"/>
                  </a:lnTo>
                  <a:lnTo>
                    <a:pt x="172477" y="214865"/>
                  </a:lnTo>
                  <a:lnTo>
                    <a:pt x="156405" y="168983"/>
                  </a:lnTo>
                  <a:lnTo>
                    <a:pt x="75373" y="168983"/>
                  </a:lnTo>
                  <a:lnTo>
                    <a:pt x="58392" y="214865"/>
                  </a:lnTo>
                  <a:lnTo>
                    <a:pt x="-62" y="214865"/>
                  </a:lnTo>
                  <a:close/>
                  <a:moveTo>
                    <a:pt x="117133" y="44249"/>
                  </a:moveTo>
                  <a:lnTo>
                    <a:pt x="116511" y="44249"/>
                  </a:lnTo>
                  <a:lnTo>
                    <a:pt x="88671" y="128342"/>
                  </a:lnTo>
                  <a:lnTo>
                    <a:pt x="142772" y="128342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5" name="Freihandform: Form 174">
              <a:extLst>
                <a:ext uri="{FF2B5EF4-FFF2-40B4-BE49-F238E27FC236}">
                  <a16:creationId xmlns:a16="http://schemas.microsoft.com/office/drawing/2014/main" id="{865C9633-0D43-4716-AE59-228CE0CF6567}"/>
                </a:ext>
              </a:extLst>
            </p:cNvPr>
            <p:cNvSpPr/>
            <p:nvPr/>
          </p:nvSpPr>
          <p:spPr>
            <a:xfrm>
              <a:off x="4921566" y="2775224"/>
              <a:ext cx="57401" cy="214924"/>
            </a:xfrm>
            <a:custGeom>
              <a:avLst/>
              <a:gdLst>
                <a:gd name="connsiteX0" fmla="*/ -62 w 57401"/>
                <a:gd name="connsiteY0" fmla="*/ -60 h 214924"/>
                <a:gd name="connsiteX1" fmla="*/ 57339 w 57401"/>
                <a:gd name="connsiteY1" fmla="*/ -60 h 214924"/>
                <a:gd name="connsiteX2" fmla="*/ 57339 w 57401"/>
                <a:gd name="connsiteY2" fmla="*/ 214865 h 214924"/>
                <a:gd name="connsiteX3" fmla="*/ -62 w 57401"/>
                <a:gd name="connsiteY3" fmla="*/ 214865 h 214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401" h="214924">
                  <a:moveTo>
                    <a:pt x="-62" y="-60"/>
                  </a:moveTo>
                  <a:lnTo>
                    <a:pt x="57339" y="-60"/>
                  </a:lnTo>
                  <a:lnTo>
                    <a:pt x="57339" y="214865"/>
                  </a:lnTo>
                  <a:lnTo>
                    <a:pt x="-62" y="214865"/>
                  </a:ln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6" name="Freihandform: Form 175">
              <a:extLst>
                <a:ext uri="{FF2B5EF4-FFF2-40B4-BE49-F238E27FC236}">
                  <a16:creationId xmlns:a16="http://schemas.microsoft.com/office/drawing/2014/main" id="{0342A421-9D33-47BF-80F8-362B770E1B35}"/>
                </a:ext>
              </a:extLst>
            </p:cNvPr>
            <p:cNvSpPr/>
            <p:nvPr/>
          </p:nvSpPr>
          <p:spPr>
            <a:xfrm>
              <a:off x="4538028" y="2576642"/>
              <a:ext cx="582243" cy="602894"/>
            </a:xfrm>
            <a:custGeom>
              <a:avLst/>
              <a:gdLst>
                <a:gd name="connsiteX0" fmla="*/ 524780 w 582243"/>
                <a:gd name="connsiteY0" fmla="*/ 32290 h 602894"/>
                <a:gd name="connsiteX1" fmla="*/ 549702 w 582243"/>
                <a:gd name="connsiteY1" fmla="*/ 57113 h 602894"/>
                <a:gd name="connsiteX2" fmla="*/ 549702 w 582243"/>
                <a:gd name="connsiteY2" fmla="*/ 545661 h 602894"/>
                <a:gd name="connsiteX3" fmla="*/ 524828 w 582243"/>
                <a:gd name="connsiteY3" fmla="*/ 570436 h 602894"/>
                <a:gd name="connsiteX4" fmla="*/ 524780 w 582243"/>
                <a:gd name="connsiteY4" fmla="*/ 570436 h 602894"/>
                <a:gd name="connsiteX5" fmla="*/ 57339 w 582243"/>
                <a:gd name="connsiteY5" fmla="*/ 570436 h 602894"/>
                <a:gd name="connsiteX6" fmla="*/ 32418 w 582243"/>
                <a:gd name="connsiteY6" fmla="*/ 545661 h 602894"/>
                <a:gd name="connsiteX7" fmla="*/ 32418 w 582243"/>
                <a:gd name="connsiteY7" fmla="*/ 57113 h 602894"/>
                <a:gd name="connsiteX8" fmla="*/ 57339 w 582243"/>
                <a:gd name="connsiteY8" fmla="*/ 32290 h 602894"/>
                <a:gd name="connsiteX9" fmla="*/ 524780 w 582243"/>
                <a:gd name="connsiteY9" fmla="*/ 32290 h 602894"/>
                <a:gd name="connsiteX10" fmla="*/ 524780 w 582243"/>
                <a:gd name="connsiteY10" fmla="*/ -60 h 602894"/>
                <a:gd name="connsiteX11" fmla="*/ 57339 w 582243"/>
                <a:gd name="connsiteY11" fmla="*/ -60 h 602894"/>
                <a:gd name="connsiteX12" fmla="*/ -62 w 582243"/>
                <a:gd name="connsiteY12" fmla="*/ 57113 h 602894"/>
                <a:gd name="connsiteX13" fmla="*/ -62 w 582243"/>
                <a:gd name="connsiteY13" fmla="*/ 545661 h 602894"/>
                <a:gd name="connsiteX14" fmla="*/ 57339 w 582243"/>
                <a:gd name="connsiteY14" fmla="*/ 602835 h 602894"/>
                <a:gd name="connsiteX15" fmla="*/ 524780 w 582243"/>
                <a:gd name="connsiteY15" fmla="*/ 602835 h 602894"/>
                <a:gd name="connsiteX16" fmla="*/ 582181 w 582243"/>
                <a:gd name="connsiteY16" fmla="*/ 545661 h 602894"/>
                <a:gd name="connsiteX17" fmla="*/ 582181 w 582243"/>
                <a:gd name="connsiteY17" fmla="*/ 57113 h 602894"/>
                <a:gd name="connsiteX18" fmla="*/ 524780 w 582243"/>
                <a:gd name="connsiteY18" fmla="*/ -60 h 602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82243" h="602894">
                  <a:moveTo>
                    <a:pt x="524780" y="32290"/>
                  </a:moveTo>
                  <a:cubicBezTo>
                    <a:pt x="538544" y="32290"/>
                    <a:pt x="549702" y="43404"/>
                    <a:pt x="549702" y="57113"/>
                  </a:cubicBezTo>
                  <a:lnTo>
                    <a:pt x="549702" y="545661"/>
                  </a:lnTo>
                  <a:cubicBezTo>
                    <a:pt x="549702" y="559344"/>
                    <a:pt x="538565" y="570436"/>
                    <a:pt x="524828" y="570436"/>
                  </a:cubicBezTo>
                  <a:cubicBezTo>
                    <a:pt x="524812" y="570436"/>
                    <a:pt x="524796" y="570436"/>
                    <a:pt x="524780" y="570436"/>
                  </a:cubicBezTo>
                  <a:lnTo>
                    <a:pt x="57339" y="570436"/>
                  </a:lnTo>
                  <a:cubicBezTo>
                    <a:pt x="43594" y="570436"/>
                    <a:pt x="32444" y="559352"/>
                    <a:pt x="32418" y="545661"/>
                  </a:cubicBezTo>
                  <a:lnTo>
                    <a:pt x="32418" y="57113"/>
                  </a:lnTo>
                  <a:cubicBezTo>
                    <a:pt x="32444" y="43415"/>
                    <a:pt x="43586" y="32317"/>
                    <a:pt x="57339" y="32290"/>
                  </a:cubicBezTo>
                  <a:lnTo>
                    <a:pt x="524780" y="32290"/>
                  </a:lnTo>
                  <a:moveTo>
                    <a:pt x="524780" y="-60"/>
                  </a:moveTo>
                  <a:lnTo>
                    <a:pt x="57339" y="-60"/>
                  </a:lnTo>
                  <a:cubicBezTo>
                    <a:pt x="25637" y="-60"/>
                    <a:pt x="-62" y="25537"/>
                    <a:pt x="-62" y="57113"/>
                  </a:cubicBezTo>
                  <a:lnTo>
                    <a:pt x="-62" y="545661"/>
                  </a:lnTo>
                  <a:cubicBezTo>
                    <a:pt x="-62" y="577237"/>
                    <a:pt x="25637" y="602835"/>
                    <a:pt x="57339" y="602835"/>
                  </a:cubicBezTo>
                  <a:lnTo>
                    <a:pt x="524780" y="602835"/>
                  </a:lnTo>
                  <a:cubicBezTo>
                    <a:pt x="556482" y="602835"/>
                    <a:pt x="582181" y="577237"/>
                    <a:pt x="582181" y="545661"/>
                  </a:cubicBezTo>
                  <a:lnTo>
                    <a:pt x="582181" y="57113"/>
                  </a:lnTo>
                  <a:cubicBezTo>
                    <a:pt x="582181" y="25537"/>
                    <a:pt x="556482" y="-60"/>
                    <a:pt x="524780" y="-60"/>
                  </a:cubicBezTo>
                  <a:close/>
                </a:path>
              </a:pathLst>
            </a:custGeom>
            <a:grpFill/>
            <a:ln w="4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77" name="Gruppieren 176">
            <a:extLst>
              <a:ext uri="{FF2B5EF4-FFF2-40B4-BE49-F238E27FC236}">
                <a16:creationId xmlns:a16="http://schemas.microsoft.com/office/drawing/2014/main" id="{1F2EE5A1-712A-46E2-9773-470B7753737E}"/>
              </a:ext>
            </a:extLst>
          </p:cNvPr>
          <p:cNvGrpSpPr/>
          <p:nvPr/>
        </p:nvGrpSpPr>
        <p:grpSpPr>
          <a:xfrm>
            <a:off x="6992094" y="3715165"/>
            <a:ext cx="751709" cy="760526"/>
            <a:chOff x="6992094" y="2510048"/>
            <a:chExt cx="751709" cy="760526"/>
          </a:xfrm>
          <a:solidFill>
            <a:schemeClr val="bg1"/>
          </a:solidFill>
        </p:grpSpPr>
        <p:sp>
          <p:nvSpPr>
            <p:cNvPr id="178" name="Freihandform: Form 177">
              <a:extLst>
                <a:ext uri="{FF2B5EF4-FFF2-40B4-BE49-F238E27FC236}">
                  <a16:creationId xmlns:a16="http://schemas.microsoft.com/office/drawing/2014/main" id="{D2798ACF-49F5-4D2C-89CA-C6407563C0E6}"/>
                </a:ext>
              </a:extLst>
            </p:cNvPr>
            <p:cNvSpPr/>
            <p:nvPr/>
          </p:nvSpPr>
          <p:spPr>
            <a:xfrm>
              <a:off x="7215878" y="3074784"/>
              <a:ext cx="136184" cy="195570"/>
            </a:xfrm>
            <a:custGeom>
              <a:avLst/>
              <a:gdLst>
                <a:gd name="connsiteX0" fmla="*/ 94778 w 136184"/>
                <a:gd name="connsiteY0" fmla="*/ 177720 h 195570"/>
                <a:gd name="connsiteX1" fmla="*/ 124301 w 136184"/>
                <a:gd name="connsiteY1" fmla="*/ 194854 h 195570"/>
                <a:gd name="connsiteX2" fmla="*/ 136128 w 136184"/>
                <a:gd name="connsiteY2" fmla="*/ 195515 h 195570"/>
                <a:gd name="connsiteX3" fmla="*/ 136128 w 136184"/>
                <a:gd name="connsiteY3" fmla="*/ -55 h 195570"/>
                <a:gd name="connsiteX4" fmla="*/ -57 w 136184"/>
                <a:gd name="connsiteY4" fmla="*/ 5803 h 195570"/>
                <a:gd name="connsiteX5" fmla="*/ 35865 w 136184"/>
                <a:gd name="connsiteY5" fmla="*/ 100989 h 195570"/>
                <a:gd name="connsiteX6" fmla="*/ 94778 w 136184"/>
                <a:gd name="connsiteY6" fmla="*/ 177720 h 195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6184" h="195570">
                  <a:moveTo>
                    <a:pt x="94778" y="177720"/>
                  </a:moveTo>
                  <a:cubicBezTo>
                    <a:pt x="103669" y="184926"/>
                    <a:pt x="113629" y="190707"/>
                    <a:pt x="124301" y="194854"/>
                  </a:cubicBezTo>
                  <a:cubicBezTo>
                    <a:pt x="128229" y="195119"/>
                    <a:pt x="132201" y="195383"/>
                    <a:pt x="136128" y="195515"/>
                  </a:cubicBezTo>
                  <a:lnTo>
                    <a:pt x="136128" y="-55"/>
                  </a:lnTo>
                  <a:cubicBezTo>
                    <a:pt x="88159" y="253"/>
                    <a:pt x="42352" y="2235"/>
                    <a:pt x="-57" y="5803"/>
                  </a:cubicBezTo>
                  <a:cubicBezTo>
                    <a:pt x="8469" y="38724"/>
                    <a:pt x="20512" y="70636"/>
                    <a:pt x="35865" y="100989"/>
                  </a:cubicBezTo>
                  <a:cubicBezTo>
                    <a:pt x="53341" y="134862"/>
                    <a:pt x="73199" y="160718"/>
                    <a:pt x="94778" y="177720"/>
                  </a:cubicBezTo>
                  <a:close/>
                </a:path>
              </a:pathLst>
            </a:custGeom>
            <a:grpFill/>
            <a:ln w="43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" name="Freihandform: Form 178">
              <a:extLst>
                <a:ext uri="{FF2B5EF4-FFF2-40B4-BE49-F238E27FC236}">
                  <a16:creationId xmlns:a16="http://schemas.microsoft.com/office/drawing/2014/main" id="{E601802C-716E-4BC2-AD81-CF8115982283}"/>
                </a:ext>
              </a:extLst>
            </p:cNvPr>
            <p:cNvSpPr/>
            <p:nvPr/>
          </p:nvSpPr>
          <p:spPr>
            <a:xfrm>
              <a:off x="7383925" y="2911677"/>
              <a:ext cx="158867" cy="137736"/>
            </a:xfrm>
            <a:custGeom>
              <a:avLst/>
              <a:gdLst>
                <a:gd name="connsiteX0" fmla="*/ 143454 w 158867"/>
                <a:gd name="connsiteY0" fmla="*/ 137681 h 137736"/>
                <a:gd name="connsiteX1" fmla="*/ 158811 w 158867"/>
                <a:gd name="connsiteY1" fmla="*/ -55 h 137736"/>
                <a:gd name="connsiteX2" fmla="*/ -57 w 158867"/>
                <a:gd name="connsiteY2" fmla="*/ -55 h 137736"/>
                <a:gd name="connsiteX3" fmla="*/ -57 w 158867"/>
                <a:gd name="connsiteY3" fmla="*/ 131382 h 137736"/>
                <a:gd name="connsiteX4" fmla="*/ 143454 w 158867"/>
                <a:gd name="connsiteY4" fmla="*/ 137681 h 137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867" h="137736">
                  <a:moveTo>
                    <a:pt x="143454" y="137681"/>
                  </a:moveTo>
                  <a:cubicBezTo>
                    <a:pt x="152907" y="92354"/>
                    <a:pt x="158049" y="46237"/>
                    <a:pt x="158811" y="-55"/>
                  </a:cubicBezTo>
                  <a:lnTo>
                    <a:pt x="-57" y="-55"/>
                  </a:lnTo>
                  <a:lnTo>
                    <a:pt x="-57" y="131382"/>
                  </a:lnTo>
                  <a:cubicBezTo>
                    <a:pt x="50693" y="131734"/>
                    <a:pt x="98971" y="133805"/>
                    <a:pt x="143454" y="137681"/>
                  </a:cubicBezTo>
                  <a:close/>
                </a:path>
              </a:pathLst>
            </a:custGeom>
            <a:grpFill/>
            <a:ln w="43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" name="Freihandform: Form 179">
              <a:extLst>
                <a:ext uri="{FF2B5EF4-FFF2-40B4-BE49-F238E27FC236}">
                  <a16:creationId xmlns:a16="http://schemas.microsoft.com/office/drawing/2014/main" id="{CCC598BE-F778-4C93-9E8B-631C23A094B8}"/>
                </a:ext>
              </a:extLst>
            </p:cNvPr>
            <p:cNvSpPr/>
            <p:nvPr/>
          </p:nvSpPr>
          <p:spPr>
            <a:xfrm>
              <a:off x="7559076" y="2911677"/>
              <a:ext cx="184683" cy="165530"/>
            </a:xfrm>
            <a:custGeom>
              <a:avLst/>
              <a:gdLst>
                <a:gd name="connsiteX0" fmla="*/ 138070 w 184683"/>
                <a:gd name="connsiteY0" fmla="*/ 165475 h 165530"/>
                <a:gd name="connsiteX1" fmla="*/ 184627 w 184683"/>
                <a:gd name="connsiteY1" fmla="*/ -55 h 165530"/>
                <a:gd name="connsiteX2" fmla="*/ 15389 w 184683"/>
                <a:gd name="connsiteY2" fmla="*/ -55 h 165530"/>
                <a:gd name="connsiteX3" fmla="*/ -57 w 184683"/>
                <a:gd name="connsiteY3" fmla="*/ 140896 h 165530"/>
                <a:gd name="connsiteX4" fmla="*/ 138070 w 184683"/>
                <a:gd name="connsiteY4" fmla="*/ 165475 h 165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683" h="165530">
                  <a:moveTo>
                    <a:pt x="138070" y="165475"/>
                  </a:moveTo>
                  <a:cubicBezTo>
                    <a:pt x="166188" y="114627"/>
                    <a:pt x="182123" y="57970"/>
                    <a:pt x="184627" y="-55"/>
                  </a:cubicBezTo>
                  <a:lnTo>
                    <a:pt x="15389" y="-55"/>
                  </a:lnTo>
                  <a:cubicBezTo>
                    <a:pt x="14591" y="47302"/>
                    <a:pt x="9421" y="94486"/>
                    <a:pt x="-57" y="140896"/>
                  </a:cubicBezTo>
                  <a:cubicBezTo>
                    <a:pt x="67418" y="148120"/>
                    <a:pt x="112033" y="158119"/>
                    <a:pt x="138070" y="165475"/>
                  </a:cubicBezTo>
                  <a:close/>
                </a:path>
              </a:pathLst>
            </a:custGeom>
            <a:grpFill/>
            <a:ln w="43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" name="Freihandform: Form 180">
              <a:extLst>
                <a:ext uri="{FF2B5EF4-FFF2-40B4-BE49-F238E27FC236}">
                  <a16:creationId xmlns:a16="http://schemas.microsoft.com/office/drawing/2014/main" id="{14787D41-F25F-45F7-BCE4-87A49C8FF9A8}"/>
                </a:ext>
              </a:extLst>
            </p:cNvPr>
            <p:cNvSpPr/>
            <p:nvPr/>
          </p:nvSpPr>
          <p:spPr>
            <a:xfrm>
              <a:off x="7466095" y="3083682"/>
              <a:ext cx="213941" cy="174207"/>
            </a:xfrm>
            <a:custGeom>
              <a:avLst/>
              <a:gdLst>
                <a:gd name="connsiteX0" fmla="*/ -57 w 213941"/>
                <a:gd name="connsiteY0" fmla="*/ 174152 h 174207"/>
                <a:gd name="connsiteX1" fmla="*/ 213885 w 213941"/>
                <a:gd name="connsiteY1" fmla="*/ 21704 h 174207"/>
                <a:gd name="connsiteX2" fmla="*/ 85908 w 213941"/>
                <a:gd name="connsiteY2" fmla="*/ -55 h 174207"/>
                <a:gd name="connsiteX3" fmla="*/ 50825 w 213941"/>
                <a:gd name="connsiteY3" fmla="*/ 97377 h 174207"/>
                <a:gd name="connsiteX4" fmla="*/ -57 w 213941"/>
                <a:gd name="connsiteY4" fmla="*/ 174152 h 174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3941" h="174207">
                  <a:moveTo>
                    <a:pt x="-57" y="174152"/>
                  </a:moveTo>
                  <a:cubicBezTo>
                    <a:pt x="87254" y="150565"/>
                    <a:pt x="163176" y="96466"/>
                    <a:pt x="213885" y="21704"/>
                  </a:cubicBezTo>
                  <a:cubicBezTo>
                    <a:pt x="171805" y="11393"/>
                    <a:pt x="129035" y="4121"/>
                    <a:pt x="85908" y="-55"/>
                  </a:cubicBezTo>
                  <a:cubicBezTo>
                    <a:pt x="77464" y="33498"/>
                    <a:pt x="65712" y="66135"/>
                    <a:pt x="50825" y="97377"/>
                  </a:cubicBezTo>
                  <a:cubicBezTo>
                    <a:pt x="37799" y="125360"/>
                    <a:pt x="20648" y="151239"/>
                    <a:pt x="-57" y="174152"/>
                  </a:cubicBezTo>
                  <a:close/>
                </a:path>
              </a:pathLst>
            </a:custGeom>
            <a:grpFill/>
            <a:ln w="43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2" name="Freihandform: Form 181">
              <a:extLst>
                <a:ext uri="{FF2B5EF4-FFF2-40B4-BE49-F238E27FC236}">
                  <a16:creationId xmlns:a16="http://schemas.microsoft.com/office/drawing/2014/main" id="{1AF80819-B752-43E0-8D8F-039BEED09588}"/>
                </a:ext>
              </a:extLst>
            </p:cNvPr>
            <p:cNvSpPr/>
            <p:nvPr/>
          </p:nvSpPr>
          <p:spPr>
            <a:xfrm>
              <a:off x="7055996" y="3083682"/>
              <a:ext cx="213985" cy="174251"/>
            </a:xfrm>
            <a:custGeom>
              <a:avLst/>
              <a:gdLst>
                <a:gd name="connsiteX0" fmla="*/ 127920 w 213985"/>
                <a:gd name="connsiteY0" fmla="*/ -55 h 174251"/>
                <a:gd name="connsiteX1" fmla="*/ -57 w 213985"/>
                <a:gd name="connsiteY1" fmla="*/ 21704 h 174251"/>
                <a:gd name="connsiteX2" fmla="*/ 213929 w 213985"/>
                <a:gd name="connsiteY2" fmla="*/ 174196 h 174251"/>
                <a:gd name="connsiteX3" fmla="*/ 167593 w 213985"/>
                <a:gd name="connsiteY3" fmla="*/ 106627 h 174251"/>
                <a:gd name="connsiteX4" fmla="*/ 127920 w 213985"/>
                <a:gd name="connsiteY4" fmla="*/ -55 h 174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3985" h="174251">
                  <a:moveTo>
                    <a:pt x="127920" y="-55"/>
                  </a:moveTo>
                  <a:cubicBezTo>
                    <a:pt x="84796" y="4146"/>
                    <a:pt x="42029" y="11417"/>
                    <a:pt x="-57" y="21704"/>
                  </a:cubicBezTo>
                  <a:cubicBezTo>
                    <a:pt x="50578" y="96566"/>
                    <a:pt x="126549" y="150705"/>
                    <a:pt x="213929" y="174196"/>
                  </a:cubicBezTo>
                  <a:cubicBezTo>
                    <a:pt x="195465" y="153891"/>
                    <a:pt x="179875" y="131156"/>
                    <a:pt x="167593" y="106627"/>
                  </a:cubicBezTo>
                  <a:cubicBezTo>
                    <a:pt x="150463" y="72637"/>
                    <a:pt x="137158" y="36858"/>
                    <a:pt x="127920" y="-55"/>
                  </a:cubicBezTo>
                  <a:close/>
                </a:path>
              </a:pathLst>
            </a:custGeom>
            <a:grpFill/>
            <a:ln w="43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" name="Freihandform: Form 182">
              <a:extLst>
                <a:ext uri="{FF2B5EF4-FFF2-40B4-BE49-F238E27FC236}">
                  <a16:creationId xmlns:a16="http://schemas.microsoft.com/office/drawing/2014/main" id="{F82393DF-811D-4CD6-971E-47C860F860E1}"/>
                </a:ext>
              </a:extLst>
            </p:cNvPr>
            <p:cNvSpPr/>
            <p:nvPr/>
          </p:nvSpPr>
          <p:spPr>
            <a:xfrm>
              <a:off x="7383792" y="3074916"/>
              <a:ext cx="136140" cy="195658"/>
            </a:xfrm>
            <a:custGeom>
              <a:avLst/>
              <a:gdLst>
                <a:gd name="connsiteX0" fmla="*/ 11638 w 136140"/>
                <a:gd name="connsiteY0" fmla="*/ 194810 h 195658"/>
                <a:gd name="connsiteX1" fmla="*/ 104310 w 136140"/>
                <a:gd name="connsiteY1" fmla="*/ 92356 h 195658"/>
                <a:gd name="connsiteX2" fmla="*/ 136084 w 136140"/>
                <a:gd name="connsiteY2" fmla="*/ 5803 h 195658"/>
                <a:gd name="connsiteX3" fmla="*/ -57 w 136140"/>
                <a:gd name="connsiteY3" fmla="*/ -55 h 195658"/>
                <a:gd name="connsiteX4" fmla="*/ -57 w 136140"/>
                <a:gd name="connsiteY4" fmla="*/ 195603 h 195658"/>
                <a:gd name="connsiteX5" fmla="*/ 11638 w 136140"/>
                <a:gd name="connsiteY5" fmla="*/ 194810 h 195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6140" h="195658">
                  <a:moveTo>
                    <a:pt x="11638" y="194810"/>
                  </a:moveTo>
                  <a:cubicBezTo>
                    <a:pt x="45706" y="181948"/>
                    <a:pt x="78627" y="145565"/>
                    <a:pt x="104310" y="92356"/>
                  </a:cubicBezTo>
                  <a:cubicBezTo>
                    <a:pt x="117599" y="64564"/>
                    <a:pt x="128237" y="35585"/>
                    <a:pt x="136084" y="5803"/>
                  </a:cubicBezTo>
                  <a:cubicBezTo>
                    <a:pt x="93675" y="2235"/>
                    <a:pt x="47824" y="253"/>
                    <a:pt x="-57" y="-55"/>
                  </a:cubicBezTo>
                  <a:lnTo>
                    <a:pt x="-57" y="195603"/>
                  </a:lnTo>
                  <a:cubicBezTo>
                    <a:pt x="3827" y="195339"/>
                    <a:pt x="7725" y="195075"/>
                    <a:pt x="11638" y="194810"/>
                  </a:cubicBezTo>
                  <a:close/>
                </a:path>
              </a:pathLst>
            </a:custGeom>
            <a:grpFill/>
            <a:ln w="43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" name="Freihandform: Form 183">
              <a:extLst>
                <a:ext uri="{FF2B5EF4-FFF2-40B4-BE49-F238E27FC236}">
                  <a16:creationId xmlns:a16="http://schemas.microsoft.com/office/drawing/2014/main" id="{230A984D-070A-4EAF-B81D-1FC73A3D79FC}"/>
                </a:ext>
              </a:extLst>
            </p:cNvPr>
            <p:cNvSpPr/>
            <p:nvPr/>
          </p:nvSpPr>
          <p:spPr>
            <a:xfrm>
              <a:off x="6992140" y="2911545"/>
              <a:ext cx="184550" cy="165530"/>
            </a:xfrm>
            <a:custGeom>
              <a:avLst/>
              <a:gdLst>
                <a:gd name="connsiteX0" fmla="*/ 184494 w 184550"/>
                <a:gd name="connsiteY0" fmla="*/ 140896 h 165530"/>
                <a:gd name="connsiteX1" fmla="*/ 169181 w 184550"/>
                <a:gd name="connsiteY1" fmla="*/ -55 h 165530"/>
                <a:gd name="connsiteX2" fmla="*/ -57 w 184550"/>
                <a:gd name="connsiteY2" fmla="*/ -55 h 165530"/>
                <a:gd name="connsiteX3" fmla="*/ 46368 w 184550"/>
                <a:gd name="connsiteY3" fmla="*/ 165475 h 165530"/>
                <a:gd name="connsiteX4" fmla="*/ 184494 w 184550"/>
                <a:gd name="connsiteY4" fmla="*/ 140896 h 165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550" h="165530">
                  <a:moveTo>
                    <a:pt x="184494" y="140896"/>
                  </a:moveTo>
                  <a:cubicBezTo>
                    <a:pt x="175074" y="94480"/>
                    <a:pt x="169948" y="47298"/>
                    <a:pt x="169181" y="-55"/>
                  </a:cubicBezTo>
                  <a:lnTo>
                    <a:pt x="-57" y="-55"/>
                  </a:lnTo>
                  <a:cubicBezTo>
                    <a:pt x="2402" y="57960"/>
                    <a:pt x="18292" y="114618"/>
                    <a:pt x="46368" y="165475"/>
                  </a:cubicBezTo>
                  <a:cubicBezTo>
                    <a:pt x="72316" y="158295"/>
                    <a:pt x="117020" y="148252"/>
                    <a:pt x="184494" y="140896"/>
                  </a:cubicBezTo>
                  <a:close/>
                </a:path>
              </a:pathLst>
            </a:custGeom>
            <a:grpFill/>
            <a:ln w="43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" name="Freihandform: Form 184">
              <a:extLst>
                <a:ext uri="{FF2B5EF4-FFF2-40B4-BE49-F238E27FC236}">
                  <a16:creationId xmlns:a16="http://schemas.microsoft.com/office/drawing/2014/main" id="{472579AE-0C0F-4B6F-84B5-BD7C9FDBAA45}"/>
                </a:ext>
              </a:extLst>
            </p:cNvPr>
            <p:cNvSpPr/>
            <p:nvPr/>
          </p:nvSpPr>
          <p:spPr>
            <a:xfrm>
              <a:off x="7193196" y="2911677"/>
              <a:ext cx="158867" cy="137736"/>
            </a:xfrm>
            <a:custGeom>
              <a:avLst/>
              <a:gdLst>
                <a:gd name="connsiteX0" fmla="*/ 158811 w 158867"/>
                <a:gd name="connsiteY0" fmla="*/ 131382 h 137736"/>
                <a:gd name="connsiteX1" fmla="*/ 158811 w 158867"/>
                <a:gd name="connsiteY1" fmla="*/ -55 h 137736"/>
                <a:gd name="connsiteX2" fmla="*/ -57 w 158867"/>
                <a:gd name="connsiteY2" fmla="*/ -55 h 137736"/>
                <a:gd name="connsiteX3" fmla="*/ 15168 w 158867"/>
                <a:gd name="connsiteY3" fmla="*/ 137681 h 137736"/>
                <a:gd name="connsiteX4" fmla="*/ 158811 w 158867"/>
                <a:gd name="connsiteY4" fmla="*/ 131382 h 137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867" h="137736">
                  <a:moveTo>
                    <a:pt x="158811" y="131382"/>
                  </a:moveTo>
                  <a:lnTo>
                    <a:pt x="158811" y="-55"/>
                  </a:lnTo>
                  <a:lnTo>
                    <a:pt x="-57" y="-55"/>
                  </a:lnTo>
                  <a:cubicBezTo>
                    <a:pt x="662" y="46233"/>
                    <a:pt x="5759" y="92350"/>
                    <a:pt x="15168" y="137681"/>
                  </a:cubicBezTo>
                  <a:cubicBezTo>
                    <a:pt x="59519" y="133805"/>
                    <a:pt x="107841" y="131734"/>
                    <a:pt x="158811" y="131382"/>
                  </a:cubicBezTo>
                  <a:close/>
                </a:path>
              </a:pathLst>
            </a:custGeom>
            <a:grpFill/>
            <a:ln w="43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" name="Freihandform: Form 185">
              <a:extLst>
                <a:ext uri="{FF2B5EF4-FFF2-40B4-BE49-F238E27FC236}">
                  <a16:creationId xmlns:a16="http://schemas.microsoft.com/office/drawing/2014/main" id="{5FA7F65B-8129-493B-9C78-DA4C4394EDB8}"/>
                </a:ext>
              </a:extLst>
            </p:cNvPr>
            <p:cNvSpPr/>
            <p:nvPr/>
          </p:nvSpPr>
          <p:spPr>
            <a:xfrm>
              <a:off x="6992094" y="2510048"/>
              <a:ext cx="751709" cy="370090"/>
            </a:xfrm>
            <a:custGeom>
              <a:avLst/>
              <a:gdLst>
                <a:gd name="connsiteX0" fmla="*/ 751433 w 751709"/>
                <a:gd name="connsiteY0" fmla="*/ 302599 h 370090"/>
                <a:gd name="connsiteX1" fmla="*/ 737443 w 751709"/>
                <a:gd name="connsiteY1" fmla="*/ 250711 h 370090"/>
                <a:gd name="connsiteX2" fmla="*/ 730383 w 751709"/>
                <a:gd name="connsiteY2" fmla="*/ 245954 h 370090"/>
                <a:gd name="connsiteX3" fmla="*/ 630605 w 751709"/>
                <a:gd name="connsiteY3" fmla="*/ 257010 h 370090"/>
                <a:gd name="connsiteX4" fmla="*/ 605495 w 751709"/>
                <a:gd name="connsiteY4" fmla="*/ 213579 h 370090"/>
                <a:gd name="connsiteX5" fmla="*/ 665335 w 751709"/>
                <a:gd name="connsiteY5" fmla="*/ 133501 h 370090"/>
                <a:gd name="connsiteX6" fmla="*/ 664717 w 751709"/>
                <a:gd name="connsiteY6" fmla="*/ 125000 h 370090"/>
                <a:gd name="connsiteX7" fmla="*/ 626589 w 751709"/>
                <a:gd name="connsiteY7" fmla="*/ 86987 h 370090"/>
                <a:gd name="connsiteX8" fmla="*/ 618028 w 751709"/>
                <a:gd name="connsiteY8" fmla="*/ 86326 h 370090"/>
                <a:gd name="connsiteX9" fmla="*/ 537271 w 751709"/>
                <a:gd name="connsiteY9" fmla="*/ 145482 h 370090"/>
                <a:gd name="connsiteX10" fmla="*/ 493626 w 751709"/>
                <a:gd name="connsiteY10" fmla="*/ 120375 h 370090"/>
                <a:gd name="connsiteX11" fmla="*/ 505144 w 751709"/>
                <a:gd name="connsiteY11" fmla="*/ 21268 h 370090"/>
                <a:gd name="connsiteX12" fmla="*/ 500334 w 751709"/>
                <a:gd name="connsiteY12" fmla="*/ 14220 h 370090"/>
                <a:gd name="connsiteX13" fmla="*/ 448261 w 751709"/>
                <a:gd name="connsiteY13" fmla="*/ 257 h 370090"/>
                <a:gd name="connsiteX14" fmla="*/ 440538 w 751709"/>
                <a:gd name="connsiteY14" fmla="*/ 3913 h 370090"/>
                <a:gd name="connsiteX15" fmla="*/ 400247 w 751709"/>
                <a:gd name="connsiteY15" fmla="*/ 95356 h 370090"/>
                <a:gd name="connsiteX16" fmla="*/ 349851 w 751709"/>
                <a:gd name="connsiteY16" fmla="*/ 95356 h 370090"/>
                <a:gd name="connsiteX17" fmla="*/ 310134 w 751709"/>
                <a:gd name="connsiteY17" fmla="*/ 3869 h 370090"/>
                <a:gd name="connsiteX18" fmla="*/ 302412 w 751709"/>
                <a:gd name="connsiteY18" fmla="*/ 169 h 370090"/>
                <a:gd name="connsiteX19" fmla="*/ 250250 w 751709"/>
                <a:gd name="connsiteY19" fmla="*/ 14000 h 370090"/>
                <a:gd name="connsiteX20" fmla="*/ 245396 w 751709"/>
                <a:gd name="connsiteY20" fmla="*/ 21004 h 370090"/>
                <a:gd name="connsiteX21" fmla="*/ 256561 w 751709"/>
                <a:gd name="connsiteY21" fmla="*/ 120154 h 370090"/>
                <a:gd name="connsiteX22" fmla="*/ 219536 w 751709"/>
                <a:gd name="connsiteY22" fmla="*/ 140725 h 370090"/>
                <a:gd name="connsiteX23" fmla="*/ 211857 w 751709"/>
                <a:gd name="connsiteY23" fmla="*/ 144336 h 370090"/>
                <a:gd name="connsiteX24" fmla="*/ 132423 w 751709"/>
                <a:gd name="connsiteY24" fmla="*/ 85665 h 370090"/>
                <a:gd name="connsiteX25" fmla="*/ 123553 w 751709"/>
                <a:gd name="connsiteY25" fmla="*/ 86150 h 370090"/>
                <a:gd name="connsiteX26" fmla="*/ 85293 w 751709"/>
                <a:gd name="connsiteY26" fmla="*/ 124031 h 370090"/>
                <a:gd name="connsiteX27" fmla="*/ 84631 w 751709"/>
                <a:gd name="connsiteY27" fmla="*/ 132532 h 370090"/>
                <a:gd name="connsiteX28" fmla="*/ 144162 w 751709"/>
                <a:gd name="connsiteY28" fmla="*/ 212742 h 370090"/>
                <a:gd name="connsiteX29" fmla="*/ 118876 w 751709"/>
                <a:gd name="connsiteY29" fmla="*/ 256129 h 370090"/>
                <a:gd name="connsiteX30" fmla="*/ 19407 w 751709"/>
                <a:gd name="connsiteY30" fmla="*/ 244721 h 370090"/>
                <a:gd name="connsiteX31" fmla="*/ 12346 w 751709"/>
                <a:gd name="connsiteY31" fmla="*/ 249522 h 370090"/>
                <a:gd name="connsiteX32" fmla="*/ 166 w 751709"/>
                <a:gd name="connsiteY32" fmla="*/ 294362 h 370090"/>
                <a:gd name="connsiteX33" fmla="*/ 3873 w 751709"/>
                <a:gd name="connsiteY33" fmla="*/ 302026 h 370090"/>
                <a:gd name="connsiteX34" fmla="*/ 95796 w 751709"/>
                <a:gd name="connsiteY34" fmla="*/ 342021 h 370090"/>
                <a:gd name="connsiteX35" fmla="*/ 94648 w 751709"/>
                <a:gd name="connsiteY35" fmla="*/ 370035 h 370090"/>
                <a:gd name="connsiteX36" fmla="*/ 169184 w 751709"/>
                <a:gd name="connsiteY36" fmla="*/ 370035 h 370090"/>
                <a:gd name="connsiteX37" fmla="*/ 384252 w 751709"/>
                <a:gd name="connsiteY37" fmla="*/ 172418 h 370090"/>
                <a:gd name="connsiteX38" fmla="*/ 582239 w 751709"/>
                <a:gd name="connsiteY38" fmla="*/ 370035 h 370090"/>
                <a:gd name="connsiteX39" fmla="*/ 656598 w 751709"/>
                <a:gd name="connsiteY39" fmla="*/ 370035 h 370090"/>
                <a:gd name="connsiteX40" fmla="*/ 654921 w 751709"/>
                <a:gd name="connsiteY40" fmla="*/ 342594 h 370090"/>
                <a:gd name="connsiteX41" fmla="*/ 747593 w 751709"/>
                <a:gd name="connsiteY41" fmla="*/ 310307 h 370090"/>
                <a:gd name="connsiteX42" fmla="*/ 751432 w 751709"/>
                <a:gd name="connsiteY42" fmla="*/ 302599 h 370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751709" h="370090">
                  <a:moveTo>
                    <a:pt x="751433" y="302599"/>
                  </a:moveTo>
                  <a:lnTo>
                    <a:pt x="737443" y="250711"/>
                  </a:lnTo>
                  <a:cubicBezTo>
                    <a:pt x="736609" y="247589"/>
                    <a:pt x="733596" y="245559"/>
                    <a:pt x="730383" y="245954"/>
                  </a:cubicBezTo>
                  <a:lnTo>
                    <a:pt x="630605" y="257010"/>
                  </a:lnTo>
                  <a:cubicBezTo>
                    <a:pt x="623542" y="241818"/>
                    <a:pt x="615138" y="227284"/>
                    <a:pt x="605495" y="213579"/>
                  </a:cubicBezTo>
                  <a:lnTo>
                    <a:pt x="665335" y="133501"/>
                  </a:lnTo>
                  <a:cubicBezTo>
                    <a:pt x="667233" y="130896"/>
                    <a:pt x="666972" y="127304"/>
                    <a:pt x="664717" y="125000"/>
                  </a:cubicBezTo>
                  <a:lnTo>
                    <a:pt x="626589" y="86987"/>
                  </a:lnTo>
                  <a:cubicBezTo>
                    <a:pt x="624285" y="84698"/>
                    <a:pt x="620657" y="84418"/>
                    <a:pt x="618028" y="86326"/>
                  </a:cubicBezTo>
                  <a:lnTo>
                    <a:pt x="537271" y="145482"/>
                  </a:lnTo>
                  <a:cubicBezTo>
                    <a:pt x="523508" y="135821"/>
                    <a:pt x="508900" y="127418"/>
                    <a:pt x="493626" y="120375"/>
                  </a:cubicBezTo>
                  <a:lnTo>
                    <a:pt x="505144" y="21268"/>
                  </a:lnTo>
                  <a:cubicBezTo>
                    <a:pt x="505496" y="18058"/>
                    <a:pt x="503456" y="15068"/>
                    <a:pt x="500334" y="14220"/>
                  </a:cubicBezTo>
                  <a:lnTo>
                    <a:pt x="448261" y="257"/>
                  </a:lnTo>
                  <a:cubicBezTo>
                    <a:pt x="445136" y="-588"/>
                    <a:pt x="441859" y="963"/>
                    <a:pt x="440538" y="3913"/>
                  </a:cubicBezTo>
                  <a:lnTo>
                    <a:pt x="400247" y="95356"/>
                  </a:lnTo>
                  <a:cubicBezTo>
                    <a:pt x="383482" y="93858"/>
                    <a:pt x="366616" y="93858"/>
                    <a:pt x="349851" y="95356"/>
                  </a:cubicBezTo>
                  <a:lnTo>
                    <a:pt x="310134" y="3869"/>
                  </a:lnTo>
                  <a:cubicBezTo>
                    <a:pt x="308828" y="902"/>
                    <a:pt x="305548" y="-670"/>
                    <a:pt x="302412" y="169"/>
                  </a:cubicBezTo>
                  <a:lnTo>
                    <a:pt x="250250" y="14000"/>
                  </a:lnTo>
                  <a:cubicBezTo>
                    <a:pt x="247105" y="14795"/>
                    <a:pt x="245032" y="17786"/>
                    <a:pt x="245396" y="21004"/>
                  </a:cubicBezTo>
                  <a:lnTo>
                    <a:pt x="256561" y="120154"/>
                  </a:lnTo>
                  <a:cubicBezTo>
                    <a:pt x="243715" y="126065"/>
                    <a:pt x="231337" y="132941"/>
                    <a:pt x="219536" y="140725"/>
                  </a:cubicBezTo>
                  <a:lnTo>
                    <a:pt x="211857" y="144336"/>
                  </a:lnTo>
                  <a:lnTo>
                    <a:pt x="132423" y="85665"/>
                  </a:lnTo>
                  <a:cubicBezTo>
                    <a:pt x="129781" y="83529"/>
                    <a:pt x="125946" y="83738"/>
                    <a:pt x="123553" y="86150"/>
                  </a:cubicBezTo>
                  <a:lnTo>
                    <a:pt x="85293" y="124031"/>
                  </a:lnTo>
                  <a:cubicBezTo>
                    <a:pt x="82989" y="126308"/>
                    <a:pt x="82707" y="129927"/>
                    <a:pt x="84631" y="132532"/>
                  </a:cubicBezTo>
                  <a:lnTo>
                    <a:pt x="144162" y="212742"/>
                  </a:lnTo>
                  <a:cubicBezTo>
                    <a:pt x="134465" y="226430"/>
                    <a:pt x="126003" y="240949"/>
                    <a:pt x="118876" y="256129"/>
                  </a:cubicBezTo>
                  <a:lnTo>
                    <a:pt x="19407" y="244721"/>
                  </a:lnTo>
                  <a:cubicBezTo>
                    <a:pt x="16190" y="244369"/>
                    <a:pt x="13196" y="246405"/>
                    <a:pt x="12346" y="249522"/>
                  </a:cubicBezTo>
                  <a:lnTo>
                    <a:pt x="166" y="294362"/>
                  </a:lnTo>
                  <a:cubicBezTo>
                    <a:pt x="-670" y="297480"/>
                    <a:pt x="907" y="300740"/>
                    <a:pt x="3873" y="302026"/>
                  </a:cubicBezTo>
                  <a:lnTo>
                    <a:pt x="95796" y="342021"/>
                  </a:lnTo>
                  <a:cubicBezTo>
                    <a:pt x="94957" y="351359"/>
                    <a:pt x="94560" y="360741"/>
                    <a:pt x="94648" y="370035"/>
                  </a:cubicBezTo>
                  <a:lnTo>
                    <a:pt x="169184" y="370035"/>
                  </a:lnTo>
                  <a:cubicBezTo>
                    <a:pt x="173901" y="256186"/>
                    <a:pt x="270190" y="167710"/>
                    <a:pt x="384252" y="172418"/>
                  </a:cubicBezTo>
                  <a:cubicBezTo>
                    <a:pt x="491703" y="176853"/>
                    <a:pt x="577795" y="262785"/>
                    <a:pt x="582239" y="370035"/>
                  </a:cubicBezTo>
                  <a:lnTo>
                    <a:pt x="656598" y="370035"/>
                  </a:lnTo>
                  <a:cubicBezTo>
                    <a:pt x="656598" y="363296"/>
                    <a:pt x="654921" y="342594"/>
                    <a:pt x="654921" y="342594"/>
                  </a:cubicBezTo>
                  <a:lnTo>
                    <a:pt x="747593" y="310307"/>
                  </a:lnTo>
                  <a:cubicBezTo>
                    <a:pt x="750632" y="309066"/>
                    <a:pt x="752276" y="305766"/>
                    <a:pt x="751432" y="302599"/>
                  </a:cubicBezTo>
                  <a:close/>
                </a:path>
              </a:pathLst>
            </a:custGeom>
            <a:grpFill/>
            <a:ln w="43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87" name="Gruppieren 186">
            <a:extLst>
              <a:ext uri="{FF2B5EF4-FFF2-40B4-BE49-F238E27FC236}">
                <a16:creationId xmlns:a16="http://schemas.microsoft.com/office/drawing/2014/main" id="{D07F3B25-6F2A-4BE5-9879-F1CC4EA136DB}"/>
              </a:ext>
            </a:extLst>
          </p:cNvPr>
          <p:cNvGrpSpPr/>
          <p:nvPr/>
        </p:nvGrpSpPr>
        <p:grpSpPr>
          <a:xfrm>
            <a:off x="3316962" y="3699490"/>
            <a:ext cx="502167" cy="791877"/>
            <a:chOff x="3316962" y="2483400"/>
            <a:chExt cx="502167" cy="791877"/>
          </a:xfrm>
          <a:solidFill>
            <a:schemeClr val="bg1"/>
          </a:solidFill>
        </p:grpSpPr>
        <p:sp>
          <p:nvSpPr>
            <p:cNvPr id="188" name="Freihandform: Form 187">
              <a:extLst>
                <a:ext uri="{FF2B5EF4-FFF2-40B4-BE49-F238E27FC236}">
                  <a16:creationId xmlns:a16="http://schemas.microsoft.com/office/drawing/2014/main" id="{1CBE629B-2396-4125-84C1-44C5C36CBEA2}"/>
                </a:ext>
              </a:extLst>
            </p:cNvPr>
            <p:cNvSpPr/>
            <p:nvPr/>
          </p:nvSpPr>
          <p:spPr>
            <a:xfrm>
              <a:off x="3316962" y="2740752"/>
              <a:ext cx="223153" cy="384945"/>
            </a:xfrm>
            <a:custGeom>
              <a:avLst/>
              <a:gdLst>
                <a:gd name="connsiteX0" fmla="*/ 191530 w 223153"/>
                <a:gd name="connsiteY0" fmla="*/ 384891 h 384945"/>
                <a:gd name="connsiteX1" fmla="*/ 73952 w 223153"/>
                <a:gd name="connsiteY1" fmla="*/ 384891 h 384945"/>
                <a:gd name="connsiteX2" fmla="*/ 73952 w 223153"/>
                <a:gd name="connsiteY2" fmla="*/ 256503 h 384945"/>
                <a:gd name="connsiteX3" fmla="*/ 149728 w 223153"/>
                <a:gd name="connsiteY3" fmla="*/ 256503 h 384945"/>
                <a:gd name="connsiteX4" fmla="*/ 149728 w 223153"/>
                <a:gd name="connsiteY4" fmla="*/ 128202 h 384945"/>
                <a:gd name="connsiteX5" fmla="*/ 73952 w 223153"/>
                <a:gd name="connsiteY5" fmla="*/ 128202 h 384945"/>
                <a:gd name="connsiteX6" fmla="*/ 73952 w 223153"/>
                <a:gd name="connsiteY6" fmla="*/ -54 h 384945"/>
                <a:gd name="connsiteX7" fmla="*/ 223056 w 223153"/>
                <a:gd name="connsiteY7" fmla="*/ -54 h 384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3153" h="384945">
                  <a:moveTo>
                    <a:pt x="191530" y="384891"/>
                  </a:moveTo>
                  <a:lnTo>
                    <a:pt x="73952" y="384891"/>
                  </a:lnTo>
                  <a:cubicBezTo>
                    <a:pt x="-24649" y="384891"/>
                    <a:pt x="-24911" y="256503"/>
                    <a:pt x="73952" y="256503"/>
                  </a:cubicBezTo>
                  <a:lnTo>
                    <a:pt x="149728" y="256503"/>
                  </a:lnTo>
                  <a:cubicBezTo>
                    <a:pt x="246624" y="256503"/>
                    <a:pt x="246624" y="128202"/>
                    <a:pt x="149728" y="128202"/>
                  </a:cubicBezTo>
                  <a:lnTo>
                    <a:pt x="73952" y="128202"/>
                  </a:lnTo>
                  <a:cubicBezTo>
                    <a:pt x="-24081" y="128202"/>
                    <a:pt x="-24081" y="-54"/>
                    <a:pt x="73952" y="-54"/>
                  </a:cubicBezTo>
                  <a:lnTo>
                    <a:pt x="223056" y="-54"/>
                  </a:lnTo>
                </a:path>
              </a:pathLst>
            </a:custGeom>
            <a:noFill/>
            <a:ln w="34578" cap="rnd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9" name="Freihandform: Form 188">
              <a:extLst>
                <a:ext uri="{FF2B5EF4-FFF2-40B4-BE49-F238E27FC236}">
                  <a16:creationId xmlns:a16="http://schemas.microsoft.com/office/drawing/2014/main" id="{9D3B8216-8A76-4BF2-87BE-013F4052C3CD}"/>
                </a:ext>
              </a:extLst>
            </p:cNvPr>
            <p:cNvSpPr/>
            <p:nvPr/>
          </p:nvSpPr>
          <p:spPr>
            <a:xfrm>
              <a:off x="3486857" y="2687301"/>
              <a:ext cx="106602" cy="106902"/>
            </a:xfrm>
            <a:custGeom>
              <a:avLst/>
              <a:gdLst>
                <a:gd name="connsiteX0" fmla="*/ 106603 w 106602"/>
                <a:gd name="connsiteY0" fmla="*/ 53451 h 106902"/>
                <a:gd name="connsiteX1" fmla="*/ 53301 w 106602"/>
                <a:gd name="connsiteY1" fmla="*/ 106902 h 106902"/>
                <a:gd name="connsiteX2" fmla="*/ 0 w 106602"/>
                <a:gd name="connsiteY2" fmla="*/ 53451 h 106902"/>
                <a:gd name="connsiteX3" fmla="*/ 53301 w 106602"/>
                <a:gd name="connsiteY3" fmla="*/ 0 h 106902"/>
                <a:gd name="connsiteX4" fmla="*/ 106603 w 106602"/>
                <a:gd name="connsiteY4" fmla="*/ 53451 h 106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602" h="106902">
                  <a:moveTo>
                    <a:pt x="106603" y="53451"/>
                  </a:moveTo>
                  <a:cubicBezTo>
                    <a:pt x="106603" y="82972"/>
                    <a:pt x="82739" y="106902"/>
                    <a:pt x="53301" y="106902"/>
                  </a:cubicBezTo>
                  <a:cubicBezTo>
                    <a:pt x="23864" y="106902"/>
                    <a:pt x="0" y="82972"/>
                    <a:pt x="0" y="53451"/>
                  </a:cubicBezTo>
                  <a:cubicBezTo>
                    <a:pt x="0" y="23931"/>
                    <a:pt x="23864" y="0"/>
                    <a:pt x="53301" y="0"/>
                  </a:cubicBezTo>
                  <a:cubicBezTo>
                    <a:pt x="82739" y="0"/>
                    <a:pt x="106603" y="23931"/>
                    <a:pt x="106603" y="53451"/>
                  </a:cubicBezTo>
                  <a:close/>
                </a:path>
              </a:pathLst>
            </a:custGeom>
            <a:grpFill/>
            <a:ln w="43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0" name="Freihandform: Form 189">
              <a:extLst>
                <a:ext uri="{FF2B5EF4-FFF2-40B4-BE49-F238E27FC236}">
                  <a16:creationId xmlns:a16="http://schemas.microsoft.com/office/drawing/2014/main" id="{7B4FB182-5A41-4143-BA5F-3C7946F40F67}"/>
                </a:ext>
              </a:extLst>
            </p:cNvPr>
            <p:cNvSpPr/>
            <p:nvPr/>
          </p:nvSpPr>
          <p:spPr>
            <a:xfrm>
              <a:off x="3614522" y="2483400"/>
              <a:ext cx="204607" cy="260218"/>
            </a:xfrm>
            <a:custGeom>
              <a:avLst/>
              <a:gdLst>
                <a:gd name="connsiteX0" fmla="*/ 161701 w 204607"/>
                <a:gd name="connsiteY0" fmla="*/ 84622 h 260218"/>
                <a:gd name="connsiteX1" fmla="*/ 17931 w 204607"/>
                <a:gd name="connsiteY1" fmla="*/ 83 h 260218"/>
                <a:gd name="connsiteX2" fmla="*/ 38 w 204607"/>
                <a:gd name="connsiteY2" fmla="*/ 13878 h 260218"/>
                <a:gd name="connsiteX3" fmla="*/ 3065 w 204607"/>
                <a:gd name="connsiteY3" fmla="*/ 25515 h 260218"/>
                <a:gd name="connsiteX4" fmla="*/ 3065 w 204607"/>
                <a:gd name="connsiteY4" fmla="*/ 25515 h 260218"/>
                <a:gd name="connsiteX5" fmla="*/ 13603 w 204607"/>
                <a:gd name="connsiteY5" fmla="*/ 31610 h 260218"/>
                <a:gd name="connsiteX6" fmla="*/ 170968 w 204607"/>
                <a:gd name="connsiteY6" fmla="*/ 237788 h 260218"/>
                <a:gd name="connsiteX7" fmla="*/ 170402 w 204607"/>
                <a:gd name="connsiteY7" fmla="*/ 241731 h 260218"/>
                <a:gd name="connsiteX8" fmla="*/ 183695 w 204607"/>
                <a:gd name="connsiteY8" fmla="*/ 259972 h 260218"/>
                <a:gd name="connsiteX9" fmla="*/ 201885 w 204607"/>
                <a:gd name="connsiteY9" fmla="*/ 246642 h 260218"/>
                <a:gd name="connsiteX10" fmla="*/ 161701 w 204607"/>
                <a:gd name="connsiteY10" fmla="*/ 84622 h 260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4607" h="260218">
                  <a:moveTo>
                    <a:pt x="161701" y="84622"/>
                  </a:moveTo>
                  <a:cubicBezTo>
                    <a:pt x="127177" y="38075"/>
                    <a:pt x="75296" y="7568"/>
                    <a:pt x="17931" y="83"/>
                  </a:cubicBezTo>
                  <a:cubicBezTo>
                    <a:pt x="9191" y="-1063"/>
                    <a:pt x="1180" y="5113"/>
                    <a:pt x="38" y="13878"/>
                  </a:cubicBezTo>
                  <a:cubicBezTo>
                    <a:pt x="-500" y="18004"/>
                    <a:pt x="585" y="22178"/>
                    <a:pt x="3065" y="25515"/>
                  </a:cubicBezTo>
                  <a:lnTo>
                    <a:pt x="3065" y="25515"/>
                  </a:lnTo>
                  <a:cubicBezTo>
                    <a:pt x="5611" y="28892"/>
                    <a:pt x="9413" y="31091"/>
                    <a:pt x="13603" y="31610"/>
                  </a:cubicBezTo>
                  <a:cubicBezTo>
                    <a:pt x="113833" y="44967"/>
                    <a:pt x="184288" y="137276"/>
                    <a:pt x="170968" y="237788"/>
                  </a:cubicBezTo>
                  <a:cubicBezTo>
                    <a:pt x="170794" y="239105"/>
                    <a:pt x="170605" y="240419"/>
                    <a:pt x="170402" y="241731"/>
                  </a:cubicBezTo>
                  <a:cubicBezTo>
                    <a:pt x="169050" y="250449"/>
                    <a:pt x="175001" y="258616"/>
                    <a:pt x="183695" y="259972"/>
                  </a:cubicBezTo>
                  <a:cubicBezTo>
                    <a:pt x="192389" y="261328"/>
                    <a:pt x="200533" y="255360"/>
                    <a:pt x="201885" y="246642"/>
                  </a:cubicBezTo>
                  <a:cubicBezTo>
                    <a:pt x="210920" y="189407"/>
                    <a:pt x="196420" y="130945"/>
                    <a:pt x="161701" y="84622"/>
                  </a:cubicBezTo>
                  <a:close/>
                </a:path>
              </a:pathLst>
            </a:custGeom>
            <a:grpFill/>
            <a:ln w="43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1" name="Freihandform: Form 190">
              <a:extLst>
                <a:ext uri="{FF2B5EF4-FFF2-40B4-BE49-F238E27FC236}">
                  <a16:creationId xmlns:a16="http://schemas.microsoft.com/office/drawing/2014/main" id="{6AC186C1-076B-4B5F-8AF3-8422CCAA0BCF}"/>
                </a:ext>
              </a:extLst>
            </p:cNvPr>
            <p:cNvSpPr/>
            <p:nvPr/>
          </p:nvSpPr>
          <p:spPr>
            <a:xfrm>
              <a:off x="3593459" y="2550054"/>
              <a:ext cx="155528" cy="195189"/>
            </a:xfrm>
            <a:custGeom>
              <a:avLst/>
              <a:gdLst>
                <a:gd name="connsiteX0" fmla="*/ 124915 w 155528"/>
                <a:gd name="connsiteY0" fmla="*/ 188758 h 195189"/>
                <a:gd name="connsiteX1" fmla="*/ 147265 w 155528"/>
                <a:gd name="connsiteY1" fmla="*/ 191915 h 195189"/>
                <a:gd name="connsiteX2" fmla="*/ 153424 w 155528"/>
                <a:gd name="connsiteY2" fmla="*/ 181654 h 195189"/>
                <a:gd name="connsiteX3" fmla="*/ 22912 w 155528"/>
                <a:gd name="connsiteY3" fmla="*/ 804 h 195189"/>
                <a:gd name="connsiteX4" fmla="*/ 17875 w 155528"/>
                <a:gd name="connsiteY4" fmla="*/ 78 h 195189"/>
                <a:gd name="connsiteX5" fmla="*/ 35 w 155528"/>
                <a:gd name="connsiteY5" fmla="*/ 13890 h 195189"/>
                <a:gd name="connsiteX6" fmla="*/ 13808 w 155528"/>
                <a:gd name="connsiteY6" fmla="*/ 31781 h 195189"/>
                <a:gd name="connsiteX7" fmla="*/ 122441 w 155528"/>
                <a:gd name="connsiteY7" fmla="*/ 172986 h 195189"/>
                <a:gd name="connsiteX8" fmla="*/ 121942 w 155528"/>
                <a:gd name="connsiteY8" fmla="*/ 176480 h 195189"/>
                <a:gd name="connsiteX9" fmla="*/ 124915 w 155528"/>
                <a:gd name="connsiteY9" fmla="*/ 188758 h 195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5528" h="195189">
                  <a:moveTo>
                    <a:pt x="124915" y="188758"/>
                  </a:moveTo>
                  <a:cubicBezTo>
                    <a:pt x="130217" y="195819"/>
                    <a:pt x="140224" y="197232"/>
                    <a:pt x="147265" y="191915"/>
                  </a:cubicBezTo>
                  <a:cubicBezTo>
                    <a:pt x="150565" y="189423"/>
                    <a:pt x="152773" y="185745"/>
                    <a:pt x="153424" y="181654"/>
                  </a:cubicBezTo>
                  <a:cubicBezTo>
                    <a:pt x="167185" y="95573"/>
                    <a:pt x="108752" y="14604"/>
                    <a:pt x="22912" y="804"/>
                  </a:cubicBezTo>
                  <a:cubicBezTo>
                    <a:pt x="21237" y="535"/>
                    <a:pt x="19558" y="293"/>
                    <a:pt x="17875" y="78"/>
                  </a:cubicBezTo>
                  <a:cubicBezTo>
                    <a:pt x="9145" y="-1048"/>
                    <a:pt x="1158" y="5136"/>
                    <a:pt x="35" y="13890"/>
                  </a:cubicBezTo>
                  <a:cubicBezTo>
                    <a:pt x="-1088" y="22645"/>
                    <a:pt x="5078" y="30654"/>
                    <a:pt x="13808" y="31781"/>
                  </a:cubicBezTo>
                  <a:cubicBezTo>
                    <a:pt x="82690" y="40691"/>
                    <a:pt x="131326" y="103911"/>
                    <a:pt x="122441" y="172986"/>
                  </a:cubicBezTo>
                  <a:cubicBezTo>
                    <a:pt x="122291" y="174153"/>
                    <a:pt x="122124" y="175318"/>
                    <a:pt x="121942" y="176480"/>
                  </a:cubicBezTo>
                  <a:cubicBezTo>
                    <a:pt x="121206" y="180809"/>
                    <a:pt x="122282" y="185250"/>
                    <a:pt x="124915" y="188758"/>
                  </a:cubicBezTo>
                  <a:close/>
                </a:path>
              </a:pathLst>
            </a:custGeom>
            <a:grpFill/>
            <a:ln w="43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2" name="Freihandform: Form 191">
              <a:extLst>
                <a:ext uri="{FF2B5EF4-FFF2-40B4-BE49-F238E27FC236}">
                  <a16:creationId xmlns:a16="http://schemas.microsoft.com/office/drawing/2014/main" id="{C971A9D1-ADD2-46B8-8C50-DD41A53F72F9}"/>
                </a:ext>
              </a:extLst>
            </p:cNvPr>
            <p:cNvSpPr/>
            <p:nvPr/>
          </p:nvSpPr>
          <p:spPr>
            <a:xfrm>
              <a:off x="3565539" y="2617597"/>
              <a:ext cx="110377" cy="135392"/>
            </a:xfrm>
            <a:custGeom>
              <a:avLst/>
              <a:gdLst>
                <a:gd name="connsiteX0" fmla="*/ 80339 w 110377"/>
                <a:gd name="connsiteY0" fmla="*/ 128977 h 135392"/>
                <a:gd name="connsiteX1" fmla="*/ 102693 w 110377"/>
                <a:gd name="connsiteY1" fmla="*/ 132106 h 135392"/>
                <a:gd name="connsiteX2" fmla="*/ 108804 w 110377"/>
                <a:gd name="connsiteY2" fmla="*/ 122049 h 135392"/>
                <a:gd name="connsiteX3" fmla="*/ 22766 w 110377"/>
                <a:gd name="connsiteY3" fmla="*/ 784 h 135392"/>
                <a:gd name="connsiteX4" fmla="*/ 17768 w 110377"/>
                <a:gd name="connsiteY4" fmla="*/ 62 h 135392"/>
                <a:gd name="connsiteX5" fmla="*/ 15 w 110377"/>
                <a:gd name="connsiteY5" fmla="*/ 14006 h 135392"/>
                <a:gd name="connsiteX6" fmla="*/ 3076 w 110377"/>
                <a:gd name="connsiteY6" fmla="*/ 25495 h 135392"/>
                <a:gd name="connsiteX7" fmla="*/ 3294 w 110377"/>
                <a:gd name="connsiteY7" fmla="*/ 25758 h 135392"/>
                <a:gd name="connsiteX8" fmla="*/ 13920 w 110377"/>
                <a:gd name="connsiteY8" fmla="*/ 31765 h 135392"/>
                <a:gd name="connsiteX9" fmla="*/ 77863 w 110377"/>
                <a:gd name="connsiteY9" fmla="*/ 113319 h 135392"/>
                <a:gd name="connsiteX10" fmla="*/ 77365 w 110377"/>
                <a:gd name="connsiteY10" fmla="*/ 116787 h 135392"/>
                <a:gd name="connsiteX11" fmla="*/ 80339 w 110377"/>
                <a:gd name="connsiteY11" fmla="*/ 128977 h 135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0377" h="135392">
                  <a:moveTo>
                    <a:pt x="80339" y="128977"/>
                  </a:moveTo>
                  <a:cubicBezTo>
                    <a:pt x="85650" y="136031"/>
                    <a:pt x="95658" y="137432"/>
                    <a:pt x="102693" y="132106"/>
                  </a:cubicBezTo>
                  <a:cubicBezTo>
                    <a:pt x="105930" y="129654"/>
                    <a:pt x="108116" y="126058"/>
                    <a:pt x="108804" y="122049"/>
                  </a:cubicBezTo>
                  <a:cubicBezTo>
                    <a:pt x="118438" y="64737"/>
                    <a:pt x="79918" y="10445"/>
                    <a:pt x="22766" y="784"/>
                  </a:cubicBezTo>
                  <a:cubicBezTo>
                    <a:pt x="21106" y="503"/>
                    <a:pt x="19439" y="263"/>
                    <a:pt x="17768" y="62"/>
                  </a:cubicBezTo>
                  <a:cubicBezTo>
                    <a:pt x="9028" y="-995"/>
                    <a:pt x="1085" y="5244"/>
                    <a:pt x="15" y="14006"/>
                  </a:cubicBezTo>
                  <a:cubicBezTo>
                    <a:pt x="-469" y="18087"/>
                    <a:pt x="626" y="22199"/>
                    <a:pt x="3076" y="25495"/>
                  </a:cubicBezTo>
                  <a:lnTo>
                    <a:pt x="3294" y="25758"/>
                  </a:lnTo>
                  <a:cubicBezTo>
                    <a:pt x="5884" y="29115"/>
                    <a:pt x="9715" y="31281"/>
                    <a:pt x="13920" y="31765"/>
                  </a:cubicBezTo>
                  <a:cubicBezTo>
                    <a:pt x="54035" y="36578"/>
                    <a:pt x="82663" y="73092"/>
                    <a:pt x="77863" y="113319"/>
                  </a:cubicBezTo>
                  <a:cubicBezTo>
                    <a:pt x="77725" y="114479"/>
                    <a:pt x="77559" y="115635"/>
                    <a:pt x="77365" y="116787"/>
                  </a:cubicBezTo>
                  <a:cubicBezTo>
                    <a:pt x="76676" y="121086"/>
                    <a:pt x="77748" y="125482"/>
                    <a:pt x="80339" y="128977"/>
                  </a:cubicBezTo>
                  <a:close/>
                </a:path>
              </a:pathLst>
            </a:custGeom>
            <a:grpFill/>
            <a:ln w="43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3" name="Freihandform: Form 192">
              <a:extLst>
                <a:ext uri="{FF2B5EF4-FFF2-40B4-BE49-F238E27FC236}">
                  <a16:creationId xmlns:a16="http://schemas.microsoft.com/office/drawing/2014/main" id="{7B59E74C-6331-4EA5-BF78-6E59C6DA4CEE}"/>
                </a:ext>
              </a:extLst>
            </p:cNvPr>
            <p:cNvSpPr/>
            <p:nvPr/>
          </p:nvSpPr>
          <p:spPr>
            <a:xfrm>
              <a:off x="3404828" y="2591417"/>
              <a:ext cx="47442" cy="164989"/>
            </a:xfrm>
            <a:custGeom>
              <a:avLst/>
              <a:gdLst>
                <a:gd name="connsiteX0" fmla="*/ 47345 w 47442"/>
                <a:gd name="connsiteY0" fmla="*/ 164935 h 164989"/>
                <a:gd name="connsiteX1" fmla="*/ 47345 w 47442"/>
                <a:gd name="connsiteY1" fmla="*/ 22734 h 164989"/>
                <a:gd name="connsiteX2" fmla="*/ 22605 w 47442"/>
                <a:gd name="connsiteY2" fmla="*/ -32 h 164989"/>
                <a:gd name="connsiteX3" fmla="*/ -97 w 47442"/>
                <a:gd name="connsiteY3" fmla="*/ 22734 h 164989"/>
                <a:gd name="connsiteX4" fmla="*/ -97 w 47442"/>
                <a:gd name="connsiteY4" fmla="*/ 164935 h 164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442" h="164989">
                  <a:moveTo>
                    <a:pt x="47345" y="164935"/>
                  </a:moveTo>
                  <a:lnTo>
                    <a:pt x="47345" y="22734"/>
                  </a:lnTo>
                  <a:cubicBezTo>
                    <a:pt x="46782" y="9597"/>
                    <a:pt x="35706" y="-596"/>
                    <a:pt x="22605" y="-32"/>
                  </a:cubicBezTo>
                  <a:cubicBezTo>
                    <a:pt x="10293" y="498"/>
                    <a:pt x="432" y="10387"/>
                    <a:pt x="-97" y="22734"/>
                  </a:cubicBezTo>
                  <a:lnTo>
                    <a:pt x="-97" y="164935"/>
                  </a:lnTo>
                  <a:close/>
                </a:path>
              </a:pathLst>
            </a:custGeom>
            <a:grpFill/>
            <a:ln w="43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4" name="Freihandform: Form 193">
              <a:extLst>
                <a:ext uri="{FF2B5EF4-FFF2-40B4-BE49-F238E27FC236}">
                  <a16:creationId xmlns:a16="http://schemas.microsoft.com/office/drawing/2014/main" id="{F1216F2B-D6CF-4FBB-8B7D-9DBE26ED6825}"/>
                </a:ext>
              </a:extLst>
            </p:cNvPr>
            <p:cNvSpPr/>
            <p:nvPr/>
          </p:nvSpPr>
          <p:spPr>
            <a:xfrm>
              <a:off x="3404872" y="2908165"/>
              <a:ext cx="47442" cy="103438"/>
            </a:xfrm>
            <a:custGeom>
              <a:avLst/>
              <a:gdLst>
                <a:gd name="connsiteX0" fmla="*/ 0 w 47442"/>
                <a:gd name="connsiteY0" fmla="*/ 0 h 103438"/>
                <a:gd name="connsiteX1" fmla="*/ 47442 w 47442"/>
                <a:gd name="connsiteY1" fmla="*/ 0 h 103438"/>
                <a:gd name="connsiteX2" fmla="*/ 47442 w 47442"/>
                <a:gd name="connsiteY2" fmla="*/ 103438 h 103438"/>
                <a:gd name="connsiteX3" fmla="*/ 0 w 47442"/>
                <a:gd name="connsiteY3" fmla="*/ 103438 h 103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442" h="103438">
                  <a:moveTo>
                    <a:pt x="0" y="0"/>
                  </a:moveTo>
                  <a:lnTo>
                    <a:pt x="47442" y="0"/>
                  </a:lnTo>
                  <a:lnTo>
                    <a:pt x="47442" y="103438"/>
                  </a:lnTo>
                  <a:lnTo>
                    <a:pt x="0" y="103438"/>
                  </a:lnTo>
                  <a:close/>
                </a:path>
              </a:pathLst>
            </a:custGeom>
            <a:grpFill/>
            <a:ln w="43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5" name="Freihandform: Form 194">
              <a:extLst>
                <a:ext uri="{FF2B5EF4-FFF2-40B4-BE49-F238E27FC236}">
                  <a16:creationId xmlns:a16="http://schemas.microsoft.com/office/drawing/2014/main" id="{8D85968F-365F-4CE1-AB96-0462CAB55043}"/>
                </a:ext>
              </a:extLst>
            </p:cNvPr>
            <p:cNvSpPr/>
            <p:nvPr/>
          </p:nvSpPr>
          <p:spPr>
            <a:xfrm>
              <a:off x="3404806" y="3164810"/>
              <a:ext cx="47486" cy="110467"/>
            </a:xfrm>
            <a:custGeom>
              <a:avLst/>
              <a:gdLst>
                <a:gd name="connsiteX0" fmla="*/ -75 w 47486"/>
                <a:gd name="connsiteY0" fmla="*/ -54 h 110467"/>
                <a:gd name="connsiteX1" fmla="*/ -75 w 47486"/>
                <a:gd name="connsiteY1" fmla="*/ 85582 h 110467"/>
                <a:gd name="connsiteX2" fmla="*/ 22628 w 47486"/>
                <a:gd name="connsiteY2" fmla="*/ 110391 h 110467"/>
                <a:gd name="connsiteX3" fmla="*/ 47367 w 47486"/>
                <a:gd name="connsiteY3" fmla="*/ 87625 h 110467"/>
                <a:gd name="connsiteX4" fmla="*/ 47367 w 47486"/>
                <a:gd name="connsiteY4" fmla="*/ 85582 h 110467"/>
                <a:gd name="connsiteX5" fmla="*/ 47367 w 47486"/>
                <a:gd name="connsiteY5" fmla="*/ -54 h 110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486" h="110467">
                  <a:moveTo>
                    <a:pt x="-75" y="-54"/>
                  </a:moveTo>
                  <a:lnTo>
                    <a:pt x="-75" y="85582"/>
                  </a:lnTo>
                  <a:cubicBezTo>
                    <a:pt x="-637" y="98719"/>
                    <a:pt x="9527" y="109827"/>
                    <a:pt x="22628" y="110391"/>
                  </a:cubicBezTo>
                  <a:cubicBezTo>
                    <a:pt x="35728" y="110955"/>
                    <a:pt x="46805" y="100762"/>
                    <a:pt x="47367" y="87625"/>
                  </a:cubicBezTo>
                  <a:cubicBezTo>
                    <a:pt x="47396" y="86944"/>
                    <a:pt x="47396" y="86262"/>
                    <a:pt x="47367" y="85582"/>
                  </a:cubicBezTo>
                  <a:lnTo>
                    <a:pt x="47367" y="-54"/>
                  </a:lnTo>
                  <a:close/>
                </a:path>
              </a:pathLst>
            </a:custGeom>
            <a:grpFill/>
            <a:ln w="43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6" name="Freihandform: Form 195">
              <a:extLst>
                <a:ext uri="{FF2B5EF4-FFF2-40B4-BE49-F238E27FC236}">
                  <a16:creationId xmlns:a16="http://schemas.microsoft.com/office/drawing/2014/main" id="{63395798-4ED3-4587-BB05-E351C8C0D1B5}"/>
                </a:ext>
              </a:extLst>
            </p:cNvPr>
            <p:cNvSpPr/>
            <p:nvPr/>
          </p:nvSpPr>
          <p:spPr>
            <a:xfrm>
              <a:off x="3404872" y="2779953"/>
              <a:ext cx="47442" cy="103175"/>
            </a:xfrm>
            <a:custGeom>
              <a:avLst/>
              <a:gdLst>
                <a:gd name="connsiteX0" fmla="*/ 0 w 47442"/>
                <a:gd name="connsiteY0" fmla="*/ 0 h 103175"/>
                <a:gd name="connsiteX1" fmla="*/ 47442 w 47442"/>
                <a:gd name="connsiteY1" fmla="*/ 0 h 103175"/>
                <a:gd name="connsiteX2" fmla="*/ 47442 w 47442"/>
                <a:gd name="connsiteY2" fmla="*/ 103175 h 103175"/>
                <a:gd name="connsiteX3" fmla="*/ 0 w 47442"/>
                <a:gd name="connsiteY3" fmla="*/ 103175 h 103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442" h="103175">
                  <a:moveTo>
                    <a:pt x="0" y="0"/>
                  </a:moveTo>
                  <a:lnTo>
                    <a:pt x="47442" y="0"/>
                  </a:lnTo>
                  <a:lnTo>
                    <a:pt x="47442" y="103175"/>
                  </a:lnTo>
                  <a:lnTo>
                    <a:pt x="0" y="103175"/>
                  </a:lnTo>
                  <a:close/>
                </a:path>
              </a:pathLst>
            </a:custGeom>
            <a:grpFill/>
            <a:ln w="43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7" name="Freihandform: Form 196">
              <a:extLst>
                <a:ext uri="{FF2B5EF4-FFF2-40B4-BE49-F238E27FC236}">
                  <a16:creationId xmlns:a16="http://schemas.microsoft.com/office/drawing/2014/main" id="{06974897-D174-45BD-9871-0B58081B37E1}"/>
                </a:ext>
              </a:extLst>
            </p:cNvPr>
            <p:cNvSpPr/>
            <p:nvPr/>
          </p:nvSpPr>
          <p:spPr>
            <a:xfrm>
              <a:off x="3404872" y="3036466"/>
              <a:ext cx="47442" cy="102342"/>
            </a:xfrm>
            <a:custGeom>
              <a:avLst/>
              <a:gdLst>
                <a:gd name="connsiteX0" fmla="*/ 0 w 47442"/>
                <a:gd name="connsiteY0" fmla="*/ 0 h 102342"/>
                <a:gd name="connsiteX1" fmla="*/ 47442 w 47442"/>
                <a:gd name="connsiteY1" fmla="*/ 0 h 102342"/>
                <a:gd name="connsiteX2" fmla="*/ 47442 w 47442"/>
                <a:gd name="connsiteY2" fmla="*/ 102342 h 102342"/>
                <a:gd name="connsiteX3" fmla="*/ 0 w 47442"/>
                <a:gd name="connsiteY3" fmla="*/ 102342 h 102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442" h="102342">
                  <a:moveTo>
                    <a:pt x="0" y="0"/>
                  </a:moveTo>
                  <a:lnTo>
                    <a:pt x="47442" y="0"/>
                  </a:lnTo>
                  <a:lnTo>
                    <a:pt x="47442" y="102342"/>
                  </a:lnTo>
                  <a:lnTo>
                    <a:pt x="0" y="102342"/>
                  </a:lnTo>
                  <a:close/>
                </a:path>
              </a:pathLst>
            </a:custGeom>
            <a:grpFill/>
            <a:ln w="432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98" name="Grafik 116">
            <a:extLst>
              <a:ext uri="{FF2B5EF4-FFF2-40B4-BE49-F238E27FC236}">
                <a16:creationId xmlns:a16="http://schemas.microsoft.com/office/drawing/2014/main" id="{FCC96FB9-21F7-4CC5-81A4-406A73679A37}"/>
              </a:ext>
            </a:extLst>
          </p:cNvPr>
          <p:cNvSpPr/>
          <p:nvPr/>
        </p:nvSpPr>
        <p:spPr>
          <a:xfrm>
            <a:off x="8242232" y="3947534"/>
            <a:ext cx="789018" cy="295789"/>
          </a:xfrm>
          <a:custGeom>
            <a:avLst/>
            <a:gdLst>
              <a:gd name="connsiteX0" fmla="*/ 740910 w 789018"/>
              <a:gd name="connsiteY0" fmla="*/ 39902 h 295789"/>
              <a:gd name="connsiteX1" fmla="*/ 571321 w 789018"/>
              <a:gd name="connsiteY1" fmla="*/ 19373 h 295789"/>
              <a:gd name="connsiteX2" fmla="*/ 525944 w 789018"/>
              <a:gd name="connsiteY2" fmla="*/ 51255 h 295789"/>
              <a:gd name="connsiteX3" fmla="*/ 262962 w 789018"/>
              <a:gd name="connsiteY3" fmla="*/ 50050 h 295789"/>
              <a:gd name="connsiteX4" fmla="*/ 214635 w 789018"/>
              <a:gd name="connsiteY4" fmla="*/ 16730 h 295789"/>
              <a:gd name="connsiteX5" fmla="*/ 25016 w 789018"/>
              <a:gd name="connsiteY5" fmla="*/ 65213 h 295789"/>
              <a:gd name="connsiteX6" fmla="*/ 42445 w 789018"/>
              <a:gd name="connsiteY6" fmla="*/ 252112 h 295789"/>
              <a:gd name="connsiteX7" fmla="*/ 262457 w 789018"/>
              <a:gd name="connsiteY7" fmla="*/ 243441 h 295789"/>
              <a:gd name="connsiteX8" fmla="*/ 265640 w 789018"/>
              <a:gd name="connsiteY8" fmla="*/ 240214 h 295789"/>
              <a:gd name="connsiteX9" fmla="*/ 273404 w 789018"/>
              <a:gd name="connsiteY9" fmla="*/ 232205 h 295789"/>
              <a:gd name="connsiteX10" fmla="*/ 518724 w 789018"/>
              <a:gd name="connsiteY10" fmla="*/ 232671 h 295789"/>
              <a:gd name="connsiteX11" fmla="*/ 525789 w 789018"/>
              <a:gd name="connsiteY11" fmla="*/ 239475 h 295789"/>
              <a:gd name="connsiteX12" fmla="*/ 532737 w 789018"/>
              <a:gd name="connsiteY12" fmla="*/ 246396 h 295789"/>
              <a:gd name="connsiteX13" fmla="*/ 763152 w 789018"/>
              <a:gd name="connsiteY13" fmla="*/ 231544 h 295789"/>
              <a:gd name="connsiteX14" fmla="*/ 740910 w 789018"/>
              <a:gd name="connsiteY14" fmla="*/ 39902 h 295789"/>
              <a:gd name="connsiteX15" fmla="*/ 204892 w 789018"/>
              <a:gd name="connsiteY15" fmla="*/ 216342 h 295789"/>
              <a:gd name="connsiteX16" fmla="*/ 168055 w 789018"/>
              <a:gd name="connsiteY16" fmla="*/ 216342 h 295789"/>
              <a:gd name="connsiteX17" fmla="*/ 168055 w 789018"/>
              <a:gd name="connsiteY17" fmla="*/ 156932 h 295789"/>
              <a:gd name="connsiteX18" fmla="*/ 124426 w 789018"/>
              <a:gd name="connsiteY18" fmla="*/ 156932 h 295789"/>
              <a:gd name="connsiteX19" fmla="*/ 124426 w 789018"/>
              <a:gd name="connsiteY19" fmla="*/ 216342 h 295789"/>
              <a:gd name="connsiteX20" fmla="*/ 87550 w 789018"/>
              <a:gd name="connsiteY20" fmla="*/ 216342 h 295789"/>
              <a:gd name="connsiteX21" fmla="*/ 87550 w 789018"/>
              <a:gd name="connsiteY21" fmla="*/ 77733 h 295789"/>
              <a:gd name="connsiteX22" fmla="*/ 124426 w 789018"/>
              <a:gd name="connsiteY22" fmla="*/ 77733 h 295789"/>
              <a:gd name="connsiteX23" fmla="*/ 124426 w 789018"/>
              <a:gd name="connsiteY23" fmla="*/ 130727 h 295789"/>
              <a:gd name="connsiteX24" fmla="*/ 168055 w 789018"/>
              <a:gd name="connsiteY24" fmla="*/ 130727 h 295789"/>
              <a:gd name="connsiteX25" fmla="*/ 168055 w 789018"/>
              <a:gd name="connsiteY25" fmla="*/ 77733 h 295789"/>
              <a:gd name="connsiteX26" fmla="*/ 204892 w 789018"/>
              <a:gd name="connsiteY26" fmla="*/ 77733 h 295789"/>
              <a:gd name="connsiteX27" fmla="*/ 700230 w 789018"/>
              <a:gd name="connsiteY27" fmla="*/ 216342 h 295789"/>
              <a:gd name="connsiteX28" fmla="*/ 663277 w 789018"/>
              <a:gd name="connsiteY28" fmla="*/ 216342 h 295789"/>
              <a:gd name="connsiteX29" fmla="*/ 663277 w 789018"/>
              <a:gd name="connsiteY29" fmla="*/ 156932 h 295789"/>
              <a:gd name="connsiteX30" fmla="*/ 619725 w 789018"/>
              <a:gd name="connsiteY30" fmla="*/ 156932 h 295789"/>
              <a:gd name="connsiteX31" fmla="*/ 619725 w 789018"/>
              <a:gd name="connsiteY31" fmla="*/ 216342 h 295789"/>
              <a:gd name="connsiteX32" fmla="*/ 582849 w 789018"/>
              <a:gd name="connsiteY32" fmla="*/ 216342 h 295789"/>
              <a:gd name="connsiteX33" fmla="*/ 582849 w 789018"/>
              <a:gd name="connsiteY33" fmla="*/ 77733 h 295789"/>
              <a:gd name="connsiteX34" fmla="*/ 619725 w 789018"/>
              <a:gd name="connsiteY34" fmla="*/ 77733 h 295789"/>
              <a:gd name="connsiteX35" fmla="*/ 619725 w 789018"/>
              <a:gd name="connsiteY35" fmla="*/ 130727 h 295789"/>
              <a:gd name="connsiteX36" fmla="*/ 663277 w 789018"/>
              <a:gd name="connsiteY36" fmla="*/ 130727 h 295789"/>
              <a:gd name="connsiteX37" fmla="*/ 663277 w 789018"/>
              <a:gd name="connsiteY37" fmla="*/ 77733 h 295789"/>
              <a:gd name="connsiteX38" fmla="*/ 700153 w 789018"/>
              <a:gd name="connsiteY38" fmla="*/ 77733 h 295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789018" h="295789">
                <a:moveTo>
                  <a:pt x="740910" y="39902"/>
                </a:moveTo>
                <a:cubicBezTo>
                  <a:pt x="702288" y="4910"/>
                  <a:pt x="631680" y="-15813"/>
                  <a:pt x="571321" y="19373"/>
                </a:cubicBezTo>
                <a:cubicBezTo>
                  <a:pt x="555198" y="28500"/>
                  <a:pt x="540001" y="39178"/>
                  <a:pt x="525944" y="51255"/>
                </a:cubicBezTo>
                <a:cubicBezTo>
                  <a:pt x="400683" y="139825"/>
                  <a:pt x="387912" y="140680"/>
                  <a:pt x="262962" y="50050"/>
                </a:cubicBezTo>
                <a:cubicBezTo>
                  <a:pt x="246892" y="38386"/>
                  <a:pt x="232180" y="25828"/>
                  <a:pt x="214635" y="16730"/>
                </a:cubicBezTo>
                <a:cubicBezTo>
                  <a:pt x="148365" y="-18178"/>
                  <a:pt x="66474" y="2761"/>
                  <a:pt x="25016" y="65213"/>
                </a:cubicBezTo>
                <a:cubicBezTo>
                  <a:pt x="-14073" y="123791"/>
                  <a:pt x="-6798" y="201798"/>
                  <a:pt x="42445" y="252112"/>
                </a:cubicBezTo>
                <a:cubicBezTo>
                  <a:pt x="100282" y="306544"/>
                  <a:pt x="189172" y="316770"/>
                  <a:pt x="262457" y="243441"/>
                </a:cubicBezTo>
                <a:cubicBezTo>
                  <a:pt x="263544" y="242391"/>
                  <a:pt x="264592" y="241303"/>
                  <a:pt x="265640" y="240214"/>
                </a:cubicBezTo>
                <a:cubicBezTo>
                  <a:pt x="268280" y="237493"/>
                  <a:pt x="270881" y="234810"/>
                  <a:pt x="273404" y="232205"/>
                </a:cubicBezTo>
                <a:cubicBezTo>
                  <a:pt x="362332" y="142780"/>
                  <a:pt x="422925" y="139592"/>
                  <a:pt x="518724" y="232671"/>
                </a:cubicBezTo>
                <a:lnTo>
                  <a:pt x="525789" y="239475"/>
                </a:lnTo>
                <a:cubicBezTo>
                  <a:pt x="528079" y="241730"/>
                  <a:pt x="530486" y="243986"/>
                  <a:pt x="532737" y="246396"/>
                </a:cubicBezTo>
                <a:cubicBezTo>
                  <a:pt x="603694" y="322835"/>
                  <a:pt x="711293" y="303822"/>
                  <a:pt x="763152" y="231544"/>
                </a:cubicBezTo>
                <a:cubicBezTo>
                  <a:pt x="805579" y="172601"/>
                  <a:pt x="794050" y="88114"/>
                  <a:pt x="740910" y="39902"/>
                </a:cubicBezTo>
                <a:close/>
                <a:moveTo>
                  <a:pt x="204892" y="216342"/>
                </a:moveTo>
                <a:lnTo>
                  <a:pt x="168055" y="216342"/>
                </a:lnTo>
                <a:lnTo>
                  <a:pt x="168055" y="156932"/>
                </a:lnTo>
                <a:lnTo>
                  <a:pt x="124426" y="156932"/>
                </a:lnTo>
                <a:lnTo>
                  <a:pt x="124426" y="216342"/>
                </a:lnTo>
                <a:lnTo>
                  <a:pt x="87550" y="216342"/>
                </a:lnTo>
                <a:lnTo>
                  <a:pt x="87550" y="77733"/>
                </a:lnTo>
                <a:lnTo>
                  <a:pt x="124426" y="77733"/>
                </a:lnTo>
                <a:lnTo>
                  <a:pt x="124426" y="130727"/>
                </a:lnTo>
                <a:lnTo>
                  <a:pt x="168055" y="130727"/>
                </a:lnTo>
                <a:lnTo>
                  <a:pt x="168055" y="77733"/>
                </a:lnTo>
                <a:lnTo>
                  <a:pt x="204892" y="77733"/>
                </a:lnTo>
                <a:close/>
                <a:moveTo>
                  <a:pt x="700230" y="216342"/>
                </a:moveTo>
                <a:lnTo>
                  <a:pt x="663277" y="216342"/>
                </a:lnTo>
                <a:lnTo>
                  <a:pt x="663277" y="156932"/>
                </a:lnTo>
                <a:lnTo>
                  <a:pt x="619725" y="156932"/>
                </a:lnTo>
                <a:lnTo>
                  <a:pt x="619725" y="216342"/>
                </a:lnTo>
                <a:lnTo>
                  <a:pt x="582849" y="216342"/>
                </a:lnTo>
                <a:lnTo>
                  <a:pt x="582849" y="77733"/>
                </a:lnTo>
                <a:lnTo>
                  <a:pt x="619725" y="77733"/>
                </a:lnTo>
                <a:lnTo>
                  <a:pt x="619725" y="130727"/>
                </a:lnTo>
                <a:lnTo>
                  <a:pt x="663277" y="130727"/>
                </a:lnTo>
                <a:lnTo>
                  <a:pt x="663277" y="77733"/>
                </a:lnTo>
                <a:lnTo>
                  <a:pt x="700153" y="77733"/>
                </a:lnTo>
                <a:close/>
              </a:path>
            </a:pathLst>
          </a:custGeom>
          <a:solidFill>
            <a:schemeClr val="bg1"/>
          </a:solidFill>
          <a:ln w="384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199" name="Gruppieren 198">
            <a:extLst>
              <a:ext uri="{FF2B5EF4-FFF2-40B4-BE49-F238E27FC236}">
                <a16:creationId xmlns:a16="http://schemas.microsoft.com/office/drawing/2014/main" id="{CDD3F9B3-1DE7-4A8D-801A-1D24481CC5E9}"/>
              </a:ext>
            </a:extLst>
          </p:cNvPr>
          <p:cNvGrpSpPr/>
          <p:nvPr/>
        </p:nvGrpSpPr>
        <p:grpSpPr>
          <a:xfrm>
            <a:off x="607757" y="4963667"/>
            <a:ext cx="828109" cy="828109"/>
            <a:chOff x="607757" y="4963667"/>
            <a:chExt cx="828109" cy="828109"/>
          </a:xfrm>
        </p:grpSpPr>
        <p:sp>
          <p:nvSpPr>
            <p:cNvPr id="200" name="Freihandform: Form 199">
              <a:extLst>
                <a:ext uri="{FF2B5EF4-FFF2-40B4-BE49-F238E27FC236}">
                  <a16:creationId xmlns:a16="http://schemas.microsoft.com/office/drawing/2014/main" id="{753107B2-2C7C-4EE6-BFB0-520AA7C2E3EE}"/>
                </a:ext>
              </a:extLst>
            </p:cNvPr>
            <p:cNvSpPr/>
            <p:nvPr/>
          </p:nvSpPr>
          <p:spPr>
            <a:xfrm>
              <a:off x="607757" y="4963667"/>
              <a:ext cx="828109" cy="828109"/>
            </a:xfrm>
            <a:custGeom>
              <a:avLst/>
              <a:gdLst>
                <a:gd name="connsiteX0" fmla="*/ 828109 w 828109"/>
                <a:gd name="connsiteY0" fmla="*/ 414055 h 828109"/>
                <a:gd name="connsiteX1" fmla="*/ 414055 w 828109"/>
                <a:gd name="connsiteY1" fmla="*/ 828109 h 828109"/>
                <a:gd name="connsiteX2" fmla="*/ 0 w 828109"/>
                <a:gd name="connsiteY2" fmla="*/ 414055 h 828109"/>
                <a:gd name="connsiteX3" fmla="*/ 414055 w 828109"/>
                <a:gd name="connsiteY3" fmla="*/ 0 h 828109"/>
                <a:gd name="connsiteX4" fmla="*/ 828109 w 828109"/>
                <a:gd name="connsiteY4" fmla="*/ 414055 h 828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8109" h="828109">
                  <a:moveTo>
                    <a:pt x="828109" y="414055"/>
                  </a:moveTo>
                  <a:cubicBezTo>
                    <a:pt x="828109" y="642731"/>
                    <a:pt x="642731" y="828109"/>
                    <a:pt x="414055" y="828109"/>
                  </a:cubicBezTo>
                  <a:cubicBezTo>
                    <a:pt x="185379" y="828109"/>
                    <a:pt x="0" y="642731"/>
                    <a:pt x="0" y="414055"/>
                  </a:cubicBezTo>
                  <a:cubicBezTo>
                    <a:pt x="0" y="185379"/>
                    <a:pt x="185379" y="0"/>
                    <a:pt x="414055" y="0"/>
                  </a:cubicBezTo>
                  <a:cubicBezTo>
                    <a:pt x="642731" y="0"/>
                    <a:pt x="828109" y="185379"/>
                    <a:pt x="828109" y="414055"/>
                  </a:cubicBezTo>
                  <a:close/>
                </a:path>
              </a:pathLst>
            </a:custGeom>
            <a:solidFill>
              <a:srgbClr val="B5B9BC"/>
            </a:solidFill>
            <a:ln w="32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01" name="Gruppieren 200">
              <a:extLst>
                <a:ext uri="{FF2B5EF4-FFF2-40B4-BE49-F238E27FC236}">
                  <a16:creationId xmlns:a16="http://schemas.microsoft.com/office/drawing/2014/main" id="{EE0B7AEC-A6D1-4DB5-B42B-3D4192F3AADC}"/>
                </a:ext>
              </a:extLst>
            </p:cNvPr>
            <p:cNvGrpSpPr/>
            <p:nvPr/>
          </p:nvGrpSpPr>
          <p:grpSpPr>
            <a:xfrm>
              <a:off x="723490" y="5104836"/>
              <a:ext cx="580332" cy="545770"/>
              <a:chOff x="627446" y="2514149"/>
              <a:chExt cx="772421" cy="726420"/>
            </a:xfrm>
            <a:solidFill>
              <a:schemeClr val="bg1"/>
            </a:solidFill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202" name="Freihandform: Form 201">
                <a:extLst>
                  <a:ext uri="{FF2B5EF4-FFF2-40B4-BE49-F238E27FC236}">
                    <a16:creationId xmlns:a16="http://schemas.microsoft.com/office/drawing/2014/main" id="{E0870301-E1E9-47FE-A504-21BCB0F80615}"/>
                  </a:ext>
                </a:extLst>
              </p:cNvPr>
              <p:cNvSpPr/>
              <p:nvPr/>
            </p:nvSpPr>
            <p:spPr>
              <a:xfrm>
                <a:off x="828449" y="2881272"/>
                <a:ext cx="193621" cy="134288"/>
              </a:xfrm>
              <a:custGeom>
                <a:avLst/>
                <a:gdLst>
                  <a:gd name="connsiteX0" fmla="*/ 193490 w 193621"/>
                  <a:gd name="connsiteY0" fmla="*/ 107423 h 134288"/>
                  <a:gd name="connsiteX1" fmla="*/ 193490 w 193621"/>
                  <a:gd name="connsiteY1" fmla="*/ 106728 h 134288"/>
                  <a:gd name="connsiteX2" fmla="*/ 193490 w 193621"/>
                  <a:gd name="connsiteY2" fmla="*/ 104233 h 134288"/>
                  <a:gd name="connsiteX3" fmla="*/ 193490 w 193621"/>
                  <a:gd name="connsiteY3" fmla="*/ 102965 h 134288"/>
                  <a:gd name="connsiteX4" fmla="*/ 193163 w 193621"/>
                  <a:gd name="connsiteY4" fmla="*/ 99285 h 134288"/>
                  <a:gd name="connsiteX5" fmla="*/ 193163 w 193621"/>
                  <a:gd name="connsiteY5" fmla="*/ 98426 h 134288"/>
                  <a:gd name="connsiteX6" fmla="*/ 192714 w 193621"/>
                  <a:gd name="connsiteY6" fmla="*/ 94827 h 134288"/>
                  <a:gd name="connsiteX7" fmla="*/ 192714 w 193621"/>
                  <a:gd name="connsiteY7" fmla="*/ 93682 h 134288"/>
                  <a:gd name="connsiteX8" fmla="*/ 192020 w 193621"/>
                  <a:gd name="connsiteY8" fmla="*/ 89061 h 134288"/>
                  <a:gd name="connsiteX9" fmla="*/ 192020 w 193621"/>
                  <a:gd name="connsiteY9" fmla="*/ 88039 h 134288"/>
                  <a:gd name="connsiteX10" fmla="*/ 191163 w 193621"/>
                  <a:gd name="connsiteY10" fmla="*/ 83622 h 134288"/>
                  <a:gd name="connsiteX11" fmla="*/ 191163 w 193621"/>
                  <a:gd name="connsiteY11" fmla="*/ 82722 h 134288"/>
                  <a:gd name="connsiteX12" fmla="*/ 189897 w 193621"/>
                  <a:gd name="connsiteY12" fmla="*/ 77488 h 134288"/>
                  <a:gd name="connsiteX13" fmla="*/ 189570 w 193621"/>
                  <a:gd name="connsiteY13" fmla="*/ 76302 h 134288"/>
                  <a:gd name="connsiteX14" fmla="*/ 188019 w 193621"/>
                  <a:gd name="connsiteY14" fmla="*/ 71067 h 134288"/>
                  <a:gd name="connsiteX15" fmla="*/ 188019 w 193621"/>
                  <a:gd name="connsiteY15" fmla="*/ 70658 h 134288"/>
                  <a:gd name="connsiteX16" fmla="*/ 186059 w 193621"/>
                  <a:gd name="connsiteY16" fmla="*/ 65056 h 134288"/>
                  <a:gd name="connsiteX17" fmla="*/ 185569 w 193621"/>
                  <a:gd name="connsiteY17" fmla="*/ 63788 h 134288"/>
                  <a:gd name="connsiteX18" fmla="*/ 183201 w 193621"/>
                  <a:gd name="connsiteY18" fmla="*/ 58063 h 134288"/>
                  <a:gd name="connsiteX19" fmla="*/ 183201 w 193621"/>
                  <a:gd name="connsiteY19" fmla="*/ 57695 h 134288"/>
                  <a:gd name="connsiteX20" fmla="*/ 180547 w 193621"/>
                  <a:gd name="connsiteY20" fmla="*/ 52337 h 134288"/>
                  <a:gd name="connsiteX21" fmla="*/ 179894 w 193621"/>
                  <a:gd name="connsiteY21" fmla="*/ 51111 h 134288"/>
                  <a:gd name="connsiteX22" fmla="*/ 176627 w 193621"/>
                  <a:gd name="connsiteY22" fmla="*/ 45590 h 134288"/>
                  <a:gd name="connsiteX23" fmla="*/ 176097 w 193621"/>
                  <a:gd name="connsiteY23" fmla="*/ 44731 h 134288"/>
                  <a:gd name="connsiteX24" fmla="*/ 172667 w 193621"/>
                  <a:gd name="connsiteY24" fmla="*/ 39865 h 134288"/>
                  <a:gd name="connsiteX25" fmla="*/ 171932 w 193621"/>
                  <a:gd name="connsiteY25" fmla="*/ 38842 h 134288"/>
                  <a:gd name="connsiteX26" fmla="*/ 167849 w 193621"/>
                  <a:gd name="connsiteY26" fmla="*/ 33689 h 134288"/>
                  <a:gd name="connsiteX27" fmla="*/ 166910 w 193621"/>
                  <a:gd name="connsiteY27" fmla="*/ 32667 h 134288"/>
                  <a:gd name="connsiteX28" fmla="*/ 162419 w 193621"/>
                  <a:gd name="connsiteY28" fmla="*/ 28128 h 134288"/>
                  <a:gd name="connsiteX29" fmla="*/ 161806 w 193621"/>
                  <a:gd name="connsiteY29" fmla="*/ 27514 h 134288"/>
                  <a:gd name="connsiteX30" fmla="*/ 156335 w 193621"/>
                  <a:gd name="connsiteY30" fmla="*/ 22934 h 134288"/>
                  <a:gd name="connsiteX31" fmla="*/ 154988 w 193621"/>
                  <a:gd name="connsiteY31" fmla="*/ 21953 h 134288"/>
                  <a:gd name="connsiteX32" fmla="*/ 148741 w 193621"/>
                  <a:gd name="connsiteY32" fmla="*/ 17659 h 134288"/>
                  <a:gd name="connsiteX33" fmla="*/ 144290 w 193621"/>
                  <a:gd name="connsiteY33" fmla="*/ 15123 h 134288"/>
                  <a:gd name="connsiteX34" fmla="*/ 142780 w 193621"/>
                  <a:gd name="connsiteY34" fmla="*/ 14346 h 134288"/>
                  <a:gd name="connsiteX35" fmla="*/ 139595 w 193621"/>
                  <a:gd name="connsiteY35" fmla="*/ 12833 h 134288"/>
                  <a:gd name="connsiteX36" fmla="*/ 137799 w 193621"/>
                  <a:gd name="connsiteY36" fmla="*/ 12015 h 134288"/>
                  <a:gd name="connsiteX37" fmla="*/ 134614 w 193621"/>
                  <a:gd name="connsiteY37" fmla="*/ 10666 h 134288"/>
                  <a:gd name="connsiteX38" fmla="*/ 132777 w 193621"/>
                  <a:gd name="connsiteY38" fmla="*/ 9970 h 134288"/>
                  <a:gd name="connsiteX39" fmla="*/ 129143 w 193621"/>
                  <a:gd name="connsiteY39" fmla="*/ 8662 h 134288"/>
                  <a:gd name="connsiteX40" fmla="*/ 127714 w 193621"/>
                  <a:gd name="connsiteY40" fmla="*/ 8130 h 134288"/>
                  <a:gd name="connsiteX41" fmla="*/ 122569 w 193621"/>
                  <a:gd name="connsiteY41" fmla="*/ 6576 h 134288"/>
                  <a:gd name="connsiteX42" fmla="*/ 121018 w 193621"/>
                  <a:gd name="connsiteY42" fmla="*/ 6167 h 134288"/>
                  <a:gd name="connsiteX43" fmla="*/ 115914 w 193621"/>
                  <a:gd name="connsiteY43" fmla="*/ 5186 h 134288"/>
                  <a:gd name="connsiteX44" fmla="*/ 113791 w 193621"/>
                  <a:gd name="connsiteY44" fmla="*/ 4695 h 134288"/>
                  <a:gd name="connsiteX45" fmla="*/ 110402 w 193621"/>
                  <a:gd name="connsiteY45" fmla="*/ 3959 h 134288"/>
                  <a:gd name="connsiteX46" fmla="*/ 108197 w 193621"/>
                  <a:gd name="connsiteY46" fmla="*/ 3509 h 134288"/>
                  <a:gd name="connsiteX47" fmla="*/ 104686 w 193621"/>
                  <a:gd name="connsiteY47" fmla="*/ 2855 h 134288"/>
                  <a:gd name="connsiteX48" fmla="*/ 102604 w 193621"/>
                  <a:gd name="connsiteY48" fmla="*/ 2487 h 134288"/>
                  <a:gd name="connsiteX49" fmla="*/ 98072 w 193621"/>
                  <a:gd name="connsiteY49" fmla="*/ 1791 h 134288"/>
                  <a:gd name="connsiteX50" fmla="*/ 96683 w 193621"/>
                  <a:gd name="connsiteY50" fmla="*/ 1587 h 134288"/>
                  <a:gd name="connsiteX51" fmla="*/ 91539 w 193621"/>
                  <a:gd name="connsiteY51" fmla="*/ 933 h 134288"/>
                  <a:gd name="connsiteX52" fmla="*/ 89375 w 193621"/>
                  <a:gd name="connsiteY52" fmla="*/ 728 h 134288"/>
                  <a:gd name="connsiteX53" fmla="*/ 85864 w 193621"/>
                  <a:gd name="connsiteY53" fmla="*/ 401 h 134288"/>
                  <a:gd name="connsiteX54" fmla="*/ 83536 w 193621"/>
                  <a:gd name="connsiteY54" fmla="*/ 196 h 134288"/>
                  <a:gd name="connsiteX55" fmla="*/ 80148 w 193621"/>
                  <a:gd name="connsiteY55" fmla="*/ -49 h 134288"/>
                  <a:gd name="connsiteX56" fmla="*/ 77820 w 193621"/>
                  <a:gd name="connsiteY56" fmla="*/ -49 h 134288"/>
                  <a:gd name="connsiteX57" fmla="*/ 74146 w 193621"/>
                  <a:gd name="connsiteY57" fmla="*/ -49 h 134288"/>
                  <a:gd name="connsiteX58" fmla="*/ 72267 w 193621"/>
                  <a:gd name="connsiteY58" fmla="*/ -49 h 134288"/>
                  <a:gd name="connsiteX59" fmla="*/ 66919 w 193621"/>
                  <a:gd name="connsiteY59" fmla="*/ -49 h 134288"/>
                  <a:gd name="connsiteX60" fmla="*/ 53853 w 193621"/>
                  <a:gd name="connsiteY60" fmla="*/ -49 h 134288"/>
                  <a:gd name="connsiteX61" fmla="*/ 50669 w 193621"/>
                  <a:gd name="connsiteY61" fmla="*/ -49 h 134288"/>
                  <a:gd name="connsiteX62" fmla="*/ 48668 w 193621"/>
                  <a:gd name="connsiteY62" fmla="*/ -49 h 134288"/>
                  <a:gd name="connsiteX63" fmla="*/ 44585 w 193621"/>
                  <a:gd name="connsiteY63" fmla="*/ -49 h 134288"/>
                  <a:gd name="connsiteX64" fmla="*/ 43524 w 193621"/>
                  <a:gd name="connsiteY64" fmla="*/ -49 h 134288"/>
                  <a:gd name="connsiteX65" fmla="*/ 38787 w 193621"/>
                  <a:gd name="connsiteY65" fmla="*/ 196 h 134288"/>
                  <a:gd name="connsiteX66" fmla="*/ 36950 w 193621"/>
                  <a:gd name="connsiteY66" fmla="*/ 196 h 134288"/>
                  <a:gd name="connsiteX67" fmla="*/ 34092 w 193621"/>
                  <a:gd name="connsiteY67" fmla="*/ 196 h 134288"/>
                  <a:gd name="connsiteX68" fmla="*/ 32173 w 193621"/>
                  <a:gd name="connsiteY68" fmla="*/ 196 h 134288"/>
                  <a:gd name="connsiteX69" fmla="*/ 29601 w 193621"/>
                  <a:gd name="connsiteY69" fmla="*/ 401 h 134288"/>
                  <a:gd name="connsiteX70" fmla="*/ 27763 w 193621"/>
                  <a:gd name="connsiteY70" fmla="*/ 401 h 134288"/>
                  <a:gd name="connsiteX71" fmla="*/ 25273 w 193621"/>
                  <a:gd name="connsiteY71" fmla="*/ 605 h 134288"/>
                  <a:gd name="connsiteX72" fmla="*/ 23599 w 193621"/>
                  <a:gd name="connsiteY72" fmla="*/ 605 h 134288"/>
                  <a:gd name="connsiteX73" fmla="*/ 19965 w 193621"/>
                  <a:gd name="connsiteY73" fmla="*/ 973 h 134288"/>
                  <a:gd name="connsiteX74" fmla="*/ 18414 w 193621"/>
                  <a:gd name="connsiteY74" fmla="*/ 973 h 134288"/>
                  <a:gd name="connsiteX75" fmla="*/ 16413 w 193621"/>
                  <a:gd name="connsiteY75" fmla="*/ 1178 h 134288"/>
                  <a:gd name="connsiteX76" fmla="*/ 14657 w 193621"/>
                  <a:gd name="connsiteY76" fmla="*/ 1178 h 134288"/>
                  <a:gd name="connsiteX77" fmla="*/ 13228 w 193621"/>
                  <a:gd name="connsiteY77" fmla="*/ 1178 h 134288"/>
                  <a:gd name="connsiteX78" fmla="*/ 11432 w 193621"/>
                  <a:gd name="connsiteY78" fmla="*/ 1423 h 134288"/>
                  <a:gd name="connsiteX79" fmla="*/ 10452 w 193621"/>
                  <a:gd name="connsiteY79" fmla="*/ 1423 h 134288"/>
                  <a:gd name="connsiteX80" fmla="*/ 8614 w 193621"/>
                  <a:gd name="connsiteY80" fmla="*/ 1669 h 134288"/>
                  <a:gd name="connsiteX81" fmla="*/ 8614 w 193621"/>
                  <a:gd name="connsiteY81" fmla="*/ 1669 h 134288"/>
                  <a:gd name="connsiteX82" fmla="*/ -41 w 193621"/>
                  <a:gd name="connsiteY82" fmla="*/ 2936 h 134288"/>
                  <a:gd name="connsiteX83" fmla="*/ 1551 w 193621"/>
                  <a:gd name="connsiteY83" fmla="*/ 7026 h 134288"/>
                  <a:gd name="connsiteX84" fmla="*/ 1551 w 193621"/>
                  <a:gd name="connsiteY84" fmla="*/ 7026 h 134288"/>
                  <a:gd name="connsiteX85" fmla="*/ 3347 w 193621"/>
                  <a:gd name="connsiteY85" fmla="*/ 11443 h 134288"/>
                  <a:gd name="connsiteX86" fmla="*/ 3674 w 193621"/>
                  <a:gd name="connsiteY86" fmla="*/ 12220 h 134288"/>
                  <a:gd name="connsiteX87" fmla="*/ 4450 w 193621"/>
                  <a:gd name="connsiteY87" fmla="*/ 14060 h 134288"/>
                  <a:gd name="connsiteX88" fmla="*/ 4981 w 193621"/>
                  <a:gd name="connsiteY88" fmla="*/ 15328 h 134288"/>
                  <a:gd name="connsiteX89" fmla="*/ 5716 w 193621"/>
                  <a:gd name="connsiteY89" fmla="*/ 17045 h 134288"/>
                  <a:gd name="connsiteX90" fmla="*/ 6369 w 193621"/>
                  <a:gd name="connsiteY90" fmla="*/ 18599 h 134288"/>
                  <a:gd name="connsiteX91" fmla="*/ 7104 w 193621"/>
                  <a:gd name="connsiteY91" fmla="*/ 20235 h 134288"/>
                  <a:gd name="connsiteX92" fmla="*/ 7920 w 193621"/>
                  <a:gd name="connsiteY92" fmla="*/ 22034 h 134288"/>
                  <a:gd name="connsiteX93" fmla="*/ 8696 w 193621"/>
                  <a:gd name="connsiteY93" fmla="*/ 23793 h 134288"/>
                  <a:gd name="connsiteX94" fmla="*/ 9554 w 193621"/>
                  <a:gd name="connsiteY94" fmla="*/ 25715 h 134288"/>
                  <a:gd name="connsiteX95" fmla="*/ 10411 w 193621"/>
                  <a:gd name="connsiteY95" fmla="*/ 27514 h 134288"/>
                  <a:gd name="connsiteX96" fmla="*/ 12085 w 193621"/>
                  <a:gd name="connsiteY96" fmla="*/ 31113 h 134288"/>
                  <a:gd name="connsiteX97" fmla="*/ 13187 w 193621"/>
                  <a:gd name="connsiteY97" fmla="*/ 33444 h 134288"/>
                  <a:gd name="connsiteX98" fmla="*/ 14249 w 193621"/>
                  <a:gd name="connsiteY98" fmla="*/ 35530 h 134288"/>
                  <a:gd name="connsiteX99" fmla="*/ 15270 w 193621"/>
                  <a:gd name="connsiteY99" fmla="*/ 37656 h 134288"/>
                  <a:gd name="connsiteX100" fmla="*/ 16372 w 193621"/>
                  <a:gd name="connsiteY100" fmla="*/ 39865 h 134288"/>
                  <a:gd name="connsiteX101" fmla="*/ 17515 w 193621"/>
                  <a:gd name="connsiteY101" fmla="*/ 42073 h 134288"/>
                  <a:gd name="connsiteX102" fmla="*/ 18699 w 193621"/>
                  <a:gd name="connsiteY102" fmla="*/ 44322 h 134288"/>
                  <a:gd name="connsiteX103" fmla="*/ 19883 w 193621"/>
                  <a:gd name="connsiteY103" fmla="*/ 46653 h 134288"/>
                  <a:gd name="connsiteX104" fmla="*/ 21108 w 193621"/>
                  <a:gd name="connsiteY104" fmla="*/ 48902 h 134288"/>
                  <a:gd name="connsiteX105" fmla="*/ 22415 w 193621"/>
                  <a:gd name="connsiteY105" fmla="*/ 51315 h 134288"/>
                  <a:gd name="connsiteX106" fmla="*/ 23681 w 193621"/>
                  <a:gd name="connsiteY106" fmla="*/ 53564 h 134288"/>
                  <a:gd name="connsiteX107" fmla="*/ 25150 w 193621"/>
                  <a:gd name="connsiteY107" fmla="*/ 56141 h 134288"/>
                  <a:gd name="connsiteX108" fmla="*/ 26416 w 193621"/>
                  <a:gd name="connsiteY108" fmla="*/ 58349 h 134288"/>
                  <a:gd name="connsiteX109" fmla="*/ 28172 w 193621"/>
                  <a:gd name="connsiteY109" fmla="*/ 61375 h 134288"/>
                  <a:gd name="connsiteX110" fmla="*/ 29233 w 193621"/>
                  <a:gd name="connsiteY110" fmla="*/ 63134 h 134288"/>
                  <a:gd name="connsiteX111" fmla="*/ 32091 w 193621"/>
                  <a:gd name="connsiteY111" fmla="*/ 67796 h 134288"/>
                  <a:gd name="connsiteX112" fmla="*/ 33316 w 193621"/>
                  <a:gd name="connsiteY112" fmla="*/ 69677 h 134288"/>
                  <a:gd name="connsiteX113" fmla="*/ 35194 w 193621"/>
                  <a:gd name="connsiteY113" fmla="*/ 72580 h 134288"/>
                  <a:gd name="connsiteX114" fmla="*/ 36583 w 193621"/>
                  <a:gd name="connsiteY114" fmla="*/ 74707 h 134288"/>
                  <a:gd name="connsiteX115" fmla="*/ 38420 w 193621"/>
                  <a:gd name="connsiteY115" fmla="*/ 77406 h 134288"/>
                  <a:gd name="connsiteX116" fmla="*/ 39890 w 193621"/>
                  <a:gd name="connsiteY116" fmla="*/ 79533 h 134288"/>
                  <a:gd name="connsiteX117" fmla="*/ 41809 w 193621"/>
                  <a:gd name="connsiteY117" fmla="*/ 82191 h 134288"/>
                  <a:gd name="connsiteX118" fmla="*/ 43319 w 193621"/>
                  <a:gd name="connsiteY118" fmla="*/ 84276 h 134288"/>
                  <a:gd name="connsiteX119" fmla="*/ 45320 w 193621"/>
                  <a:gd name="connsiteY119" fmla="*/ 86935 h 134288"/>
                  <a:gd name="connsiteX120" fmla="*/ 46831 w 193621"/>
                  <a:gd name="connsiteY120" fmla="*/ 88938 h 134288"/>
                  <a:gd name="connsiteX121" fmla="*/ 49036 w 193621"/>
                  <a:gd name="connsiteY121" fmla="*/ 91678 h 134288"/>
                  <a:gd name="connsiteX122" fmla="*/ 50465 w 193621"/>
                  <a:gd name="connsiteY122" fmla="*/ 93437 h 134288"/>
                  <a:gd name="connsiteX123" fmla="*/ 53445 w 193621"/>
                  <a:gd name="connsiteY123" fmla="*/ 96954 h 134288"/>
                  <a:gd name="connsiteX124" fmla="*/ 54221 w 193621"/>
                  <a:gd name="connsiteY124" fmla="*/ 97854 h 134288"/>
                  <a:gd name="connsiteX125" fmla="*/ 58018 w 193621"/>
                  <a:gd name="connsiteY125" fmla="*/ 101943 h 134288"/>
                  <a:gd name="connsiteX126" fmla="*/ 59447 w 193621"/>
                  <a:gd name="connsiteY126" fmla="*/ 103415 h 134288"/>
                  <a:gd name="connsiteX127" fmla="*/ 61978 w 193621"/>
                  <a:gd name="connsiteY127" fmla="*/ 105992 h 134288"/>
                  <a:gd name="connsiteX128" fmla="*/ 63652 w 193621"/>
                  <a:gd name="connsiteY128" fmla="*/ 107587 h 134288"/>
                  <a:gd name="connsiteX129" fmla="*/ 66061 w 193621"/>
                  <a:gd name="connsiteY129" fmla="*/ 109836 h 134288"/>
                  <a:gd name="connsiteX130" fmla="*/ 67817 w 193621"/>
                  <a:gd name="connsiteY130" fmla="*/ 111431 h 134288"/>
                  <a:gd name="connsiteX131" fmla="*/ 70267 w 193621"/>
                  <a:gd name="connsiteY131" fmla="*/ 113475 h 134288"/>
                  <a:gd name="connsiteX132" fmla="*/ 72063 w 193621"/>
                  <a:gd name="connsiteY132" fmla="*/ 114948 h 134288"/>
                  <a:gd name="connsiteX133" fmla="*/ 74636 w 193621"/>
                  <a:gd name="connsiteY133" fmla="*/ 116911 h 134288"/>
                  <a:gd name="connsiteX134" fmla="*/ 76391 w 193621"/>
                  <a:gd name="connsiteY134" fmla="*/ 118219 h 134288"/>
                  <a:gd name="connsiteX135" fmla="*/ 79290 w 193621"/>
                  <a:gd name="connsiteY135" fmla="*/ 120182 h 134288"/>
                  <a:gd name="connsiteX136" fmla="*/ 80842 w 193621"/>
                  <a:gd name="connsiteY136" fmla="*/ 121205 h 134288"/>
                  <a:gd name="connsiteX137" fmla="*/ 85333 w 193621"/>
                  <a:gd name="connsiteY137" fmla="*/ 123863 h 134288"/>
                  <a:gd name="connsiteX138" fmla="*/ 89947 w 193621"/>
                  <a:gd name="connsiteY138" fmla="*/ 126194 h 134288"/>
                  <a:gd name="connsiteX139" fmla="*/ 91743 w 193621"/>
                  <a:gd name="connsiteY139" fmla="*/ 126971 h 134288"/>
                  <a:gd name="connsiteX140" fmla="*/ 94560 w 193621"/>
                  <a:gd name="connsiteY140" fmla="*/ 128157 h 134288"/>
                  <a:gd name="connsiteX141" fmla="*/ 96683 w 193621"/>
                  <a:gd name="connsiteY141" fmla="*/ 128975 h 134288"/>
                  <a:gd name="connsiteX142" fmla="*/ 99174 w 193621"/>
                  <a:gd name="connsiteY142" fmla="*/ 129874 h 134288"/>
                  <a:gd name="connsiteX143" fmla="*/ 101460 w 193621"/>
                  <a:gd name="connsiteY143" fmla="*/ 130570 h 134288"/>
                  <a:gd name="connsiteX144" fmla="*/ 103747 w 193621"/>
                  <a:gd name="connsiteY144" fmla="*/ 131265 h 134288"/>
                  <a:gd name="connsiteX145" fmla="*/ 106115 w 193621"/>
                  <a:gd name="connsiteY145" fmla="*/ 131878 h 134288"/>
                  <a:gd name="connsiteX146" fmla="*/ 108361 w 193621"/>
                  <a:gd name="connsiteY146" fmla="*/ 132369 h 134288"/>
                  <a:gd name="connsiteX147" fmla="*/ 110770 w 193621"/>
                  <a:gd name="connsiteY147" fmla="*/ 132860 h 134288"/>
                  <a:gd name="connsiteX148" fmla="*/ 112893 w 193621"/>
                  <a:gd name="connsiteY148" fmla="*/ 133228 h 134288"/>
                  <a:gd name="connsiteX149" fmla="*/ 115383 w 193621"/>
                  <a:gd name="connsiteY149" fmla="*/ 133596 h 134288"/>
                  <a:gd name="connsiteX150" fmla="*/ 117302 w 193621"/>
                  <a:gd name="connsiteY150" fmla="*/ 133800 h 134288"/>
                  <a:gd name="connsiteX151" fmla="*/ 119915 w 193621"/>
                  <a:gd name="connsiteY151" fmla="*/ 134087 h 134288"/>
                  <a:gd name="connsiteX152" fmla="*/ 121549 w 193621"/>
                  <a:gd name="connsiteY152" fmla="*/ 134087 h 134288"/>
                  <a:gd name="connsiteX153" fmla="*/ 131838 w 193621"/>
                  <a:gd name="connsiteY153" fmla="*/ 134087 h 134288"/>
                  <a:gd name="connsiteX154" fmla="*/ 132777 w 193621"/>
                  <a:gd name="connsiteY154" fmla="*/ 134087 h 134288"/>
                  <a:gd name="connsiteX155" fmla="*/ 135757 w 193621"/>
                  <a:gd name="connsiteY155" fmla="*/ 133882 h 134288"/>
                  <a:gd name="connsiteX156" fmla="*/ 137023 w 193621"/>
                  <a:gd name="connsiteY156" fmla="*/ 133882 h 134288"/>
                  <a:gd name="connsiteX157" fmla="*/ 139840 w 193621"/>
                  <a:gd name="connsiteY157" fmla="*/ 133596 h 134288"/>
                  <a:gd name="connsiteX158" fmla="*/ 141187 w 193621"/>
                  <a:gd name="connsiteY158" fmla="*/ 133596 h 134288"/>
                  <a:gd name="connsiteX159" fmla="*/ 143923 w 193621"/>
                  <a:gd name="connsiteY159" fmla="*/ 133228 h 134288"/>
                  <a:gd name="connsiteX160" fmla="*/ 145230 w 193621"/>
                  <a:gd name="connsiteY160" fmla="*/ 133023 h 134288"/>
                  <a:gd name="connsiteX161" fmla="*/ 147965 w 193621"/>
                  <a:gd name="connsiteY161" fmla="*/ 132532 h 134288"/>
                  <a:gd name="connsiteX162" fmla="*/ 149108 w 193621"/>
                  <a:gd name="connsiteY162" fmla="*/ 132287 h 134288"/>
                  <a:gd name="connsiteX163" fmla="*/ 151885 w 193621"/>
                  <a:gd name="connsiteY163" fmla="*/ 131715 h 134288"/>
                  <a:gd name="connsiteX164" fmla="*/ 152783 w 193621"/>
                  <a:gd name="connsiteY164" fmla="*/ 131510 h 134288"/>
                  <a:gd name="connsiteX165" fmla="*/ 155723 w 193621"/>
                  <a:gd name="connsiteY165" fmla="*/ 130815 h 134288"/>
                  <a:gd name="connsiteX166" fmla="*/ 156090 w 193621"/>
                  <a:gd name="connsiteY166" fmla="*/ 130815 h 134288"/>
                  <a:gd name="connsiteX167" fmla="*/ 171973 w 193621"/>
                  <a:gd name="connsiteY167" fmla="*/ 125703 h 134288"/>
                  <a:gd name="connsiteX168" fmla="*/ 171973 w 193621"/>
                  <a:gd name="connsiteY168" fmla="*/ 125703 h 134288"/>
                  <a:gd name="connsiteX169" fmla="*/ 174708 w 193621"/>
                  <a:gd name="connsiteY169" fmla="*/ 124640 h 134288"/>
                  <a:gd name="connsiteX170" fmla="*/ 174708 w 193621"/>
                  <a:gd name="connsiteY170" fmla="*/ 124640 h 134288"/>
                  <a:gd name="connsiteX171" fmla="*/ 177281 w 193621"/>
                  <a:gd name="connsiteY171" fmla="*/ 123576 h 134288"/>
                  <a:gd name="connsiteX172" fmla="*/ 177281 w 193621"/>
                  <a:gd name="connsiteY172" fmla="*/ 123576 h 134288"/>
                  <a:gd name="connsiteX173" fmla="*/ 193490 w 193621"/>
                  <a:gd name="connsiteY173" fmla="*/ 116011 h 134288"/>
                  <a:gd name="connsiteX174" fmla="*/ 193490 w 193621"/>
                  <a:gd name="connsiteY174" fmla="*/ 107341 h 134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</a:cxnLst>
                <a:rect l="l" t="t" r="r" b="b"/>
                <a:pathLst>
                  <a:path w="193621" h="134288">
                    <a:moveTo>
                      <a:pt x="193490" y="107423"/>
                    </a:moveTo>
                    <a:cubicBezTo>
                      <a:pt x="193490" y="107219"/>
                      <a:pt x="193490" y="106932"/>
                      <a:pt x="193490" y="106728"/>
                    </a:cubicBezTo>
                    <a:cubicBezTo>
                      <a:pt x="193490" y="106523"/>
                      <a:pt x="193490" y="105092"/>
                      <a:pt x="193490" y="104233"/>
                    </a:cubicBezTo>
                    <a:cubicBezTo>
                      <a:pt x="193468" y="103811"/>
                      <a:pt x="193468" y="103388"/>
                      <a:pt x="193490" y="102965"/>
                    </a:cubicBezTo>
                    <a:cubicBezTo>
                      <a:pt x="193490" y="101820"/>
                      <a:pt x="193286" y="100594"/>
                      <a:pt x="193163" y="99285"/>
                    </a:cubicBezTo>
                    <a:cubicBezTo>
                      <a:pt x="193143" y="98999"/>
                      <a:pt x="193143" y="98712"/>
                      <a:pt x="193163" y="98426"/>
                    </a:cubicBezTo>
                    <a:cubicBezTo>
                      <a:pt x="193163" y="97281"/>
                      <a:pt x="192877" y="96054"/>
                      <a:pt x="192714" y="94827"/>
                    </a:cubicBezTo>
                    <a:cubicBezTo>
                      <a:pt x="192737" y="94446"/>
                      <a:pt x="192737" y="94064"/>
                      <a:pt x="192714" y="93682"/>
                    </a:cubicBezTo>
                    <a:cubicBezTo>
                      <a:pt x="192510" y="92210"/>
                      <a:pt x="192306" y="90656"/>
                      <a:pt x="192020" y="89061"/>
                    </a:cubicBezTo>
                    <a:cubicBezTo>
                      <a:pt x="192039" y="88721"/>
                      <a:pt x="192039" y="88379"/>
                      <a:pt x="192020" y="88039"/>
                    </a:cubicBezTo>
                    <a:cubicBezTo>
                      <a:pt x="191775" y="86621"/>
                      <a:pt x="191489" y="85149"/>
                      <a:pt x="191163" y="83622"/>
                    </a:cubicBezTo>
                    <a:cubicBezTo>
                      <a:pt x="191163" y="83336"/>
                      <a:pt x="191163" y="83009"/>
                      <a:pt x="191163" y="82722"/>
                    </a:cubicBezTo>
                    <a:cubicBezTo>
                      <a:pt x="190754" y="81005"/>
                      <a:pt x="190346" y="79246"/>
                      <a:pt x="189897" y="77488"/>
                    </a:cubicBezTo>
                    <a:cubicBezTo>
                      <a:pt x="189897" y="77079"/>
                      <a:pt x="189652" y="76670"/>
                      <a:pt x="189570" y="76302"/>
                    </a:cubicBezTo>
                    <a:cubicBezTo>
                      <a:pt x="189080" y="74543"/>
                      <a:pt x="188590" y="72826"/>
                      <a:pt x="188019" y="71067"/>
                    </a:cubicBezTo>
                    <a:lnTo>
                      <a:pt x="188019" y="70658"/>
                    </a:lnTo>
                    <a:cubicBezTo>
                      <a:pt x="187447" y="68818"/>
                      <a:pt x="186753" y="66937"/>
                      <a:pt x="186059" y="65056"/>
                    </a:cubicBezTo>
                    <a:lnTo>
                      <a:pt x="185569" y="63788"/>
                    </a:lnTo>
                    <a:cubicBezTo>
                      <a:pt x="184834" y="61907"/>
                      <a:pt x="184058" y="59985"/>
                      <a:pt x="183201" y="58063"/>
                    </a:cubicBezTo>
                    <a:lnTo>
                      <a:pt x="183201" y="57695"/>
                    </a:lnTo>
                    <a:cubicBezTo>
                      <a:pt x="182384" y="55895"/>
                      <a:pt x="181486" y="54137"/>
                      <a:pt x="180547" y="52337"/>
                    </a:cubicBezTo>
                    <a:lnTo>
                      <a:pt x="179894" y="51111"/>
                    </a:lnTo>
                    <a:cubicBezTo>
                      <a:pt x="178873" y="49270"/>
                      <a:pt x="177811" y="47430"/>
                      <a:pt x="176627" y="45590"/>
                    </a:cubicBezTo>
                    <a:lnTo>
                      <a:pt x="176097" y="44731"/>
                    </a:lnTo>
                    <a:cubicBezTo>
                      <a:pt x="174994" y="43095"/>
                      <a:pt x="173851" y="41459"/>
                      <a:pt x="172667" y="39865"/>
                    </a:cubicBezTo>
                    <a:lnTo>
                      <a:pt x="171932" y="38842"/>
                    </a:lnTo>
                    <a:cubicBezTo>
                      <a:pt x="170598" y="37070"/>
                      <a:pt x="169237" y="35352"/>
                      <a:pt x="167849" y="33689"/>
                    </a:cubicBezTo>
                    <a:cubicBezTo>
                      <a:pt x="167558" y="33329"/>
                      <a:pt x="167244" y="32988"/>
                      <a:pt x="166910" y="32667"/>
                    </a:cubicBezTo>
                    <a:cubicBezTo>
                      <a:pt x="165481" y="31113"/>
                      <a:pt x="164011" y="29600"/>
                      <a:pt x="162419" y="28128"/>
                    </a:cubicBezTo>
                    <a:lnTo>
                      <a:pt x="161806" y="27514"/>
                    </a:lnTo>
                    <a:cubicBezTo>
                      <a:pt x="160051" y="25919"/>
                      <a:pt x="158213" y="24406"/>
                      <a:pt x="156335" y="22934"/>
                    </a:cubicBezTo>
                    <a:lnTo>
                      <a:pt x="154988" y="21953"/>
                    </a:lnTo>
                    <a:cubicBezTo>
                      <a:pt x="152987" y="20480"/>
                      <a:pt x="150905" y="19008"/>
                      <a:pt x="148741" y="17659"/>
                    </a:cubicBezTo>
                    <a:cubicBezTo>
                      <a:pt x="147312" y="16800"/>
                      <a:pt x="145801" y="15941"/>
                      <a:pt x="144290" y="15123"/>
                    </a:cubicBezTo>
                    <a:lnTo>
                      <a:pt x="142780" y="14346"/>
                    </a:lnTo>
                    <a:lnTo>
                      <a:pt x="139595" y="12833"/>
                    </a:lnTo>
                    <a:lnTo>
                      <a:pt x="137799" y="12015"/>
                    </a:lnTo>
                    <a:lnTo>
                      <a:pt x="134614" y="10666"/>
                    </a:lnTo>
                    <a:cubicBezTo>
                      <a:pt x="134001" y="10461"/>
                      <a:pt x="133430" y="10175"/>
                      <a:pt x="132777" y="9970"/>
                    </a:cubicBezTo>
                    <a:lnTo>
                      <a:pt x="129143" y="8662"/>
                    </a:lnTo>
                    <a:lnTo>
                      <a:pt x="127714" y="8130"/>
                    </a:lnTo>
                    <a:lnTo>
                      <a:pt x="122569" y="6576"/>
                    </a:lnTo>
                    <a:lnTo>
                      <a:pt x="121018" y="6167"/>
                    </a:lnTo>
                    <a:lnTo>
                      <a:pt x="115914" y="5186"/>
                    </a:lnTo>
                    <a:lnTo>
                      <a:pt x="113791" y="4695"/>
                    </a:lnTo>
                    <a:lnTo>
                      <a:pt x="110402" y="3959"/>
                    </a:lnTo>
                    <a:lnTo>
                      <a:pt x="108197" y="3509"/>
                    </a:lnTo>
                    <a:lnTo>
                      <a:pt x="104686" y="2855"/>
                    </a:lnTo>
                    <a:lnTo>
                      <a:pt x="102604" y="2487"/>
                    </a:lnTo>
                    <a:lnTo>
                      <a:pt x="98072" y="1791"/>
                    </a:lnTo>
                    <a:lnTo>
                      <a:pt x="96683" y="1587"/>
                    </a:lnTo>
                    <a:lnTo>
                      <a:pt x="91539" y="933"/>
                    </a:lnTo>
                    <a:lnTo>
                      <a:pt x="89375" y="728"/>
                    </a:lnTo>
                    <a:lnTo>
                      <a:pt x="85864" y="401"/>
                    </a:lnTo>
                    <a:lnTo>
                      <a:pt x="83536" y="196"/>
                    </a:lnTo>
                    <a:lnTo>
                      <a:pt x="80148" y="-49"/>
                    </a:lnTo>
                    <a:lnTo>
                      <a:pt x="77820" y="-49"/>
                    </a:lnTo>
                    <a:lnTo>
                      <a:pt x="74146" y="-49"/>
                    </a:lnTo>
                    <a:lnTo>
                      <a:pt x="72267" y="-49"/>
                    </a:lnTo>
                    <a:lnTo>
                      <a:pt x="66919" y="-49"/>
                    </a:lnTo>
                    <a:lnTo>
                      <a:pt x="53853" y="-49"/>
                    </a:lnTo>
                    <a:lnTo>
                      <a:pt x="50669" y="-49"/>
                    </a:lnTo>
                    <a:lnTo>
                      <a:pt x="48668" y="-49"/>
                    </a:lnTo>
                    <a:lnTo>
                      <a:pt x="44585" y="-49"/>
                    </a:lnTo>
                    <a:lnTo>
                      <a:pt x="43524" y="-49"/>
                    </a:lnTo>
                    <a:lnTo>
                      <a:pt x="38787" y="196"/>
                    </a:lnTo>
                    <a:lnTo>
                      <a:pt x="36950" y="196"/>
                    </a:lnTo>
                    <a:lnTo>
                      <a:pt x="34092" y="196"/>
                    </a:lnTo>
                    <a:lnTo>
                      <a:pt x="32173" y="196"/>
                    </a:lnTo>
                    <a:lnTo>
                      <a:pt x="29601" y="401"/>
                    </a:lnTo>
                    <a:lnTo>
                      <a:pt x="27763" y="401"/>
                    </a:lnTo>
                    <a:lnTo>
                      <a:pt x="25273" y="605"/>
                    </a:lnTo>
                    <a:lnTo>
                      <a:pt x="23599" y="605"/>
                    </a:lnTo>
                    <a:lnTo>
                      <a:pt x="19965" y="973"/>
                    </a:lnTo>
                    <a:lnTo>
                      <a:pt x="18414" y="973"/>
                    </a:lnTo>
                    <a:lnTo>
                      <a:pt x="16413" y="1178"/>
                    </a:lnTo>
                    <a:lnTo>
                      <a:pt x="14657" y="1178"/>
                    </a:lnTo>
                    <a:lnTo>
                      <a:pt x="13228" y="1178"/>
                    </a:lnTo>
                    <a:lnTo>
                      <a:pt x="11432" y="1423"/>
                    </a:lnTo>
                    <a:lnTo>
                      <a:pt x="10452" y="1423"/>
                    </a:lnTo>
                    <a:lnTo>
                      <a:pt x="8614" y="1669"/>
                    </a:lnTo>
                    <a:lnTo>
                      <a:pt x="8614" y="1669"/>
                    </a:lnTo>
                    <a:cubicBezTo>
                      <a:pt x="3143" y="2405"/>
                      <a:pt x="-41" y="2936"/>
                      <a:pt x="-41" y="2936"/>
                    </a:cubicBezTo>
                    <a:lnTo>
                      <a:pt x="1551" y="7026"/>
                    </a:lnTo>
                    <a:lnTo>
                      <a:pt x="1551" y="7026"/>
                    </a:lnTo>
                    <a:lnTo>
                      <a:pt x="3347" y="11443"/>
                    </a:lnTo>
                    <a:cubicBezTo>
                      <a:pt x="3439" y="11709"/>
                      <a:pt x="3548" y="11968"/>
                      <a:pt x="3674" y="12220"/>
                    </a:cubicBezTo>
                    <a:lnTo>
                      <a:pt x="4450" y="14060"/>
                    </a:lnTo>
                    <a:cubicBezTo>
                      <a:pt x="4450" y="14469"/>
                      <a:pt x="4776" y="14919"/>
                      <a:pt x="4981" y="15328"/>
                    </a:cubicBezTo>
                    <a:cubicBezTo>
                      <a:pt x="5185" y="15737"/>
                      <a:pt x="5430" y="16432"/>
                      <a:pt x="5716" y="17045"/>
                    </a:cubicBezTo>
                    <a:cubicBezTo>
                      <a:pt x="6001" y="17659"/>
                      <a:pt x="6124" y="18068"/>
                      <a:pt x="6369" y="18599"/>
                    </a:cubicBezTo>
                    <a:lnTo>
                      <a:pt x="7104" y="20235"/>
                    </a:lnTo>
                    <a:cubicBezTo>
                      <a:pt x="7349" y="20848"/>
                      <a:pt x="7635" y="21421"/>
                      <a:pt x="7920" y="22034"/>
                    </a:cubicBezTo>
                    <a:lnTo>
                      <a:pt x="8696" y="23793"/>
                    </a:lnTo>
                    <a:lnTo>
                      <a:pt x="9554" y="25715"/>
                    </a:lnTo>
                    <a:lnTo>
                      <a:pt x="10411" y="27514"/>
                    </a:lnTo>
                    <a:cubicBezTo>
                      <a:pt x="10942" y="28700"/>
                      <a:pt x="11513" y="29886"/>
                      <a:pt x="12085" y="31113"/>
                    </a:cubicBezTo>
                    <a:cubicBezTo>
                      <a:pt x="12657" y="32340"/>
                      <a:pt x="12820" y="32626"/>
                      <a:pt x="13187" y="33444"/>
                    </a:cubicBezTo>
                    <a:cubicBezTo>
                      <a:pt x="13555" y="34262"/>
                      <a:pt x="13881" y="34834"/>
                      <a:pt x="14249" y="35530"/>
                    </a:cubicBezTo>
                    <a:cubicBezTo>
                      <a:pt x="14616" y="36225"/>
                      <a:pt x="14902" y="36961"/>
                      <a:pt x="15270" y="37656"/>
                    </a:cubicBezTo>
                    <a:lnTo>
                      <a:pt x="16372" y="39865"/>
                    </a:lnTo>
                    <a:cubicBezTo>
                      <a:pt x="16780" y="40601"/>
                      <a:pt x="17148" y="41337"/>
                      <a:pt x="17515" y="42073"/>
                    </a:cubicBezTo>
                    <a:lnTo>
                      <a:pt x="18699" y="44322"/>
                    </a:lnTo>
                    <a:cubicBezTo>
                      <a:pt x="19067" y="45099"/>
                      <a:pt x="19475" y="45876"/>
                      <a:pt x="19883" y="46653"/>
                    </a:cubicBezTo>
                    <a:lnTo>
                      <a:pt x="21108" y="48902"/>
                    </a:lnTo>
                    <a:cubicBezTo>
                      <a:pt x="21557" y="49720"/>
                      <a:pt x="22007" y="50497"/>
                      <a:pt x="22415" y="51315"/>
                    </a:cubicBezTo>
                    <a:cubicBezTo>
                      <a:pt x="22823" y="52133"/>
                      <a:pt x="23272" y="52828"/>
                      <a:pt x="23681" y="53564"/>
                    </a:cubicBezTo>
                    <a:lnTo>
                      <a:pt x="25150" y="56141"/>
                    </a:lnTo>
                    <a:cubicBezTo>
                      <a:pt x="25559" y="56877"/>
                      <a:pt x="25967" y="57613"/>
                      <a:pt x="26416" y="58349"/>
                    </a:cubicBezTo>
                    <a:lnTo>
                      <a:pt x="28172" y="61375"/>
                    </a:lnTo>
                    <a:lnTo>
                      <a:pt x="29233" y="63134"/>
                    </a:lnTo>
                    <a:cubicBezTo>
                      <a:pt x="30172" y="64688"/>
                      <a:pt x="31111" y="66242"/>
                      <a:pt x="32091" y="67796"/>
                    </a:cubicBezTo>
                    <a:lnTo>
                      <a:pt x="33316" y="69677"/>
                    </a:lnTo>
                    <a:cubicBezTo>
                      <a:pt x="33929" y="70658"/>
                      <a:pt x="34541" y="71640"/>
                      <a:pt x="35194" y="72580"/>
                    </a:cubicBezTo>
                    <a:cubicBezTo>
                      <a:pt x="35848" y="73521"/>
                      <a:pt x="36133" y="74012"/>
                      <a:pt x="36583" y="74707"/>
                    </a:cubicBezTo>
                    <a:lnTo>
                      <a:pt x="38420" y="77406"/>
                    </a:lnTo>
                    <a:lnTo>
                      <a:pt x="39890" y="79533"/>
                    </a:lnTo>
                    <a:cubicBezTo>
                      <a:pt x="40502" y="80432"/>
                      <a:pt x="41155" y="81291"/>
                      <a:pt x="41809" y="82191"/>
                    </a:cubicBezTo>
                    <a:lnTo>
                      <a:pt x="43319" y="84276"/>
                    </a:lnTo>
                    <a:lnTo>
                      <a:pt x="45320" y="86935"/>
                    </a:lnTo>
                    <a:lnTo>
                      <a:pt x="46831" y="88938"/>
                    </a:lnTo>
                    <a:lnTo>
                      <a:pt x="49036" y="91678"/>
                    </a:lnTo>
                    <a:lnTo>
                      <a:pt x="50465" y="93437"/>
                    </a:lnTo>
                    <a:lnTo>
                      <a:pt x="53445" y="96954"/>
                    </a:lnTo>
                    <a:cubicBezTo>
                      <a:pt x="53690" y="97240"/>
                      <a:pt x="53935" y="97567"/>
                      <a:pt x="54221" y="97854"/>
                    </a:cubicBezTo>
                    <a:cubicBezTo>
                      <a:pt x="55446" y="99271"/>
                      <a:pt x="56711" y="100634"/>
                      <a:pt x="58018" y="101943"/>
                    </a:cubicBezTo>
                    <a:lnTo>
                      <a:pt x="59447" y="103415"/>
                    </a:lnTo>
                    <a:lnTo>
                      <a:pt x="61978" y="105992"/>
                    </a:lnTo>
                    <a:lnTo>
                      <a:pt x="63652" y="107587"/>
                    </a:lnTo>
                    <a:cubicBezTo>
                      <a:pt x="64428" y="108364"/>
                      <a:pt x="65245" y="109100"/>
                      <a:pt x="66061" y="109836"/>
                    </a:cubicBezTo>
                    <a:lnTo>
                      <a:pt x="67817" y="111431"/>
                    </a:lnTo>
                    <a:lnTo>
                      <a:pt x="70267" y="113475"/>
                    </a:lnTo>
                    <a:lnTo>
                      <a:pt x="72063" y="114948"/>
                    </a:lnTo>
                    <a:cubicBezTo>
                      <a:pt x="72907" y="115657"/>
                      <a:pt x="73765" y="116311"/>
                      <a:pt x="74636" y="116911"/>
                    </a:cubicBezTo>
                    <a:lnTo>
                      <a:pt x="76391" y="118219"/>
                    </a:lnTo>
                    <a:lnTo>
                      <a:pt x="79290" y="120182"/>
                    </a:lnTo>
                    <a:lnTo>
                      <a:pt x="80842" y="121205"/>
                    </a:lnTo>
                    <a:cubicBezTo>
                      <a:pt x="82311" y="122145"/>
                      <a:pt x="83822" y="123045"/>
                      <a:pt x="85333" y="123863"/>
                    </a:cubicBezTo>
                    <a:cubicBezTo>
                      <a:pt x="86844" y="124681"/>
                      <a:pt x="88395" y="125458"/>
                      <a:pt x="89947" y="126194"/>
                    </a:cubicBezTo>
                    <a:lnTo>
                      <a:pt x="91743" y="126971"/>
                    </a:lnTo>
                    <a:lnTo>
                      <a:pt x="94560" y="128157"/>
                    </a:lnTo>
                    <a:lnTo>
                      <a:pt x="96683" y="128975"/>
                    </a:lnTo>
                    <a:lnTo>
                      <a:pt x="99174" y="129874"/>
                    </a:lnTo>
                    <a:lnTo>
                      <a:pt x="101460" y="130570"/>
                    </a:lnTo>
                    <a:lnTo>
                      <a:pt x="103747" y="131265"/>
                    </a:lnTo>
                    <a:lnTo>
                      <a:pt x="106115" y="131878"/>
                    </a:lnTo>
                    <a:lnTo>
                      <a:pt x="108361" y="132369"/>
                    </a:lnTo>
                    <a:lnTo>
                      <a:pt x="110770" y="132860"/>
                    </a:lnTo>
                    <a:lnTo>
                      <a:pt x="112893" y="133228"/>
                    </a:lnTo>
                    <a:lnTo>
                      <a:pt x="115383" y="133596"/>
                    </a:lnTo>
                    <a:lnTo>
                      <a:pt x="117302" y="133800"/>
                    </a:lnTo>
                    <a:lnTo>
                      <a:pt x="119915" y="134087"/>
                    </a:lnTo>
                    <a:lnTo>
                      <a:pt x="121549" y="134087"/>
                    </a:lnTo>
                    <a:cubicBezTo>
                      <a:pt x="124975" y="134291"/>
                      <a:pt x="128411" y="134291"/>
                      <a:pt x="131838" y="134087"/>
                    </a:cubicBezTo>
                    <a:lnTo>
                      <a:pt x="132777" y="134087"/>
                    </a:lnTo>
                    <a:lnTo>
                      <a:pt x="135757" y="133882"/>
                    </a:lnTo>
                    <a:lnTo>
                      <a:pt x="137023" y="133882"/>
                    </a:lnTo>
                    <a:lnTo>
                      <a:pt x="139840" y="133596"/>
                    </a:lnTo>
                    <a:lnTo>
                      <a:pt x="141187" y="133596"/>
                    </a:lnTo>
                    <a:lnTo>
                      <a:pt x="143923" y="133228"/>
                    </a:lnTo>
                    <a:lnTo>
                      <a:pt x="145230" y="133023"/>
                    </a:lnTo>
                    <a:lnTo>
                      <a:pt x="147965" y="132532"/>
                    </a:lnTo>
                    <a:lnTo>
                      <a:pt x="149108" y="132287"/>
                    </a:lnTo>
                    <a:lnTo>
                      <a:pt x="151885" y="131715"/>
                    </a:lnTo>
                    <a:lnTo>
                      <a:pt x="152783" y="131510"/>
                    </a:lnTo>
                    <a:lnTo>
                      <a:pt x="155723" y="130815"/>
                    </a:lnTo>
                    <a:lnTo>
                      <a:pt x="156090" y="130815"/>
                    </a:lnTo>
                    <a:cubicBezTo>
                      <a:pt x="161483" y="129435"/>
                      <a:pt x="166787" y="127728"/>
                      <a:pt x="171973" y="125703"/>
                    </a:cubicBezTo>
                    <a:lnTo>
                      <a:pt x="171973" y="125703"/>
                    </a:lnTo>
                    <a:lnTo>
                      <a:pt x="174708" y="124640"/>
                    </a:lnTo>
                    <a:lnTo>
                      <a:pt x="174708" y="124640"/>
                    </a:lnTo>
                    <a:lnTo>
                      <a:pt x="177281" y="123576"/>
                    </a:lnTo>
                    <a:lnTo>
                      <a:pt x="177281" y="123576"/>
                    </a:lnTo>
                    <a:cubicBezTo>
                      <a:pt x="182866" y="121466"/>
                      <a:pt x="188284" y="118937"/>
                      <a:pt x="193490" y="116011"/>
                    </a:cubicBezTo>
                    <a:cubicBezTo>
                      <a:pt x="193490" y="116011"/>
                      <a:pt x="193694" y="112739"/>
                      <a:pt x="193490" y="107341"/>
                    </a:cubicBezTo>
                    <a:close/>
                  </a:path>
                </a:pathLst>
              </a:custGeom>
              <a:grpFill/>
              <a:ln w="40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3" name="Freihandform: Form 202">
                <a:extLst>
                  <a:ext uri="{FF2B5EF4-FFF2-40B4-BE49-F238E27FC236}">
                    <a16:creationId xmlns:a16="http://schemas.microsoft.com/office/drawing/2014/main" id="{8AE4190E-8DA2-4E78-B4CC-6DF61C9D1008}"/>
                  </a:ext>
                </a:extLst>
              </p:cNvPr>
              <p:cNvSpPr/>
              <p:nvPr/>
            </p:nvSpPr>
            <p:spPr>
              <a:xfrm>
                <a:off x="1046355" y="2881763"/>
                <a:ext cx="199328" cy="236045"/>
              </a:xfrm>
              <a:custGeom>
                <a:avLst/>
                <a:gdLst>
                  <a:gd name="connsiteX0" fmla="*/ 145270 w 199328"/>
                  <a:gd name="connsiteY0" fmla="*/ 98426 h 236045"/>
                  <a:gd name="connsiteX1" fmla="*/ 145556 w 199328"/>
                  <a:gd name="connsiteY1" fmla="*/ 98058 h 236045"/>
                  <a:gd name="connsiteX2" fmla="*/ 149027 w 199328"/>
                  <a:gd name="connsiteY2" fmla="*/ 93969 h 236045"/>
                  <a:gd name="connsiteX3" fmla="*/ 150170 w 199328"/>
                  <a:gd name="connsiteY3" fmla="*/ 92537 h 236045"/>
                  <a:gd name="connsiteX4" fmla="*/ 152660 w 199328"/>
                  <a:gd name="connsiteY4" fmla="*/ 89388 h 236045"/>
                  <a:gd name="connsiteX5" fmla="*/ 153967 w 199328"/>
                  <a:gd name="connsiteY5" fmla="*/ 87712 h 236045"/>
                  <a:gd name="connsiteX6" fmla="*/ 156213 w 199328"/>
                  <a:gd name="connsiteY6" fmla="*/ 84685 h 236045"/>
                  <a:gd name="connsiteX7" fmla="*/ 157519 w 199328"/>
                  <a:gd name="connsiteY7" fmla="*/ 82968 h 236045"/>
                  <a:gd name="connsiteX8" fmla="*/ 159724 w 199328"/>
                  <a:gd name="connsiteY8" fmla="*/ 79860 h 236045"/>
                  <a:gd name="connsiteX9" fmla="*/ 160867 w 199328"/>
                  <a:gd name="connsiteY9" fmla="*/ 78183 h 236045"/>
                  <a:gd name="connsiteX10" fmla="*/ 163154 w 199328"/>
                  <a:gd name="connsiteY10" fmla="*/ 74789 h 236045"/>
                  <a:gd name="connsiteX11" fmla="*/ 164093 w 199328"/>
                  <a:gd name="connsiteY11" fmla="*/ 73398 h 236045"/>
                  <a:gd name="connsiteX12" fmla="*/ 166787 w 199328"/>
                  <a:gd name="connsiteY12" fmla="*/ 69309 h 236045"/>
                  <a:gd name="connsiteX13" fmla="*/ 167196 w 199328"/>
                  <a:gd name="connsiteY13" fmla="*/ 68695 h 236045"/>
                  <a:gd name="connsiteX14" fmla="*/ 173239 w 199328"/>
                  <a:gd name="connsiteY14" fmla="*/ 58717 h 236045"/>
                  <a:gd name="connsiteX15" fmla="*/ 173606 w 199328"/>
                  <a:gd name="connsiteY15" fmla="*/ 58022 h 236045"/>
                  <a:gd name="connsiteX16" fmla="*/ 175974 w 199328"/>
                  <a:gd name="connsiteY16" fmla="*/ 53932 h 236045"/>
                  <a:gd name="connsiteX17" fmla="*/ 176546 w 199328"/>
                  <a:gd name="connsiteY17" fmla="*/ 52910 h 236045"/>
                  <a:gd name="connsiteX18" fmla="*/ 178628 w 199328"/>
                  <a:gd name="connsiteY18" fmla="*/ 49066 h 236045"/>
                  <a:gd name="connsiteX19" fmla="*/ 179159 w 199328"/>
                  <a:gd name="connsiteY19" fmla="*/ 48125 h 236045"/>
                  <a:gd name="connsiteX20" fmla="*/ 181200 w 199328"/>
                  <a:gd name="connsiteY20" fmla="*/ 44036 h 236045"/>
                  <a:gd name="connsiteX21" fmla="*/ 181609 w 199328"/>
                  <a:gd name="connsiteY21" fmla="*/ 43218 h 236045"/>
                  <a:gd name="connsiteX22" fmla="*/ 183732 w 199328"/>
                  <a:gd name="connsiteY22" fmla="*/ 39128 h 236045"/>
                  <a:gd name="connsiteX23" fmla="*/ 183732 w 199328"/>
                  <a:gd name="connsiteY23" fmla="*/ 38842 h 236045"/>
                  <a:gd name="connsiteX24" fmla="*/ 197695 w 199328"/>
                  <a:gd name="connsiteY24" fmla="*/ 7680 h 236045"/>
                  <a:gd name="connsiteX25" fmla="*/ 197695 w 199328"/>
                  <a:gd name="connsiteY25" fmla="*/ 7680 h 236045"/>
                  <a:gd name="connsiteX26" fmla="*/ 199288 w 199328"/>
                  <a:gd name="connsiteY26" fmla="*/ 3591 h 236045"/>
                  <a:gd name="connsiteX27" fmla="*/ 188590 w 199328"/>
                  <a:gd name="connsiteY27" fmla="*/ 2037 h 236045"/>
                  <a:gd name="connsiteX28" fmla="*/ 187896 w 199328"/>
                  <a:gd name="connsiteY28" fmla="*/ 2037 h 236045"/>
                  <a:gd name="connsiteX29" fmla="*/ 185896 w 199328"/>
                  <a:gd name="connsiteY29" fmla="*/ 1791 h 236045"/>
                  <a:gd name="connsiteX30" fmla="*/ 184671 w 199328"/>
                  <a:gd name="connsiteY30" fmla="*/ 1791 h 236045"/>
                  <a:gd name="connsiteX31" fmla="*/ 182752 w 199328"/>
                  <a:gd name="connsiteY31" fmla="*/ 1791 h 236045"/>
                  <a:gd name="connsiteX32" fmla="*/ 180955 w 199328"/>
                  <a:gd name="connsiteY32" fmla="*/ 1587 h 236045"/>
                  <a:gd name="connsiteX33" fmla="*/ 179240 w 199328"/>
                  <a:gd name="connsiteY33" fmla="*/ 1587 h 236045"/>
                  <a:gd name="connsiteX34" fmla="*/ 175647 w 199328"/>
                  <a:gd name="connsiteY34" fmla="*/ 605 h 236045"/>
                  <a:gd name="connsiteX35" fmla="*/ 173933 w 199328"/>
                  <a:gd name="connsiteY35" fmla="*/ 605 h 236045"/>
                  <a:gd name="connsiteX36" fmla="*/ 171442 w 199328"/>
                  <a:gd name="connsiteY36" fmla="*/ 401 h 236045"/>
                  <a:gd name="connsiteX37" fmla="*/ 169646 w 199328"/>
                  <a:gd name="connsiteY37" fmla="*/ 401 h 236045"/>
                  <a:gd name="connsiteX38" fmla="*/ 167032 w 199328"/>
                  <a:gd name="connsiteY38" fmla="*/ 196 h 236045"/>
                  <a:gd name="connsiteX39" fmla="*/ 165113 w 199328"/>
                  <a:gd name="connsiteY39" fmla="*/ 196 h 236045"/>
                  <a:gd name="connsiteX40" fmla="*/ 162255 w 199328"/>
                  <a:gd name="connsiteY40" fmla="*/ 196 h 236045"/>
                  <a:gd name="connsiteX41" fmla="*/ 160459 w 199328"/>
                  <a:gd name="connsiteY41" fmla="*/ 196 h 236045"/>
                  <a:gd name="connsiteX42" fmla="*/ 155723 w 199328"/>
                  <a:gd name="connsiteY42" fmla="*/ -49 h 236045"/>
                  <a:gd name="connsiteX43" fmla="*/ 154702 w 199328"/>
                  <a:gd name="connsiteY43" fmla="*/ -49 h 236045"/>
                  <a:gd name="connsiteX44" fmla="*/ 150619 w 199328"/>
                  <a:gd name="connsiteY44" fmla="*/ -49 h 236045"/>
                  <a:gd name="connsiteX45" fmla="*/ 148659 w 199328"/>
                  <a:gd name="connsiteY45" fmla="*/ -49 h 236045"/>
                  <a:gd name="connsiteX46" fmla="*/ 145475 w 199328"/>
                  <a:gd name="connsiteY46" fmla="*/ -49 h 236045"/>
                  <a:gd name="connsiteX47" fmla="*/ 132368 w 199328"/>
                  <a:gd name="connsiteY47" fmla="*/ -49 h 236045"/>
                  <a:gd name="connsiteX48" fmla="*/ 127061 w 199328"/>
                  <a:gd name="connsiteY48" fmla="*/ -49 h 236045"/>
                  <a:gd name="connsiteX49" fmla="*/ 125101 w 199328"/>
                  <a:gd name="connsiteY49" fmla="*/ -49 h 236045"/>
                  <a:gd name="connsiteX50" fmla="*/ 121467 w 199328"/>
                  <a:gd name="connsiteY50" fmla="*/ -49 h 236045"/>
                  <a:gd name="connsiteX51" fmla="*/ 119140 w 199328"/>
                  <a:gd name="connsiteY51" fmla="*/ -49 h 236045"/>
                  <a:gd name="connsiteX52" fmla="*/ 115832 w 199328"/>
                  <a:gd name="connsiteY52" fmla="*/ 196 h 236045"/>
                  <a:gd name="connsiteX53" fmla="*/ 113423 w 199328"/>
                  <a:gd name="connsiteY53" fmla="*/ 401 h 236045"/>
                  <a:gd name="connsiteX54" fmla="*/ 109994 w 199328"/>
                  <a:gd name="connsiteY54" fmla="*/ 728 h 236045"/>
                  <a:gd name="connsiteX55" fmla="*/ 107748 w 199328"/>
                  <a:gd name="connsiteY55" fmla="*/ 933 h 236045"/>
                  <a:gd name="connsiteX56" fmla="*/ 102930 w 199328"/>
                  <a:gd name="connsiteY56" fmla="*/ 1546 h 236045"/>
                  <a:gd name="connsiteX57" fmla="*/ 101011 w 199328"/>
                  <a:gd name="connsiteY57" fmla="*/ 1832 h 236045"/>
                  <a:gd name="connsiteX58" fmla="*/ 96724 w 199328"/>
                  <a:gd name="connsiteY58" fmla="*/ 2487 h 236045"/>
                  <a:gd name="connsiteX59" fmla="*/ 94560 w 199328"/>
                  <a:gd name="connsiteY59" fmla="*/ 2855 h 236045"/>
                  <a:gd name="connsiteX60" fmla="*/ 91171 w 199328"/>
                  <a:gd name="connsiteY60" fmla="*/ 3468 h 236045"/>
                  <a:gd name="connsiteX61" fmla="*/ 88885 w 199328"/>
                  <a:gd name="connsiteY61" fmla="*/ 3959 h 236045"/>
                  <a:gd name="connsiteX62" fmla="*/ 85578 w 199328"/>
                  <a:gd name="connsiteY62" fmla="*/ 4695 h 236045"/>
                  <a:gd name="connsiteX63" fmla="*/ 83373 w 199328"/>
                  <a:gd name="connsiteY63" fmla="*/ 5186 h 236045"/>
                  <a:gd name="connsiteX64" fmla="*/ 79739 w 199328"/>
                  <a:gd name="connsiteY64" fmla="*/ 6167 h 236045"/>
                  <a:gd name="connsiteX65" fmla="*/ 78024 w 199328"/>
                  <a:gd name="connsiteY65" fmla="*/ 6617 h 236045"/>
                  <a:gd name="connsiteX66" fmla="*/ 72921 w 199328"/>
                  <a:gd name="connsiteY66" fmla="*/ 8171 h 236045"/>
                  <a:gd name="connsiteX67" fmla="*/ 71369 w 199328"/>
                  <a:gd name="connsiteY67" fmla="*/ 8744 h 236045"/>
                  <a:gd name="connsiteX68" fmla="*/ 67858 w 199328"/>
                  <a:gd name="connsiteY68" fmla="*/ 10011 h 236045"/>
                  <a:gd name="connsiteX69" fmla="*/ 65939 w 199328"/>
                  <a:gd name="connsiteY69" fmla="*/ 10747 h 236045"/>
                  <a:gd name="connsiteX70" fmla="*/ 62877 w 199328"/>
                  <a:gd name="connsiteY70" fmla="*/ 12056 h 236045"/>
                  <a:gd name="connsiteX71" fmla="*/ 60999 w 199328"/>
                  <a:gd name="connsiteY71" fmla="*/ 12874 h 236045"/>
                  <a:gd name="connsiteX72" fmla="*/ 57896 w 199328"/>
                  <a:gd name="connsiteY72" fmla="*/ 14387 h 236045"/>
                  <a:gd name="connsiteX73" fmla="*/ 56344 w 199328"/>
                  <a:gd name="connsiteY73" fmla="*/ 15205 h 236045"/>
                  <a:gd name="connsiteX74" fmla="*/ 51894 w 199328"/>
                  <a:gd name="connsiteY74" fmla="*/ 17699 h 236045"/>
                  <a:gd name="connsiteX75" fmla="*/ 45647 w 199328"/>
                  <a:gd name="connsiteY75" fmla="*/ 21993 h 236045"/>
                  <a:gd name="connsiteX76" fmla="*/ 44299 w 199328"/>
                  <a:gd name="connsiteY76" fmla="*/ 22975 h 236045"/>
                  <a:gd name="connsiteX77" fmla="*/ 38828 w 199328"/>
                  <a:gd name="connsiteY77" fmla="*/ 27555 h 236045"/>
                  <a:gd name="connsiteX78" fmla="*/ 38175 w 199328"/>
                  <a:gd name="connsiteY78" fmla="*/ 28169 h 236045"/>
                  <a:gd name="connsiteX79" fmla="*/ 33725 w 199328"/>
                  <a:gd name="connsiteY79" fmla="*/ 32708 h 236045"/>
                  <a:gd name="connsiteX80" fmla="*/ 32745 w 199328"/>
                  <a:gd name="connsiteY80" fmla="*/ 33730 h 236045"/>
                  <a:gd name="connsiteX81" fmla="*/ 28662 w 199328"/>
                  <a:gd name="connsiteY81" fmla="*/ 38883 h 236045"/>
                  <a:gd name="connsiteX82" fmla="*/ 27886 w 199328"/>
                  <a:gd name="connsiteY82" fmla="*/ 39905 h 236045"/>
                  <a:gd name="connsiteX83" fmla="*/ 24538 w 199328"/>
                  <a:gd name="connsiteY83" fmla="*/ 44731 h 236045"/>
                  <a:gd name="connsiteX84" fmla="*/ 23925 w 199328"/>
                  <a:gd name="connsiteY84" fmla="*/ 45631 h 236045"/>
                  <a:gd name="connsiteX85" fmla="*/ 20700 w 199328"/>
                  <a:gd name="connsiteY85" fmla="*/ 51152 h 236045"/>
                  <a:gd name="connsiteX86" fmla="*/ 20006 w 199328"/>
                  <a:gd name="connsiteY86" fmla="*/ 52378 h 236045"/>
                  <a:gd name="connsiteX87" fmla="*/ 17393 w 199328"/>
                  <a:gd name="connsiteY87" fmla="*/ 57695 h 236045"/>
                  <a:gd name="connsiteX88" fmla="*/ 17393 w 199328"/>
                  <a:gd name="connsiteY88" fmla="*/ 58145 h 236045"/>
                  <a:gd name="connsiteX89" fmla="*/ 15025 w 199328"/>
                  <a:gd name="connsiteY89" fmla="*/ 63829 h 236045"/>
                  <a:gd name="connsiteX90" fmla="*/ 14494 w 199328"/>
                  <a:gd name="connsiteY90" fmla="*/ 65097 h 236045"/>
                  <a:gd name="connsiteX91" fmla="*/ 12534 w 199328"/>
                  <a:gd name="connsiteY91" fmla="*/ 70699 h 236045"/>
                  <a:gd name="connsiteX92" fmla="*/ 12534 w 199328"/>
                  <a:gd name="connsiteY92" fmla="*/ 71149 h 236045"/>
                  <a:gd name="connsiteX93" fmla="*/ 11023 w 199328"/>
                  <a:gd name="connsiteY93" fmla="*/ 76343 h 236045"/>
                  <a:gd name="connsiteX94" fmla="*/ 10697 w 199328"/>
                  <a:gd name="connsiteY94" fmla="*/ 77529 h 236045"/>
                  <a:gd name="connsiteX95" fmla="*/ 9431 w 199328"/>
                  <a:gd name="connsiteY95" fmla="*/ 82763 h 236045"/>
                  <a:gd name="connsiteX96" fmla="*/ 9431 w 199328"/>
                  <a:gd name="connsiteY96" fmla="*/ 83663 h 236045"/>
                  <a:gd name="connsiteX97" fmla="*/ 8533 w 199328"/>
                  <a:gd name="connsiteY97" fmla="*/ 88121 h 236045"/>
                  <a:gd name="connsiteX98" fmla="*/ 8533 w 199328"/>
                  <a:gd name="connsiteY98" fmla="*/ 89102 h 236045"/>
                  <a:gd name="connsiteX99" fmla="*/ 7798 w 199328"/>
                  <a:gd name="connsiteY99" fmla="*/ 93764 h 236045"/>
                  <a:gd name="connsiteX100" fmla="*/ 7798 w 199328"/>
                  <a:gd name="connsiteY100" fmla="*/ 94786 h 236045"/>
                  <a:gd name="connsiteX101" fmla="*/ 7349 w 199328"/>
                  <a:gd name="connsiteY101" fmla="*/ 98590 h 236045"/>
                  <a:gd name="connsiteX102" fmla="*/ 7349 w 199328"/>
                  <a:gd name="connsiteY102" fmla="*/ 99285 h 236045"/>
                  <a:gd name="connsiteX103" fmla="*/ 7022 w 199328"/>
                  <a:gd name="connsiteY103" fmla="*/ 103129 h 236045"/>
                  <a:gd name="connsiteX104" fmla="*/ 7022 w 199328"/>
                  <a:gd name="connsiteY104" fmla="*/ 104151 h 236045"/>
                  <a:gd name="connsiteX105" fmla="*/ 7022 w 199328"/>
                  <a:gd name="connsiteY105" fmla="*/ 107014 h 236045"/>
                  <a:gd name="connsiteX106" fmla="*/ 7022 w 199328"/>
                  <a:gd name="connsiteY106" fmla="*/ 106932 h 236045"/>
                  <a:gd name="connsiteX107" fmla="*/ 7022 w 199328"/>
                  <a:gd name="connsiteY107" fmla="*/ 106932 h 236045"/>
                  <a:gd name="connsiteX108" fmla="*/ 7022 w 199328"/>
                  <a:gd name="connsiteY108" fmla="*/ 115602 h 236045"/>
                  <a:gd name="connsiteX109" fmla="*/ -41 w 199328"/>
                  <a:gd name="connsiteY109" fmla="*/ 235997 h 236045"/>
                  <a:gd name="connsiteX110" fmla="*/ 13106 w 199328"/>
                  <a:gd name="connsiteY110" fmla="*/ 235997 h 236045"/>
                  <a:gd name="connsiteX111" fmla="*/ 22537 w 199328"/>
                  <a:gd name="connsiteY111" fmla="*/ 143738 h 236045"/>
                  <a:gd name="connsiteX112" fmla="*/ 66715 w 199328"/>
                  <a:gd name="connsiteY112" fmla="*/ 134904 h 236045"/>
                  <a:gd name="connsiteX113" fmla="*/ 71941 w 199328"/>
                  <a:gd name="connsiteY113" fmla="*/ 134904 h 236045"/>
                  <a:gd name="connsiteX114" fmla="*/ 73084 w 199328"/>
                  <a:gd name="connsiteY114" fmla="*/ 134904 h 236045"/>
                  <a:gd name="connsiteX115" fmla="*/ 77412 w 199328"/>
                  <a:gd name="connsiteY115" fmla="*/ 134904 h 236045"/>
                  <a:gd name="connsiteX116" fmla="*/ 78555 w 199328"/>
                  <a:gd name="connsiteY116" fmla="*/ 134904 h 236045"/>
                  <a:gd name="connsiteX117" fmla="*/ 83904 w 199328"/>
                  <a:gd name="connsiteY117" fmla="*/ 134373 h 236045"/>
                  <a:gd name="connsiteX118" fmla="*/ 84720 w 199328"/>
                  <a:gd name="connsiteY118" fmla="*/ 134373 h 236045"/>
                  <a:gd name="connsiteX119" fmla="*/ 89252 w 199328"/>
                  <a:gd name="connsiteY119" fmla="*/ 133637 h 236045"/>
                  <a:gd name="connsiteX120" fmla="*/ 90804 w 199328"/>
                  <a:gd name="connsiteY120" fmla="*/ 133309 h 236045"/>
                  <a:gd name="connsiteX121" fmla="*/ 95254 w 199328"/>
                  <a:gd name="connsiteY121" fmla="*/ 132246 h 236045"/>
                  <a:gd name="connsiteX122" fmla="*/ 96275 w 199328"/>
                  <a:gd name="connsiteY122" fmla="*/ 132001 h 236045"/>
                  <a:gd name="connsiteX123" fmla="*/ 101624 w 199328"/>
                  <a:gd name="connsiteY123" fmla="*/ 130283 h 236045"/>
                  <a:gd name="connsiteX124" fmla="*/ 103012 w 199328"/>
                  <a:gd name="connsiteY124" fmla="*/ 129793 h 236045"/>
                  <a:gd name="connsiteX125" fmla="*/ 107095 w 199328"/>
                  <a:gd name="connsiteY125" fmla="*/ 128116 h 236045"/>
                  <a:gd name="connsiteX126" fmla="*/ 108646 w 199328"/>
                  <a:gd name="connsiteY126" fmla="*/ 127421 h 236045"/>
                  <a:gd name="connsiteX127" fmla="*/ 114036 w 199328"/>
                  <a:gd name="connsiteY127" fmla="*/ 124762 h 236045"/>
                  <a:gd name="connsiteX128" fmla="*/ 118568 w 199328"/>
                  <a:gd name="connsiteY128" fmla="*/ 122104 h 236045"/>
                  <a:gd name="connsiteX129" fmla="*/ 120079 w 199328"/>
                  <a:gd name="connsiteY129" fmla="*/ 121082 h 236045"/>
                  <a:gd name="connsiteX130" fmla="*/ 122978 w 199328"/>
                  <a:gd name="connsiteY130" fmla="*/ 119119 h 236045"/>
                  <a:gd name="connsiteX131" fmla="*/ 124733 w 199328"/>
                  <a:gd name="connsiteY131" fmla="*/ 117851 h 236045"/>
                  <a:gd name="connsiteX132" fmla="*/ 127305 w 199328"/>
                  <a:gd name="connsiteY132" fmla="*/ 115847 h 236045"/>
                  <a:gd name="connsiteX133" fmla="*/ 129102 w 199328"/>
                  <a:gd name="connsiteY133" fmla="*/ 114416 h 236045"/>
                  <a:gd name="connsiteX134" fmla="*/ 131593 w 199328"/>
                  <a:gd name="connsiteY134" fmla="*/ 112289 h 236045"/>
                  <a:gd name="connsiteX135" fmla="*/ 133307 w 199328"/>
                  <a:gd name="connsiteY135" fmla="*/ 110776 h 236045"/>
                  <a:gd name="connsiteX136" fmla="*/ 135798 w 199328"/>
                  <a:gd name="connsiteY136" fmla="*/ 108445 h 236045"/>
                  <a:gd name="connsiteX137" fmla="*/ 137390 w 199328"/>
                  <a:gd name="connsiteY137" fmla="*/ 106891 h 236045"/>
                  <a:gd name="connsiteX138" fmla="*/ 140085 w 199328"/>
                  <a:gd name="connsiteY138" fmla="*/ 104151 h 236045"/>
                  <a:gd name="connsiteX139" fmla="*/ 141351 w 199328"/>
                  <a:gd name="connsiteY139" fmla="*/ 102843 h 236045"/>
                  <a:gd name="connsiteX140" fmla="*/ 145270 w 199328"/>
                  <a:gd name="connsiteY140" fmla="*/ 98426 h 2360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</a:cxnLst>
                <a:rect l="l" t="t" r="r" b="b"/>
                <a:pathLst>
                  <a:path w="199328" h="236045">
                    <a:moveTo>
                      <a:pt x="145270" y="98426"/>
                    </a:moveTo>
                    <a:lnTo>
                      <a:pt x="145556" y="98058"/>
                    </a:lnTo>
                    <a:cubicBezTo>
                      <a:pt x="146740" y="96749"/>
                      <a:pt x="147883" y="95400"/>
                      <a:pt x="149027" y="93969"/>
                    </a:cubicBezTo>
                    <a:lnTo>
                      <a:pt x="150170" y="92537"/>
                    </a:lnTo>
                    <a:cubicBezTo>
                      <a:pt x="151027" y="91515"/>
                      <a:pt x="151844" y="90452"/>
                      <a:pt x="152660" y="89388"/>
                    </a:cubicBezTo>
                    <a:cubicBezTo>
                      <a:pt x="153477" y="88325"/>
                      <a:pt x="153518" y="88284"/>
                      <a:pt x="153967" y="87712"/>
                    </a:cubicBezTo>
                    <a:cubicBezTo>
                      <a:pt x="154416" y="87139"/>
                      <a:pt x="155478" y="85708"/>
                      <a:pt x="156213" y="84685"/>
                    </a:cubicBezTo>
                    <a:lnTo>
                      <a:pt x="157519" y="82968"/>
                    </a:lnTo>
                    <a:lnTo>
                      <a:pt x="159724" y="79860"/>
                    </a:lnTo>
                    <a:lnTo>
                      <a:pt x="160867" y="78183"/>
                    </a:lnTo>
                    <a:cubicBezTo>
                      <a:pt x="161643" y="77079"/>
                      <a:pt x="162419" y="75934"/>
                      <a:pt x="163154" y="74789"/>
                    </a:cubicBezTo>
                    <a:lnTo>
                      <a:pt x="164093" y="73398"/>
                    </a:lnTo>
                    <a:cubicBezTo>
                      <a:pt x="165032" y="71967"/>
                      <a:pt x="165930" y="70577"/>
                      <a:pt x="166787" y="69309"/>
                    </a:cubicBezTo>
                    <a:lnTo>
                      <a:pt x="167196" y="68695"/>
                    </a:lnTo>
                    <a:cubicBezTo>
                      <a:pt x="169319" y="65342"/>
                      <a:pt x="171279" y="62030"/>
                      <a:pt x="173239" y="58717"/>
                    </a:cubicBezTo>
                    <a:lnTo>
                      <a:pt x="173606" y="58022"/>
                    </a:lnTo>
                    <a:cubicBezTo>
                      <a:pt x="174423" y="56631"/>
                      <a:pt x="175198" y="55241"/>
                      <a:pt x="175974" y="53932"/>
                    </a:cubicBezTo>
                    <a:lnTo>
                      <a:pt x="176546" y="52910"/>
                    </a:lnTo>
                    <a:cubicBezTo>
                      <a:pt x="177281" y="51642"/>
                      <a:pt x="177975" y="50334"/>
                      <a:pt x="178628" y="49066"/>
                    </a:cubicBezTo>
                    <a:lnTo>
                      <a:pt x="179159" y="48125"/>
                    </a:lnTo>
                    <a:lnTo>
                      <a:pt x="181200" y="44036"/>
                    </a:lnTo>
                    <a:lnTo>
                      <a:pt x="181609" y="43218"/>
                    </a:lnTo>
                    <a:cubicBezTo>
                      <a:pt x="182343" y="41828"/>
                      <a:pt x="183038" y="40437"/>
                      <a:pt x="183732" y="39128"/>
                    </a:cubicBezTo>
                    <a:lnTo>
                      <a:pt x="183732" y="38842"/>
                    </a:lnTo>
                    <a:cubicBezTo>
                      <a:pt x="190632" y="25102"/>
                      <a:pt x="195409" y="13569"/>
                      <a:pt x="197695" y="7680"/>
                    </a:cubicBezTo>
                    <a:lnTo>
                      <a:pt x="197695" y="7680"/>
                    </a:lnTo>
                    <a:cubicBezTo>
                      <a:pt x="198757" y="5022"/>
                      <a:pt x="199288" y="3591"/>
                      <a:pt x="199288" y="3591"/>
                    </a:cubicBezTo>
                    <a:cubicBezTo>
                      <a:pt x="199288" y="3591"/>
                      <a:pt x="195205" y="2896"/>
                      <a:pt x="188590" y="2037"/>
                    </a:cubicBezTo>
                    <a:lnTo>
                      <a:pt x="187896" y="2037"/>
                    </a:lnTo>
                    <a:lnTo>
                      <a:pt x="185896" y="1791"/>
                    </a:lnTo>
                    <a:lnTo>
                      <a:pt x="184671" y="1791"/>
                    </a:lnTo>
                    <a:lnTo>
                      <a:pt x="182752" y="1791"/>
                    </a:lnTo>
                    <a:lnTo>
                      <a:pt x="180955" y="1587"/>
                    </a:lnTo>
                    <a:lnTo>
                      <a:pt x="179240" y="1587"/>
                    </a:lnTo>
                    <a:lnTo>
                      <a:pt x="175647" y="605"/>
                    </a:lnTo>
                    <a:lnTo>
                      <a:pt x="173933" y="605"/>
                    </a:lnTo>
                    <a:lnTo>
                      <a:pt x="171442" y="401"/>
                    </a:lnTo>
                    <a:lnTo>
                      <a:pt x="169646" y="401"/>
                    </a:lnTo>
                    <a:lnTo>
                      <a:pt x="167032" y="196"/>
                    </a:lnTo>
                    <a:lnTo>
                      <a:pt x="165113" y="196"/>
                    </a:lnTo>
                    <a:lnTo>
                      <a:pt x="162255" y="196"/>
                    </a:lnTo>
                    <a:lnTo>
                      <a:pt x="160459" y="196"/>
                    </a:lnTo>
                    <a:lnTo>
                      <a:pt x="155723" y="-49"/>
                    </a:lnTo>
                    <a:lnTo>
                      <a:pt x="154702" y="-49"/>
                    </a:lnTo>
                    <a:lnTo>
                      <a:pt x="150619" y="-49"/>
                    </a:lnTo>
                    <a:lnTo>
                      <a:pt x="148659" y="-49"/>
                    </a:lnTo>
                    <a:lnTo>
                      <a:pt x="145475" y="-49"/>
                    </a:lnTo>
                    <a:lnTo>
                      <a:pt x="132368" y="-49"/>
                    </a:lnTo>
                    <a:lnTo>
                      <a:pt x="127061" y="-49"/>
                    </a:lnTo>
                    <a:lnTo>
                      <a:pt x="125101" y="-49"/>
                    </a:lnTo>
                    <a:lnTo>
                      <a:pt x="121467" y="-49"/>
                    </a:lnTo>
                    <a:lnTo>
                      <a:pt x="119140" y="-49"/>
                    </a:lnTo>
                    <a:lnTo>
                      <a:pt x="115832" y="196"/>
                    </a:lnTo>
                    <a:lnTo>
                      <a:pt x="113423" y="401"/>
                    </a:lnTo>
                    <a:lnTo>
                      <a:pt x="109994" y="728"/>
                    </a:lnTo>
                    <a:lnTo>
                      <a:pt x="107748" y="933"/>
                    </a:lnTo>
                    <a:lnTo>
                      <a:pt x="102930" y="1546"/>
                    </a:lnTo>
                    <a:lnTo>
                      <a:pt x="101011" y="1832"/>
                    </a:lnTo>
                    <a:lnTo>
                      <a:pt x="96724" y="2487"/>
                    </a:lnTo>
                    <a:lnTo>
                      <a:pt x="94560" y="2855"/>
                    </a:lnTo>
                    <a:lnTo>
                      <a:pt x="91171" y="3468"/>
                    </a:lnTo>
                    <a:lnTo>
                      <a:pt x="88885" y="3959"/>
                    </a:lnTo>
                    <a:lnTo>
                      <a:pt x="85578" y="4695"/>
                    </a:lnTo>
                    <a:lnTo>
                      <a:pt x="83373" y="5186"/>
                    </a:lnTo>
                    <a:lnTo>
                      <a:pt x="79739" y="6167"/>
                    </a:lnTo>
                    <a:lnTo>
                      <a:pt x="78024" y="6617"/>
                    </a:lnTo>
                    <a:lnTo>
                      <a:pt x="72921" y="8171"/>
                    </a:lnTo>
                    <a:lnTo>
                      <a:pt x="71369" y="8744"/>
                    </a:lnTo>
                    <a:lnTo>
                      <a:pt x="67858" y="10011"/>
                    </a:lnTo>
                    <a:cubicBezTo>
                      <a:pt x="67205" y="10216"/>
                      <a:pt x="66592" y="10502"/>
                      <a:pt x="65939" y="10747"/>
                    </a:cubicBezTo>
                    <a:lnTo>
                      <a:pt x="62877" y="12056"/>
                    </a:lnTo>
                    <a:lnTo>
                      <a:pt x="60999" y="12874"/>
                    </a:lnTo>
                    <a:lnTo>
                      <a:pt x="57896" y="14387"/>
                    </a:lnTo>
                    <a:lnTo>
                      <a:pt x="56344" y="15205"/>
                    </a:lnTo>
                    <a:cubicBezTo>
                      <a:pt x="54792" y="15982"/>
                      <a:pt x="53323" y="16841"/>
                      <a:pt x="51894" y="17699"/>
                    </a:cubicBezTo>
                    <a:cubicBezTo>
                      <a:pt x="49689" y="19049"/>
                      <a:pt x="47607" y="20521"/>
                      <a:pt x="45647" y="21993"/>
                    </a:cubicBezTo>
                    <a:lnTo>
                      <a:pt x="44299" y="22975"/>
                    </a:lnTo>
                    <a:cubicBezTo>
                      <a:pt x="42380" y="24447"/>
                      <a:pt x="40543" y="25960"/>
                      <a:pt x="38828" y="27555"/>
                    </a:cubicBezTo>
                    <a:lnTo>
                      <a:pt x="38175" y="28169"/>
                    </a:lnTo>
                    <a:cubicBezTo>
                      <a:pt x="36623" y="29641"/>
                      <a:pt x="35113" y="31154"/>
                      <a:pt x="33725" y="32708"/>
                    </a:cubicBezTo>
                    <a:lnTo>
                      <a:pt x="32745" y="33730"/>
                    </a:lnTo>
                    <a:cubicBezTo>
                      <a:pt x="31234" y="35407"/>
                      <a:pt x="29846" y="37125"/>
                      <a:pt x="28662" y="38883"/>
                    </a:cubicBezTo>
                    <a:cubicBezTo>
                      <a:pt x="28376" y="39210"/>
                      <a:pt x="28131" y="39578"/>
                      <a:pt x="27886" y="39905"/>
                    </a:cubicBezTo>
                    <a:cubicBezTo>
                      <a:pt x="26702" y="41500"/>
                      <a:pt x="25599" y="43095"/>
                      <a:pt x="24538" y="44731"/>
                    </a:cubicBezTo>
                    <a:lnTo>
                      <a:pt x="23925" y="45631"/>
                    </a:lnTo>
                    <a:cubicBezTo>
                      <a:pt x="22782" y="47471"/>
                      <a:pt x="21721" y="49311"/>
                      <a:pt x="20700" y="51152"/>
                    </a:cubicBezTo>
                    <a:lnTo>
                      <a:pt x="20006" y="52378"/>
                    </a:lnTo>
                    <a:cubicBezTo>
                      <a:pt x="19108" y="54178"/>
                      <a:pt x="18209" y="55936"/>
                      <a:pt x="17393" y="57695"/>
                    </a:cubicBezTo>
                    <a:cubicBezTo>
                      <a:pt x="17378" y="57844"/>
                      <a:pt x="17378" y="57995"/>
                      <a:pt x="17393" y="58145"/>
                    </a:cubicBezTo>
                    <a:cubicBezTo>
                      <a:pt x="16535" y="60026"/>
                      <a:pt x="15760" y="61907"/>
                      <a:pt x="15025" y="63829"/>
                    </a:cubicBezTo>
                    <a:lnTo>
                      <a:pt x="14494" y="65097"/>
                    </a:lnTo>
                    <a:cubicBezTo>
                      <a:pt x="13800" y="66978"/>
                      <a:pt x="13147" y="68859"/>
                      <a:pt x="12534" y="70699"/>
                    </a:cubicBezTo>
                    <a:lnTo>
                      <a:pt x="12534" y="71149"/>
                    </a:lnTo>
                    <a:cubicBezTo>
                      <a:pt x="12003" y="72867"/>
                      <a:pt x="11472" y="74625"/>
                      <a:pt x="11023" y="76343"/>
                    </a:cubicBezTo>
                    <a:cubicBezTo>
                      <a:pt x="11023" y="76711"/>
                      <a:pt x="10819" y="77120"/>
                      <a:pt x="10697" y="77529"/>
                    </a:cubicBezTo>
                    <a:cubicBezTo>
                      <a:pt x="10248" y="79287"/>
                      <a:pt x="9799" y="81046"/>
                      <a:pt x="9431" y="82763"/>
                    </a:cubicBezTo>
                    <a:cubicBezTo>
                      <a:pt x="9408" y="83063"/>
                      <a:pt x="9408" y="83364"/>
                      <a:pt x="9431" y="83663"/>
                    </a:cubicBezTo>
                    <a:cubicBezTo>
                      <a:pt x="9104" y="85176"/>
                      <a:pt x="8819" y="86648"/>
                      <a:pt x="8533" y="88121"/>
                    </a:cubicBezTo>
                    <a:cubicBezTo>
                      <a:pt x="8533" y="88448"/>
                      <a:pt x="8533" y="88775"/>
                      <a:pt x="8533" y="89102"/>
                    </a:cubicBezTo>
                    <a:cubicBezTo>
                      <a:pt x="8261" y="90683"/>
                      <a:pt x="8016" y="92237"/>
                      <a:pt x="7798" y="93764"/>
                    </a:cubicBezTo>
                    <a:lnTo>
                      <a:pt x="7798" y="94786"/>
                    </a:lnTo>
                    <a:cubicBezTo>
                      <a:pt x="7798" y="96095"/>
                      <a:pt x="7471" y="97363"/>
                      <a:pt x="7349" y="98590"/>
                    </a:cubicBezTo>
                    <a:cubicBezTo>
                      <a:pt x="7329" y="98821"/>
                      <a:pt x="7329" y="99054"/>
                      <a:pt x="7349" y="99285"/>
                    </a:cubicBezTo>
                    <a:cubicBezTo>
                      <a:pt x="7349" y="100634"/>
                      <a:pt x="7104" y="101902"/>
                      <a:pt x="7022" y="103129"/>
                    </a:cubicBezTo>
                    <a:cubicBezTo>
                      <a:pt x="7022" y="103456"/>
                      <a:pt x="7022" y="103783"/>
                      <a:pt x="7022" y="104151"/>
                    </a:cubicBezTo>
                    <a:cubicBezTo>
                      <a:pt x="7022" y="105174"/>
                      <a:pt x="7022" y="106114"/>
                      <a:pt x="7022" y="107014"/>
                    </a:cubicBezTo>
                    <a:lnTo>
                      <a:pt x="7022" y="106932"/>
                    </a:lnTo>
                    <a:lnTo>
                      <a:pt x="7022" y="106932"/>
                    </a:lnTo>
                    <a:cubicBezTo>
                      <a:pt x="6777" y="112330"/>
                      <a:pt x="7022" y="115602"/>
                      <a:pt x="7022" y="115602"/>
                    </a:cubicBezTo>
                    <a:lnTo>
                      <a:pt x="-41" y="235997"/>
                    </a:lnTo>
                    <a:lnTo>
                      <a:pt x="13106" y="235997"/>
                    </a:lnTo>
                    <a:cubicBezTo>
                      <a:pt x="13106" y="235997"/>
                      <a:pt x="8533" y="151917"/>
                      <a:pt x="22537" y="143738"/>
                    </a:cubicBezTo>
                    <a:cubicBezTo>
                      <a:pt x="36542" y="135559"/>
                      <a:pt x="66429" y="134904"/>
                      <a:pt x="66715" y="134904"/>
                    </a:cubicBezTo>
                    <a:cubicBezTo>
                      <a:pt x="68430" y="134904"/>
                      <a:pt x="70185" y="134904"/>
                      <a:pt x="71941" y="134904"/>
                    </a:cubicBezTo>
                    <a:lnTo>
                      <a:pt x="73084" y="134904"/>
                    </a:lnTo>
                    <a:lnTo>
                      <a:pt x="77412" y="134904"/>
                    </a:lnTo>
                    <a:lnTo>
                      <a:pt x="78555" y="134904"/>
                    </a:lnTo>
                    <a:cubicBezTo>
                      <a:pt x="80352" y="134904"/>
                      <a:pt x="82107" y="134618"/>
                      <a:pt x="83904" y="134373"/>
                    </a:cubicBezTo>
                    <a:cubicBezTo>
                      <a:pt x="84176" y="134393"/>
                      <a:pt x="84449" y="134393"/>
                      <a:pt x="84720" y="134373"/>
                    </a:cubicBezTo>
                    <a:cubicBezTo>
                      <a:pt x="86245" y="134182"/>
                      <a:pt x="87755" y="133937"/>
                      <a:pt x="89252" y="133637"/>
                    </a:cubicBezTo>
                    <a:lnTo>
                      <a:pt x="90804" y="133309"/>
                    </a:lnTo>
                    <a:cubicBezTo>
                      <a:pt x="92315" y="133023"/>
                      <a:pt x="93785" y="132655"/>
                      <a:pt x="95254" y="132246"/>
                    </a:cubicBezTo>
                    <a:lnTo>
                      <a:pt x="96275" y="132001"/>
                    </a:lnTo>
                    <a:cubicBezTo>
                      <a:pt x="98072" y="131510"/>
                      <a:pt x="99827" y="130938"/>
                      <a:pt x="101624" y="130283"/>
                    </a:cubicBezTo>
                    <a:lnTo>
                      <a:pt x="103012" y="129793"/>
                    </a:lnTo>
                    <a:cubicBezTo>
                      <a:pt x="104359" y="129261"/>
                      <a:pt x="105748" y="128729"/>
                      <a:pt x="107095" y="128116"/>
                    </a:cubicBezTo>
                    <a:lnTo>
                      <a:pt x="108646" y="127421"/>
                    </a:lnTo>
                    <a:cubicBezTo>
                      <a:pt x="110443" y="126603"/>
                      <a:pt x="112239" y="125744"/>
                      <a:pt x="114036" y="124762"/>
                    </a:cubicBezTo>
                    <a:cubicBezTo>
                      <a:pt x="115832" y="123781"/>
                      <a:pt x="117057" y="123045"/>
                      <a:pt x="118568" y="122104"/>
                    </a:cubicBezTo>
                    <a:lnTo>
                      <a:pt x="120079" y="121082"/>
                    </a:lnTo>
                    <a:cubicBezTo>
                      <a:pt x="121059" y="120468"/>
                      <a:pt x="122038" y="119814"/>
                      <a:pt x="122978" y="119119"/>
                    </a:cubicBezTo>
                    <a:lnTo>
                      <a:pt x="124733" y="117851"/>
                    </a:lnTo>
                    <a:lnTo>
                      <a:pt x="127305" y="115847"/>
                    </a:lnTo>
                    <a:lnTo>
                      <a:pt x="129102" y="114416"/>
                    </a:lnTo>
                    <a:lnTo>
                      <a:pt x="131593" y="112289"/>
                    </a:lnTo>
                    <a:lnTo>
                      <a:pt x="133307" y="110776"/>
                    </a:lnTo>
                    <a:lnTo>
                      <a:pt x="135798" y="108445"/>
                    </a:lnTo>
                    <a:lnTo>
                      <a:pt x="137390" y="106891"/>
                    </a:lnTo>
                    <a:lnTo>
                      <a:pt x="140085" y="104151"/>
                    </a:lnTo>
                    <a:cubicBezTo>
                      <a:pt x="140534" y="103742"/>
                      <a:pt x="140942" y="103293"/>
                      <a:pt x="141351" y="102843"/>
                    </a:cubicBezTo>
                    <a:cubicBezTo>
                      <a:pt x="142698" y="101289"/>
                      <a:pt x="144005" y="99857"/>
                      <a:pt x="145270" y="98426"/>
                    </a:cubicBezTo>
                    <a:close/>
                  </a:path>
                </a:pathLst>
              </a:custGeom>
              <a:grpFill/>
              <a:ln w="40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4" name="Freihandform: Form 203">
                <a:extLst>
                  <a:ext uri="{FF2B5EF4-FFF2-40B4-BE49-F238E27FC236}">
                    <a16:creationId xmlns:a16="http://schemas.microsoft.com/office/drawing/2014/main" id="{3BB6D51D-546E-4A59-8F8F-D771E735FFDD}"/>
                  </a:ext>
                </a:extLst>
              </p:cNvPr>
              <p:cNvSpPr/>
              <p:nvPr/>
            </p:nvSpPr>
            <p:spPr>
              <a:xfrm>
                <a:off x="939096" y="2666247"/>
                <a:ext cx="194225" cy="224635"/>
              </a:xfrm>
              <a:custGeom>
                <a:avLst/>
                <a:gdLst>
                  <a:gd name="connsiteX0" fmla="*/ 97051 w 194225"/>
                  <a:gd name="connsiteY0" fmla="*/ 224587 h 224635"/>
                  <a:gd name="connsiteX1" fmla="*/ -41 w 194225"/>
                  <a:gd name="connsiteY1" fmla="*/ 168438 h 224635"/>
                  <a:gd name="connsiteX2" fmla="*/ -41 w 194225"/>
                  <a:gd name="connsiteY2" fmla="*/ 56100 h 224635"/>
                  <a:gd name="connsiteX3" fmla="*/ 97051 w 194225"/>
                  <a:gd name="connsiteY3" fmla="*/ -49 h 224635"/>
                  <a:gd name="connsiteX4" fmla="*/ 194184 w 194225"/>
                  <a:gd name="connsiteY4" fmla="*/ 56100 h 224635"/>
                  <a:gd name="connsiteX5" fmla="*/ 194184 w 194225"/>
                  <a:gd name="connsiteY5" fmla="*/ 168438 h 224635"/>
                  <a:gd name="connsiteX6" fmla="*/ 28417 w 194225"/>
                  <a:gd name="connsiteY6" fmla="*/ 151958 h 224635"/>
                  <a:gd name="connsiteX7" fmla="*/ 97051 w 194225"/>
                  <a:gd name="connsiteY7" fmla="*/ 191626 h 224635"/>
                  <a:gd name="connsiteX8" fmla="*/ 165685 w 194225"/>
                  <a:gd name="connsiteY8" fmla="*/ 151958 h 224635"/>
                  <a:gd name="connsiteX9" fmla="*/ 165685 w 194225"/>
                  <a:gd name="connsiteY9" fmla="*/ 72581 h 224635"/>
                  <a:gd name="connsiteX10" fmla="*/ 97051 w 194225"/>
                  <a:gd name="connsiteY10" fmla="*/ 32912 h 224635"/>
                  <a:gd name="connsiteX11" fmla="*/ 28417 w 194225"/>
                  <a:gd name="connsiteY11" fmla="*/ 72581 h 224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94225" h="224635">
                    <a:moveTo>
                      <a:pt x="97051" y="224587"/>
                    </a:moveTo>
                    <a:lnTo>
                      <a:pt x="-41" y="168438"/>
                    </a:lnTo>
                    <a:lnTo>
                      <a:pt x="-41" y="56100"/>
                    </a:lnTo>
                    <a:lnTo>
                      <a:pt x="97051" y="-49"/>
                    </a:lnTo>
                    <a:lnTo>
                      <a:pt x="194184" y="56100"/>
                    </a:lnTo>
                    <a:lnTo>
                      <a:pt x="194184" y="168438"/>
                    </a:lnTo>
                    <a:close/>
                    <a:moveTo>
                      <a:pt x="28417" y="151958"/>
                    </a:moveTo>
                    <a:lnTo>
                      <a:pt x="97051" y="191626"/>
                    </a:lnTo>
                    <a:lnTo>
                      <a:pt x="165685" y="151958"/>
                    </a:lnTo>
                    <a:lnTo>
                      <a:pt x="165685" y="72581"/>
                    </a:lnTo>
                    <a:lnTo>
                      <a:pt x="97051" y="32912"/>
                    </a:lnTo>
                    <a:lnTo>
                      <a:pt x="28417" y="72581"/>
                    </a:lnTo>
                    <a:close/>
                  </a:path>
                </a:pathLst>
              </a:custGeom>
              <a:grpFill/>
              <a:ln w="40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5" name="Freihandform: Form 204">
                <a:extLst>
                  <a:ext uri="{FF2B5EF4-FFF2-40B4-BE49-F238E27FC236}">
                    <a16:creationId xmlns:a16="http://schemas.microsoft.com/office/drawing/2014/main" id="{D2711BC5-C435-4694-9D6E-D16A1D8CBAC6}"/>
                  </a:ext>
                </a:extLst>
              </p:cNvPr>
              <p:cNvSpPr/>
              <p:nvPr/>
            </p:nvSpPr>
            <p:spPr>
              <a:xfrm>
                <a:off x="1235640" y="2685345"/>
                <a:ext cx="164227" cy="496014"/>
              </a:xfrm>
              <a:custGeom>
                <a:avLst/>
                <a:gdLst>
                  <a:gd name="connsiteX0" fmla="*/ 109545 w 164227"/>
                  <a:gd name="connsiteY0" fmla="*/ -49 h 496014"/>
                  <a:gd name="connsiteX1" fmla="*/ -41 w 164227"/>
                  <a:gd name="connsiteY1" fmla="*/ 495966 h 4960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4227" h="496014">
                    <a:moveTo>
                      <a:pt x="109545" y="-49"/>
                    </a:moveTo>
                    <a:cubicBezTo>
                      <a:pt x="213493" y="167674"/>
                      <a:pt x="164853" y="387831"/>
                      <a:pt x="-41" y="495966"/>
                    </a:cubicBezTo>
                  </a:path>
                </a:pathLst>
              </a:custGeom>
              <a:noFill/>
              <a:ln w="32213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6" name="Freihandform: Form 205">
                <a:extLst>
                  <a:ext uri="{FF2B5EF4-FFF2-40B4-BE49-F238E27FC236}">
                    <a16:creationId xmlns:a16="http://schemas.microsoft.com/office/drawing/2014/main" id="{1ED1532F-23DD-494E-9A64-8F907E31A772}"/>
                  </a:ext>
                </a:extLst>
              </p:cNvPr>
              <p:cNvSpPr/>
              <p:nvPr/>
            </p:nvSpPr>
            <p:spPr>
              <a:xfrm>
                <a:off x="1173661" y="3130772"/>
                <a:ext cx="97214" cy="85511"/>
              </a:xfrm>
              <a:custGeom>
                <a:avLst/>
                <a:gdLst>
                  <a:gd name="connsiteX0" fmla="*/ 50669 w 97214"/>
                  <a:gd name="connsiteY0" fmla="*/ 0 h 85511"/>
                  <a:gd name="connsiteX1" fmla="*/ 0 w 97214"/>
                  <a:gd name="connsiteY1" fmla="*/ 83099 h 85511"/>
                  <a:gd name="connsiteX2" fmla="*/ 97215 w 97214"/>
                  <a:gd name="connsiteY2" fmla="*/ 85511 h 85511"/>
                  <a:gd name="connsiteX3" fmla="*/ 50669 w 97214"/>
                  <a:gd name="connsiteY3" fmla="*/ 0 h 85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214" h="85511">
                    <a:moveTo>
                      <a:pt x="50669" y="0"/>
                    </a:moveTo>
                    <a:lnTo>
                      <a:pt x="0" y="83099"/>
                    </a:lnTo>
                    <a:lnTo>
                      <a:pt x="97215" y="85511"/>
                    </a:lnTo>
                    <a:lnTo>
                      <a:pt x="50669" y="0"/>
                    </a:lnTo>
                    <a:close/>
                  </a:path>
                </a:pathLst>
              </a:custGeom>
              <a:grpFill/>
              <a:ln w="40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7" name="Freihandform: Form 206">
                <a:extLst>
                  <a:ext uri="{FF2B5EF4-FFF2-40B4-BE49-F238E27FC236}">
                    <a16:creationId xmlns:a16="http://schemas.microsoft.com/office/drawing/2014/main" id="{934F725D-7DE0-4996-B1F6-979DE66DFD90}"/>
                  </a:ext>
                </a:extLst>
              </p:cNvPr>
              <p:cNvSpPr/>
              <p:nvPr/>
            </p:nvSpPr>
            <p:spPr>
              <a:xfrm>
                <a:off x="725191" y="2514149"/>
                <a:ext cx="514450" cy="177779"/>
              </a:xfrm>
              <a:custGeom>
                <a:avLst/>
                <a:gdLst>
                  <a:gd name="connsiteX0" fmla="*/ -41 w 514450"/>
                  <a:gd name="connsiteY0" fmla="*/ 177731 h 177779"/>
                  <a:gd name="connsiteX1" fmla="*/ 498106 w 514450"/>
                  <a:gd name="connsiteY1" fmla="*/ 51267 h 177779"/>
                  <a:gd name="connsiteX2" fmla="*/ 514409 w 514450"/>
                  <a:gd name="connsiteY2" fmla="*/ 61589 h 177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14450" h="177779">
                    <a:moveTo>
                      <a:pt x="-41" y="177731"/>
                    </a:moveTo>
                    <a:cubicBezTo>
                      <a:pt x="102652" y="5028"/>
                      <a:pt x="325680" y="-51591"/>
                      <a:pt x="498106" y="51267"/>
                    </a:cubicBezTo>
                    <a:cubicBezTo>
                      <a:pt x="503630" y="54563"/>
                      <a:pt x="509067" y="58004"/>
                      <a:pt x="514409" y="61589"/>
                    </a:cubicBezTo>
                  </a:path>
                </a:pathLst>
              </a:custGeom>
              <a:noFill/>
              <a:ln w="32213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8" name="Freihandform: Form 207">
                <a:extLst>
                  <a:ext uri="{FF2B5EF4-FFF2-40B4-BE49-F238E27FC236}">
                    <a16:creationId xmlns:a16="http://schemas.microsoft.com/office/drawing/2014/main" id="{568DD00E-D503-470E-8191-8165FADF0CD7}"/>
                  </a:ext>
                </a:extLst>
              </p:cNvPr>
              <p:cNvSpPr/>
              <p:nvPr/>
            </p:nvSpPr>
            <p:spPr>
              <a:xfrm>
                <a:off x="1197505" y="2529698"/>
                <a:ext cx="96112" cy="90704"/>
              </a:xfrm>
              <a:custGeom>
                <a:avLst/>
                <a:gdLst>
                  <a:gd name="connsiteX0" fmla="*/ 0 w 96112"/>
                  <a:gd name="connsiteY0" fmla="*/ 76105 h 90704"/>
                  <a:gd name="connsiteX1" fmla="*/ 96112 w 96112"/>
                  <a:gd name="connsiteY1" fmla="*/ 90705 h 90704"/>
                  <a:gd name="connsiteX2" fmla="*/ 60672 w 96112"/>
                  <a:gd name="connsiteY2" fmla="*/ 0 h 90704"/>
                  <a:gd name="connsiteX3" fmla="*/ 0 w 96112"/>
                  <a:gd name="connsiteY3" fmla="*/ 76105 h 907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6112" h="90704">
                    <a:moveTo>
                      <a:pt x="0" y="76105"/>
                    </a:moveTo>
                    <a:lnTo>
                      <a:pt x="96112" y="90705"/>
                    </a:lnTo>
                    <a:lnTo>
                      <a:pt x="60672" y="0"/>
                    </a:lnTo>
                    <a:lnTo>
                      <a:pt x="0" y="76105"/>
                    </a:lnTo>
                    <a:close/>
                  </a:path>
                </a:pathLst>
              </a:custGeom>
              <a:grpFill/>
              <a:ln w="40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9" name="Freihandform: Form 208">
                <a:extLst>
                  <a:ext uri="{FF2B5EF4-FFF2-40B4-BE49-F238E27FC236}">
                    <a16:creationId xmlns:a16="http://schemas.microsoft.com/office/drawing/2014/main" id="{EAF0D861-EDB8-416B-86DB-E9E29ED2D2BC}"/>
                  </a:ext>
                </a:extLst>
              </p:cNvPr>
              <p:cNvSpPr/>
              <p:nvPr/>
            </p:nvSpPr>
            <p:spPr>
              <a:xfrm>
                <a:off x="674548" y="2837433"/>
                <a:ext cx="433989" cy="403136"/>
              </a:xfrm>
              <a:custGeom>
                <a:avLst/>
                <a:gdLst>
                  <a:gd name="connsiteX0" fmla="*/ 433948 w 433989"/>
                  <a:gd name="connsiteY0" fmla="*/ 395937 h 403136"/>
                  <a:gd name="connsiteX1" fmla="*/ 7028 w 433989"/>
                  <a:gd name="connsiteY1" fmla="*/ 111082 h 403136"/>
                  <a:gd name="connsiteX2" fmla="*/ 2137 w 433989"/>
                  <a:gd name="connsiteY2" fmla="*/ -49 h 4031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33989" h="403136">
                    <a:moveTo>
                      <a:pt x="433948" y="395937"/>
                    </a:moveTo>
                    <a:cubicBezTo>
                      <a:pt x="237523" y="435357"/>
                      <a:pt x="46384" y="307823"/>
                      <a:pt x="7028" y="111082"/>
                    </a:cubicBezTo>
                    <a:cubicBezTo>
                      <a:pt x="-289" y="74510"/>
                      <a:pt x="-1938" y="37027"/>
                      <a:pt x="2137" y="-49"/>
                    </a:cubicBezTo>
                  </a:path>
                </a:pathLst>
              </a:custGeom>
              <a:noFill/>
              <a:ln w="32213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10" name="Freihandform: Form 209">
                <a:extLst>
                  <a:ext uri="{FF2B5EF4-FFF2-40B4-BE49-F238E27FC236}">
                    <a16:creationId xmlns:a16="http://schemas.microsoft.com/office/drawing/2014/main" id="{04B6DDE7-1ED0-474E-A756-951DBF0CA666}"/>
                  </a:ext>
                </a:extLst>
              </p:cNvPr>
              <p:cNvSpPr/>
              <p:nvPr/>
            </p:nvSpPr>
            <p:spPr>
              <a:xfrm>
                <a:off x="627446" y="2768934"/>
                <a:ext cx="95499" cy="91972"/>
              </a:xfrm>
              <a:custGeom>
                <a:avLst/>
                <a:gdLst>
                  <a:gd name="connsiteX0" fmla="*/ 95500 w 95499"/>
                  <a:gd name="connsiteY0" fmla="*/ 91973 h 91972"/>
                  <a:gd name="connsiteX1" fmla="*/ 63531 w 95499"/>
                  <a:gd name="connsiteY1" fmla="*/ 0 h 91972"/>
                  <a:gd name="connsiteX2" fmla="*/ 0 w 95499"/>
                  <a:gd name="connsiteY2" fmla="*/ 73734 h 91972"/>
                  <a:gd name="connsiteX3" fmla="*/ 95500 w 95499"/>
                  <a:gd name="connsiteY3" fmla="*/ 91973 h 919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499" h="91972">
                    <a:moveTo>
                      <a:pt x="95500" y="91973"/>
                    </a:moveTo>
                    <a:lnTo>
                      <a:pt x="63531" y="0"/>
                    </a:lnTo>
                    <a:lnTo>
                      <a:pt x="0" y="73734"/>
                    </a:lnTo>
                    <a:lnTo>
                      <a:pt x="95500" y="91973"/>
                    </a:lnTo>
                    <a:close/>
                  </a:path>
                </a:pathLst>
              </a:custGeom>
              <a:grpFill/>
              <a:ln w="40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211" name="Gruppieren 210">
            <a:extLst>
              <a:ext uri="{FF2B5EF4-FFF2-40B4-BE49-F238E27FC236}">
                <a16:creationId xmlns:a16="http://schemas.microsoft.com/office/drawing/2014/main" id="{A925069C-80DA-4F39-B4BC-F7AAF1EB05B7}"/>
              </a:ext>
            </a:extLst>
          </p:cNvPr>
          <p:cNvGrpSpPr/>
          <p:nvPr/>
        </p:nvGrpSpPr>
        <p:grpSpPr>
          <a:xfrm>
            <a:off x="1876863" y="4963667"/>
            <a:ext cx="828109" cy="828109"/>
            <a:chOff x="1876863" y="4963667"/>
            <a:chExt cx="828109" cy="828109"/>
          </a:xfrm>
        </p:grpSpPr>
        <p:sp>
          <p:nvSpPr>
            <p:cNvPr id="212" name="Freihandform: Form 211">
              <a:extLst>
                <a:ext uri="{FF2B5EF4-FFF2-40B4-BE49-F238E27FC236}">
                  <a16:creationId xmlns:a16="http://schemas.microsoft.com/office/drawing/2014/main" id="{C95A7739-2068-4BE2-B545-5613D3E25EB0}"/>
                </a:ext>
              </a:extLst>
            </p:cNvPr>
            <p:cNvSpPr/>
            <p:nvPr/>
          </p:nvSpPr>
          <p:spPr>
            <a:xfrm>
              <a:off x="1876863" y="4963667"/>
              <a:ext cx="828109" cy="828109"/>
            </a:xfrm>
            <a:custGeom>
              <a:avLst/>
              <a:gdLst>
                <a:gd name="connsiteX0" fmla="*/ 828109 w 828109"/>
                <a:gd name="connsiteY0" fmla="*/ 414055 h 828109"/>
                <a:gd name="connsiteX1" fmla="*/ 414055 w 828109"/>
                <a:gd name="connsiteY1" fmla="*/ 828109 h 828109"/>
                <a:gd name="connsiteX2" fmla="*/ 0 w 828109"/>
                <a:gd name="connsiteY2" fmla="*/ 414055 h 828109"/>
                <a:gd name="connsiteX3" fmla="*/ 414055 w 828109"/>
                <a:gd name="connsiteY3" fmla="*/ 0 h 828109"/>
                <a:gd name="connsiteX4" fmla="*/ 828109 w 828109"/>
                <a:gd name="connsiteY4" fmla="*/ 414055 h 828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8109" h="828109">
                  <a:moveTo>
                    <a:pt x="828109" y="414055"/>
                  </a:moveTo>
                  <a:cubicBezTo>
                    <a:pt x="828109" y="642731"/>
                    <a:pt x="642731" y="828109"/>
                    <a:pt x="414055" y="828109"/>
                  </a:cubicBezTo>
                  <a:cubicBezTo>
                    <a:pt x="185379" y="828109"/>
                    <a:pt x="0" y="642731"/>
                    <a:pt x="0" y="414055"/>
                  </a:cubicBezTo>
                  <a:cubicBezTo>
                    <a:pt x="0" y="185379"/>
                    <a:pt x="185379" y="0"/>
                    <a:pt x="414055" y="0"/>
                  </a:cubicBezTo>
                  <a:cubicBezTo>
                    <a:pt x="642731" y="0"/>
                    <a:pt x="828109" y="185379"/>
                    <a:pt x="828109" y="414055"/>
                  </a:cubicBezTo>
                  <a:close/>
                </a:path>
              </a:pathLst>
            </a:custGeom>
            <a:solidFill>
              <a:srgbClr val="B5B9BC"/>
            </a:solidFill>
            <a:ln w="32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3" name="Grafik 105">
              <a:extLst>
                <a:ext uri="{FF2B5EF4-FFF2-40B4-BE49-F238E27FC236}">
                  <a16:creationId xmlns:a16="http://schemas.microsoft.com/office/drawing/2014/main" id="{34B8586E-230A-4EE0-AD46-F309FBC58D22}"/>
                </a:ext>
              </a:extLst>
            </p:cNvPr>
            <p:cNvSpPr/>
            <p:nvPr/>
          </p:nvSpPr>
          <p:spPr>
            <a:xfrm>
              <a:off x="1994214" y="5080752"/>
              <a:ext cx="593938" cy="593938"/>
            </a:xfrm>
            <a:custGeom>
              <a:avLst/>
              <a:gdLst>
                <a:gd name="connsiteX0" fmla="*/ 395215 w 790531"/>
                <a:gd name="connsiteY0" fmla="*/ -49 h 790531"/>
                <a:gd name="connsiteX1" fmla="*/ -50 w 790531"/>
                <a:gd name="connsiteY1" fmla="*/ 395217 h 790531"/>
                <a:gd name="connsiteX2" fmla="*/ 395215 w 790531"/>
                <a:gd name="connsiteY2" fmla="*/ 790482 h 790531"/>
                <a:gd name="connsiteX3" fmla="*/ 790481 w 790531"/>
                <a:gd name="connsiteY3" fmla="*/ 395217 h 790531"/>
                <a:gd name="connsiteX4" fmla="*/ 395215 w 790531"/>
                <a:gd name="connsiteY4" fmla="*/ -49 h 790531"/>
                <a:gd name="connsiteX5" fmla="*/ 395215 w 790531"/>
                <a:gd name="connsiteY5" fmla="*/ 761095 h 790531"/>
                <a:gd name="connsiteX6" fmla="*/ 49153 w 790531"/>
                <a:gd name="connsiteY6" fmla="*/ 514027 h 790531"/>
                <a:gd name="connsiteX7" fmla="*/ 176360 w 790531"/>
                <a:gd name="connsiteY7" fmla="*/ 514027 h 790531"/>
                <a:gd name="connsiteX8" fmla="*/ 231945 w 790531"/>
                <a:gd name="connsiteY8" fmla="*/ 570956 h 790531"/>
                <a:gd name="connsiteX9" fmla="*/ 231945 w 790531"/>
                <a:gd name="connsiteY9" fmla="*/ 608236 h 790531"/>
                <a:gd name="connsiteX10" fmla="*/ 207924 w 790531"/>
                <a:gd name="connsiteY10" fmla="*/ 654634 h 790531"/>
                <a:gd name="connsiteX11" fmla="*/ 254322 w 790531"/>
                <a:gd name="connsiteY11" fmla="*/ 678656 h 790531"/>
                <a:gd name="connsiteX12" fmla="*/ 278343 w 790531"/>
                <a:gd name="connsiteY12" fmla="*/ 632258 h 790531"/>
                <a:gd name="connsiteX13" fmla="*/ 254322 w 790531"/>
                <a:gd name="connsiteY13" fmla="*/ 608236 h 790531"/>
                <a:gd name="connsiteX14" fmla="*/ 254322 w 790531"/>
                <a:gd name="connsiteY14" fmla="*/ 562055 h 790531"/>
                <a:gd name="connsiteX15" fmla="*/ 185764 w 790531"/>
                <a:gd name="connsiteY15" fmla="*/ 491693 h 790531"/>
                <a:gd name="connsiteX16" fmla="*/ 42268 w 790531"/>
                <a:gd name="connsiteY16" fmla="*/ 491693 h 790531"/>
                <a:gd name="connsiteX17" fmla="*/ 35719 w 790531"/>
                <a:gd name="connsiteY17" fmla="*/ 463396 h 790531"/>
                <a:gd name="connsiteX18" fmla="*/ 197939 w 790531"/>
                <a:gd name="connsiteY18" fmla="*/ 463396 h 790531"/>
                <a:gd name="connsiteX19" fmla="*/ 278420 w 790531"/>
                <a:gd name="connsiteY19" fmla="*/ 544842 h 790531"/>
                <a:gd name="connsiteX20" fmla="*/ 330604 w 790531"/>
                <a:gd name="connsiteY20" fmla="*/ 544842 h 790531"/>
                <a:gd name="connsiteX21" fmla="*/ 376988 w 790531"/>
                <a:gd name="connsiteY21" fmla="*/ 568892 h 790531"/>
                <a:gd name="connsiteX22" fmla="*/ 401037 w 790531"/>
                <a:gd name="connsiteY22" fmla="*/ 522508 h 790531"/>
                <a:gd name="connsiteX23" fmla="*/ 354653 w 790531"/>
                <a:gd name="connsiteY23" fmla="*/ 498459 h 790531"/>
                <a:gd name="connsiteX24" fmla="*/ 330604 w 790531"/>
                <a:gd name="connsiteY24" fmla="*/ 522508 h 790531"/>
                <a:gd name="connsiteX25" fmla="*/ 287782 w 790531"/>
                <a:gd name="connsiteY25" fmla="*/ 522508 h 790531"/>
                <a:gd name="connsiteX26" fmla="*/ 275439 w 790531"/>
                <a:gd name="connsiteY26" fmla="*/ 510165 h 790531"/>
                <a:gd name="connsiteX27" fmla="*/ 358733 w 790531"/>
                <a:gd name="connsiteY27" fmla="*/ 428845 h 790531"/>
                <a:gd name="connsiteX28" fmla="*/ 397189 w 790531"/>
                <a:gd name="connsiteY28" fmla="*/ 428845 h 790531"/>
                <a:gd name="connsiteX29" fmla="*/ 466418 w 790531"/>
                <a:gd name="connsiteY29" fmla="*/ 499711 h 790531"/>
                <a:gd name="connsiteX30" fmla="*/ 466418 w 790531"/>
                <a:gd name="connsiteY30" fmla="*/ 533297 h 790531"/>
                <a:gd name="connsiteX31" fmla="*/ 449519 w 790531"/>
                <a:gd name="connsiteY31" fmla="*/ 582737 h 790531"/>
                <a:gd name="connsiteX32" fmla="*/ 498959 w 790531"/>
                <a:gd name="connsiteY32" fmla="*/ 599635 h 790531"/>
                <a:gd name="connsiteX33" fmla="*/ 515857 w 790531"/>
                <a:gd name="connsiteY33" fmla="*/ 550196 h 790531"/>
                <a:gd name="connsiteX34" fmla="*/ 488753 w 790531"/>
                <a:gd name="connsiteY34" fmla="*/ 530023 h 790531"/>
                <a:gd name="connsiteX35" fmla="*/ 488753 w 790531"/>
                <a:gd name="connsiteY35" fmla="*/ 490685 h 790531"/>
                <a:gd name="connsiteX36" fmla="*/ 428424 w 790531"/>
                <a:gd name="connsiteY36" fmla="*/ 428887 h 790531"/>
                <a:gd name="connsiteX37" fmla="*/ 480314 w 790531"/>
                <a:gd name="connsiteY37" fmla="*/ 428887 h 790531"/>
                <a:gd name="connsiteX38" fmla="*/ 526712 w 790531"/>
                <a:gd name="connsiteY38" fmla="*/ 452908 h 790531"/>
                <a:gd name="connsiteX39" fmla="*/ 550734 w 790531"/>
                <a:gd name="connsiteY39" fmla="*/ 406510 h 790531"/>
                <a:gd name="connsiteX40" fmla="*/ 504335 w 790531"/>
                <a:gd name="connsiteY40" fmla="*/ 382489 h 790531"/>
                <a:gd name="connsiteX41" fmla="*/ 480314 w 790531"/>
                <a:gd name="connsiteY41" fmla="*/ 406510 h 790531"/>
                <a:gd name="connsiteX42" fmla="*/ 349748 w 790531"/>
                <a:gd name="connsiteY42" fmla="*/ 406510 h 790531"/>
                <a:gd name="connsiteX43" fmla="*/ 259822 w 790531"/>
                <a:gd name="connsiteY43" fmla="*/ 494296 h 790531"/>
                <a:gd name="connsiteX44" fmla="*/ 207259 w 790531"/>
                <a:gd name="connsiteY44" fmla="*/ 441062 h 790531"/>
                <a:gd name="connsiteX45" fmla="*/ 32192 w 790531"/>
                <a:gd name="connsiteY45" fmla="*/ 441062 h 790531"/>
                <a:gd name="connsiteX46" fmla="*/ 29757 w 790531"/>
                <a:gd name="connsiteY46" fmla="*/ 412933 h 790531"/>
                <a:gd name="connsiteX47" fmla="*/ 280435 w 790531"/>
                <a:gd name="connsiteY47" fmla="*/ 412933 h 790531"/>
                <a:gd name="connsiteX48" fmla="*/ 330436 w 790531"/>
                <a:gd name="connsiteY48" fmla="*/ 364108 h 790531"/>
                <a:gd name="connsiteX49" fmla="*/ 598705 w 790531"/>
                <a:gd name="connsiteY49" fmla="*/ 364108 h 790531"/>
                <a:gd name="connsiteX50" fmla="*/ 645147 w 790531"/>
                <a:gd name="connsiteY50" fmla="*/ 388173 h 790531"/>
                <a:gd name="connsiteX51" fmla="*/ 669212 w 790531"/>
                <a:gd name="connsiteY51" fmla="*/ 341731 h 790531"/>
                <a:gd name="connsiteX52" fmla="*/ 622770 w 790531"/>
                <a:gd name="connsiteY52" fmla="*/ 317665 h 790531"/>
                <a:gd name="connsiteX53" fmla="*/ 598705 w 790531"/>
                <a:gd name="connsiteY53" fmla="*/ 341731 h 790531"/>
                <a:gd name="connsiteX54" fmla="*/ 441774 w 790531"/>
                <a:gd name="connsiteY54" fmla="*/ 341731 h 790531"/>
                <a:gd name="connsiteX55" fmla="*/ 499080 w 790531"/>
                <a:gd name="connsiteY55" fmla="*/ 282955 h 790531"/>
                <a:gd name="connsiteX56" fmla="*/ 499080 w 790531"/>
                <a:gd name="connsiteY56" fmla="*/ 242988 h 790531"/>
                <a:gd name="connsiteX57" fmla="*/ 525849 w 790531"/>
                <a:gd name="connsiteY57" fmla="*/ 198188 h 790531"/>
                <a:gd name="connsiteX58" fmla="*/ 481049 w 790531"/>
                <a:gd name="connsiteY58" fmla="*/ 171419 h 790531"/>
                <a:gd name="connsiteX59" fmla="*/ 454280 w 790531"/>
                <a:gd name="connsiteY59" fmla="*/ 216219 h 790531"/>
                <a:gd name="connsiteX60" fmla="*/ 476704 w 790531"/>
                <a:gd name="connsiteY60" fmla="*/ 241602 h 790531"/>
                <a:gd name="connsiteX61" fmla="*/ 476704 w 790531"/>
                <a:gd name="connsiteY61" fmla="*/ 274013 h 790531"/>
                <a:gd name="connsiteX62" fmla="*/ 410539 w 790531"/>
                <a:gd name="connsiteY62" fmla="*/ 341773 h 790531"/>
                <a:gd name="connsiteX63" fmla="*/ 321326 w 790531"/>
                <a:gd name="connsiteY63" fmla="*/ 341773 h 790531"/>
                <a:gd name="connsiteX64" fmla="*/ 271241 w 790531"/>
                <a:gd name="connsiteY64" fmla="*/ 390557 h 790531"/>
                <a:gd name="connsiteX65" fmla="*/ 29379 w 790531"/>
                <a:gd name="connsiteY65" fmla="*/ 390557 h 790531"/>
                <a:gd name="connsiteX66" fmla="*/ 30807 w 790531"/>
                <a:gd name="connsiteY66" fmla="*/ 362428 h 790531"/>
                <a:gd name="connsiteX67" fmla="*/ 207134 w 790531"/>
                <a:gd name="connsiteY67" fmla="*/ 362428 h 790531"/>
                <a:gd name="connsiteX68" fmla="*/ 287656 w 790531"/>
                <a:gd name="connsiteY68" fmla="*/ 280982 h 790531"/>
                <a:gd name="connsiteX69" fmla="*/ 330478 w 790531"/>
                <a:gd name="connsiteY69" fmla="*/ 280982 h 790531"/>
                <a:gd name="connsiteX70" fmla="*/ 376876 w 790531"/>
                <a:gd name="connsiteY70" fmla="*/ 305004 h 790531"/>
                <a:gd name="connsiteX71" fmla="*/ 400898 w 790531"/>
                <a:gd name="connsiteY71" fmla="*/ 258605 h 790531"/>
                <a:gd name="connsiteX72" fmla="*/ 354500 w 790531"/>
                <a:gd name="connsiteY72" fmla="*/ 234584 h 790531"/>
                <a:gd name="connsiteX73" fmla="*/ 330478 w 790531"/>
                <a:gd name="connsiteY73" fmla="*/ 258605 h 790531"/>
                <a:gd name="connsiteX74" fmla="*/ 278420 w 790531"/>
                <a:gd name="connsiteY74" fmla="*/ 258605 h 790531"/>
                <a:gd name="connsiteX75" fmla="*/ 197939 w 790531"/>
                <a:gd name="connsiteY75" fmla="*/ 340052 h 790531"/>
                <a:gd name="connsiteX76" fmla="*/ 33494 w 790531"/>
                <a:gd name="connsiteY76" fmla="*/ 340052 h 790531"/>
                <a:gd name="connsiteX77" fmla="*/ 38867 w 790531"/>
                <a:gd name="connsiteY77" fmla="*/ 312091 h 790531"/>
                <a:gd name="connsiteX78" fmla="*/ 185806 w 790531"/>
                <a:gd name="connsiteY78" fmla="*/ 312091 h 790531"/>
                <a:gd name="connsiteX79" fmla="*/ 254448 w 790531"/>
                <a:gd name="connsiteY79" fmla="*/ 241896 h 790531"/>
                <a:gd name="connsiteX80" fmla="*/ 254448 w 790531"/>
                <a:gd name="connsiteY80" fmla="*/ 200586 h 790531"/>
                <a:gd name="connsiteX81" fmla="*/ 278513 w 790531"/>
                <a:gd name="connsiteY81" fmla="*/ 154143 h 790531"/>
                <a:gd name="connsiteX82" fmla="*/ 232071 w 790531"/>
                <a:gd name="connsiteY82" fmla="*/ 130078 h 790531"/>
                <a:gd name="connsiteX83" fmla="*/ 208006 w 790531"/>
                <a:gd name="connsiteY83" fmla="*/ 176520 h 790531"/>
                <a:gd name="connsiteX84" fmla="*/ 232071 w 790531"/>
                <a:gd name="connsiteY84" fmla="*/ 200586 h 790531"/>
                <a:gd name="connsiteX85" fmla="*/ 232071 w 790531"/>
                <a:gd name="connsiteY85" fmla="*/ 232828 h 790531"/>
                <a:gd name="connsiteX86" fmla="*/ 176360 w 790531"/>
                <a:gd name="connsiteY86" fmla="*/ 289715 h 790531"/>
                <a:gd name="connsiteX87" fmla="*/ 44871 w 790531"/>
                <a:gd name="connsiteY87" fmla="*/ 289715 h 790531"/>
                <a:gd name="connsiteX88" fmla="*/ 500710 w 790531"/>
                <a:gd name="connsiteY88" fmla="*/ 44880 h 790531"/>
                <a:gd name="connsiteX89" fmla="*/ 745545 w 790531"/>
                <a:gd name="connsiteY89" fmla="*/ 500719 h 790531"/>
                <a:gd name="connsiteX90" fmla="*/ 395215 w 790531"/>
                <a:gd name="connsiteY90" fmla="*/ 761095 h 790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790531" h="790531">
                  <a:moveTo>
                    <a:pt x="395215" y="-49"/>
                  </a:moveTo>
                  <a:cubicBezTo>
                    <a:pt x="176916" y="-49"/>
                    <a:pt x="-50" y="176917"/>
                    <a:pt x="-50" y="395217"/>
                  </a:cubicBezTo>
                  <a:cubicBezTo>
                    <a:pt x="-50" y="613516"/>
                    <a:pt x="176916" y="790482"/>
                    <a:pt x="395215" y="790482"/>
                  </a:cubicBezTo>
                  <a:cubicBezTo>
                    <a:pt x="613515" y="790482"/>
                    <a:pt x="790481" y="613516"/>
                    <a:pt x="790481" y="395217"/>
                  </a:cubicBezTo>
                  <a:cubicBezTo>
                    <a:pt x="790227" y="177023"/>
                    <a:pt x="613409" y="205"/>
                    <a:pt x="395215" y="-49"/>
                  </a:cubicBezTo>
                  <a:close/>
                  <a:moveTo>
                    <a:pt x="395215" y="761095"/>
                  </a:moveTo>
                  <a:cubicBezTo>
                    <a:pt x="238995" y="760908"/>
                    <a:pt x="100063" y="661720"/>
                    <a:pt x="49153" y="514027"/>
                  </a:cubicBezTo>
                  <a:lnTo>
                    <a:pt x="176360" y="514027"/>
                  </a:lnTo>
                  <a:lnTo>
                    <a:pt x="231945" y="570956"/>
                  </a:lnTo>
                  <a:lnTo>
                    <a:pt x="231945" y="608236"/>
                  </a:lnTo>
                  <a:cubicBezTo>
                    <a:pt x="212499" y="614415"/>
                    <a:pt x="201745" y="635188"/>
                    <a:pt x="207924" y="654634"/>
                  </a:cubicBezTo>
                  <a:cubicBezTo>
                    <a:pt x="214103" y="674080"/>
                    <a:pt x="234876" y="684835"/>
                    <a:pt x="254322" y="678656"/>
                  </a:cubicBezTo>
                  <a:cubicBezTo>
                    <a:pt x="273768" y="672477"/>
                    <a:pt x="284523" y="651703"/>
                    <a:pt x="278343" y="632258"/>
                  </a:cubicBezTo>
                  <a:cubicBezTo>
                    <a:pt x="274711" y="620826"/>
                    <a:pt x="265754" y="611869"/>
                    <a:pt x="254322" y="608236"/>
                  </a:cubicBezTo>
                  <a:lnTo>
                    <a:pt x="254322" y="562055"/>
                  </a:lnTo>
                  <a:lnTo>
                    <a:pt x="185764" y="491693"/>
                  </a:lnTo>
                  <a:lnTo>
                    <a:pt x="42268" y="491693"/>
                  </a:lnTo>
                  <a:cubicBezTo>
                    <a:pt x="39707" y="482414"/>
                    <a:pt x="37566" y="472968"/>
                    <a:pt x="35719" y="463396"/>
                  </a:cubicBezTo>
                  <a:lnTo>
                    <a:pt x="197939" y="463396"/>
                  </a:lnTo>
                  <a:lnTo>
                    <a:pt x="278420" y="544842"/>
                  </a:lnTo>
                  <a:lnTo>
                    <a:pt x="330604" y="544842"/>
                  </a:lnTo>
                  <a:cubicBezTo>
                    <a:pt x="336772" y="564292"/>
                    <a:pt x="357539" y="575059"/>
                    <a:pt x="376988" y="568892"/>
                  </a:cubicBezTo>
                  <a:cubicBezTo>
                    <a:pt x="396438" y="562724"/>
                    <a:pt x="407205" y="541957"/>
                    <a:pt x="401037" y="522508"/>
                  </a:cubicBezTo>
                  <a:cubicBezTo>
                    <a:pt x="394870" y="503058"/>
                    <a:pt x="374103" y="492291"/>
                    <a:pt x="354653" y="498459"/>
                  </a:cubicBezTo>
                  <a:cubicBezTo>
                    <a:pt x="343204" y="502089"/>
                    <a:pt x="334235" y="511059"/>
                    <a:pt x="330604" y="522508"/>
                  </a:cubicBezTo>
                  <a:lnTo>
                    <a:pt x="287782" y="522508"/>
                  </a:lnTo>
                  <a:lnTo>
                    <a:pt x="275439" y="510165"/>
                  </a:lnTo>
                  <a:lnTo>
                    <a:pt x="358733" y="428845"/>
                  </a:lnTo>
                  <a:lnTo>
                    <a:pt x="397189" y="428845"/>
                  </a:lnTo>
                  <a:lnTo>
                    <a:pt x="466418" y="499711"/>
                  </a:lnTo>
                  <a:lnTo>
                    <a:pt x="466418" y="533297"/>
                  </a:lnTo>
                  <a:cubicBezTo>
                    <a:pt x="448099" y="542283"/>
                    <a:pt x="440533" y="564418"/>
                    <a:pt x="449519" y="582737"/>
                  </a:cubicBezTo>
                  <a:cubicBezTo>
                    <a:pt x="458505" y="601055"/>
                    <a:pt x="480640" y="608621"/>
                    <a:pt x="498959" y="599635"/>
                  </a:cubicBezTo>
                  <a:cubicBezTo>
                    <a:pt x="517278" y="590649"/>
                    <a:pt x="524843" y="568514"/>
                    <a:pt x="515857" y="550196"/>
                  </a:cubicBezTo>
                  <a:cubicBezTo>
                    <a:pt x="510607" y="539492"/>
                    <a:pt x="500513" y="531980"/>
                    <a:pt x="488753" y="530023"/>
                  </a:cubicBezTo>
                  <a:lnTo>
                    <a:pt x="488753" y="490685"/>
                  </a:lnTo>
                  <a:lnTo>
                    <a:pt x="428424" y="428887"/>
                  </a:lnTo>
                  <a:lnTo>
                    <a:pt x="480314" y="428887"/>
                  </a:lnTo>
                  <a:cubicBezTo>
                    <a:pt x="486493" y="448332"/>
                    <a:pt x="507266" y="459087"/>
                    <a:pt x="526712" y="452908"/>
                  </a:cubicBezTo>
                  <a:cubicBezTo>
                    <a:pt x="546158" y="446729"/>
                    <a:pt x="556913" y="425956"/>
                    <a:pt x="550734" y="406510"/>
                  </a:cubicBezTo>
                  <a:cubicBezTo>
                    <a:pt x="544554" y="387064"/>
                    <a:pt x="523781" y="376309"/>
                    <a:pt x="504335" y="382489"/>
                  </a:cubicBezTo>
                  <a:cubicBezTo>
                    <a:pt x="492903" y="386121"/>
                    <a:pt x="483947" y="395078"/>
                    <a:pt x="480314" y="406510"/>
                  </a:cubicBezTo>
                  <a:lnTo>
                    <a:pt x="349748" y="406510"/>
                  </a:lnTo>
                  <a:lnTo>
                    <a:pt x="259822" y="494296"/>
                  </a:lnTo>
                  <a:lnTo>
                    <a:pt x="207259" y="441062"/>
                  </a:lnTo>
                  <a:lnTo>
                    <a:pt x="32192" y="441062"/>
                  </a:lnTo>
                  <a:cubicBezTo>
                    <a:pt x="31017" y="431783"/>
                    <a:pt x="30219" y="422379"/>
                    <a:pt x="29757" y="412933"/>
                  </a:cubicBezTo>
                  <a:lnTo>
                    <a:pt x="280435" y="412933"/>
                  </a:lnTo>
                  <a:lnTo>
                    <a:pt x="330436" y="364108"/>
                  </a:lnTo>
                  <a:lnTo>
                    <a:pt x="598705" y="364108"/>
                  </a:lnTo>
                  <a:cubicBezTo>
                    <a:pt x="604884" y="383578"/>
                    <a:pt x="625677" y="394352"/>
                    <a:pt x="645147" y="388173"/>
                  </a:cubicBezTo>
                  <a:cubicBezTo>
                    <a:pt x="664617" y="381994"/>
                    <a:pt x="675392" y="361201"/>
                    <a:pt x="669212" y="341731"/>
                  </a:cubicBezTo>
                  <a:cubicBezTo>
                    <a:pt x="663033" y="322261"/>
                    <a:pt x="642240" y="311486"/>
                    <a:pt x="622770" y="317665"/>
                  </a:cubicBezTo>
                  <a:cubicBezTo>
                    <a:pt x="611315" y="321301"/>
                    <a:pt x="602340" y="330276"/>
                    <a:pt x="598705" y="341731"/>
                  </a:cubicBezTo>
                  <a:lnTo>
                    <a:pt x="441774" y="341731"/>
                  </a:lnTo>
                  <a:lnTo>
                    <a:pt x="499080" y="282955"/>
                  </a:lnTo>
                  <a:lnTo>
                    <a:pt x="499080" y="242988"/>
                  </a:lnTo>
                  <a:cubicBezTo>
                    <a:pt x="518843" y="238009"/>
                    <a:pt x="530828" y="217951"/>
                    <a:pt x="525849" y="198188"/>
                  </a:cubicBezTo>
                  <a:cubicBezTo>
                    <a:pt x="520870" y="178425"/>
                    <a:pt x="500812" y="166440"/>
                    <a:pt x="481049" y="171419"/>
                  </a:cubicBezTo>
                  <a:cubicBezTo>
                    <a:pt x="461286" y="176398"/>
                    <a:pt x="449301" y="196456"/>
                    <a:pt x="454280" y="216219"/>
                  </a:cubicBezTo>
                  <a:cubicBezTo>
                    <a:pt x="457201" y="227813"/>
                    <a:pt x="465558" y="237274"/>
                    <a:pt x="476704" y="241602"/>
                  </a:cubicBezTo>
                  <a:lnTo>
                    <a:pt x="476704" y="274013"/>
                  </a:lnTo>
                  <a:lnTo>
                    <a:pt x="410539" y="341773"/>
                  </a:lnTo>
                  <a:lnTo>
                    <a:pt x="321326" y="341773"/>
                  </a:lnTo>
                  <a:lnTo>
                    <a:pt x="271241" y="390557"/>
                  </a:lnTo>
                  <a:lnTo>
                    <a:pt x="29379" y="390557"/>
                  </a:lnTo>
                  <a:cubicBezTo>
                    <a:pt x="29379" y="381069"/>
                    <a:pt x="30009" y="371706"/>
                    <a:pt x="30807" y="362428"/>
                  </a:cubicBezTo>
                  <a:lnTo>
                    <a:pt x="207134" y="362428"/>
                  </a:lnTo>
                  <a:lnTo>
                    <a:pt x="287656" y="280982"/>
                  </a:lnTo>
                  <a:lnTo>
                    <a:pt x="330478" y="280982"/>
                  </a:lnTo>
                  <a:cubicBezTo>
                    <a:pt x="336657" y="300428"/>
                    <a:pt x="357431" y="311183"/>
                    <a:pt x="376876" y="305004"/>
                  </a:cubicBezTo>
                  <a:cubicBezTo>
                    <a:pt x="396322" y="298824"/>
                    <a:pt x="407077" y="278051"/>
                    <a:pt x="400898" y="258605"/>
                  </a:cubicBezTo>
                  <a:cubicBezTo>
                    <a:pt x="394719" y="239160"/>
                    <a:pt x="373946" y="228405"/>
                    <a:pt x="354500" y="234584"/>
                  </a:cubicBezTo>
                  <a:cubicBezTo>
                    <a:pt x="343068" y="238217"/>
                    <a:pt x="334111" y="247173"/>
                    <a:pt x="330478" y="258605"/>
                  </a:cubicBezTo>
                  <a:lnTo>
                    <a:pt x="278420" y="258605"/>
                  </a:lnTo>
                  <a:lnTo>
                    <a:pt x="197939" y="340052"/>
                  </a:lnTo>
                  <a:lnTo>
                    <a:pt x="33494" y="340052"/>
                  </a:lnTo>
                  <a:cubicBezTo>
                    <a:pt x="34921" y="330620"/>
                    <a:pt x="36712" y="321299"/>
                    <a:pt x="38867" y="312091"/>
                  </a:cubicBezTo>
                  <a:lnTo>
                    <a:pt x="185806" y="312091"/>
                  </a:lnTo>
                  <a:lnTo>
                    <a:pt x="254448" y="241896"/>
                  </a:lnTo>
                  <a:lnTo>
                    <a:pt x="254448" y="200586"/>
                  </a:lnTo>
                  <a:cubicBezTo>
                    <a:pt x="273918" y="194406"/>
                    <a:pt x="284693" y="173614"/>
                    <a:pt x="278513" y="154143"/>
                  </a:cubicBezTo>
                  <a:cubicBezTo>
                    <a:pt x="272334" y="134673"/>
                    <a:pt x="251541" y="123899"/>
                    <a:pt x="232071" y="130078"/>
                  </a:cubicBezTo>
                  <a:cubicBezTo>
                    <a:pt x="212601" y="136257"/>
                    <a:pt x="201827" y="157050"/>
                    <a:pt x="208006" y="176520"/>
                  </a:cubicBezTo>
                  <a:cubicBezTo>
                    <a:pt x="211641" y="187975"/>
                    <a:pt x="220616" y="196950"/>
                    <a:pt x="232071" y="200586"/>
                  </a:cubicBezTo>
                  <a:lnTo>
                    <a:pt x="232071" y="232828"/>
                  </a:lnTo>
                  <a:lnTo>
                    <a:pt x="176360" y="289715"/>
                  </a:lnTo>
                  <a:lnTo>
                    <a:pt x="44871" y="289715"/>
                  </a:lnTo>
                  <a:cubicBezTo>
                    <a:pt x="103138" y="96229"/>
                    <a:pt x="307224" y="-13388"/>
                    <a:pt x="500710" y="44880"/>
                  </a:cubicBezTo>
                  <a:cubicBezTo>
                    <a:pt x="694196" y="103147"/>
                    <a:pt x="803812" y="307233"/>
                    <a:pt x="745545" y="500719"/>
                  </a:cubicBezTo>
                  <a:cubicBezTo>
                    <a:pt x="698996" y="655292"/>
                    <a:pt x="556645" y="761091"/>
                    <a:pt x="395215" y="761095"/>
                  </a:cubicBezTo>
                  <a:close/>
                </a:path>
              </a:pathLst>
            </a:custGeom>
            <a:solidFill>
              <a:schemeClr val="bg1"/>
            </a:solidFill>
            <a:ln w="4155" cap="flat">
              <a:noFill/>
              <a:prstDash val="solid"/>
              <a:miter/>
            </a:ln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14" name="Gruppieren 213">
            <a:extLst>
              <a:ext uri="{FF2B5EF4-FFF2-40B4-BE49-F238E27FC236}">
                <a16:creationId xmlns:a16="http://schemas.microsoft.com/office/drawing/2014/main" id="{29E27A5A-49C0-4209-ACD2-9E75EC22AB3C}"/>
              </a:ext>
            </a:extLst>
          </p:cNvPr>
          <p:cNvGrpSpPr/>
          <p:nvPr/>
        </p:nvGrpSpPr>
        <p:grpSpPr>
          <a:xfrm>
            <a:off x="5684181" y="4963667"/>
            <a:ext cx="828109" cy="828109"/>
            <a:chOff x="5684181" y="4963667"/>
            <a:chExt cx="828109" cy="828109"/>
          </a:xfrm>
        </p:grpSpPr>
        <p:sp>
          <p:nvSpPr>
            <p:cNvPr id="215" name="Freihandform: Form 214">
              <a:extLst>
                <a:ext uri="{FF2B5EF4-FFF2-40B4-BE49-F238E27FC236}">
                  <a16:creationId xmlns:a16="http://schemas.microsoft.com/office/drawing/2014/main" id="{6B001EBF-6F0D-42F7-97CC-A0BBA7DA3386}"/>
                </a:ext>
              </a:extLst>
            </p:cNvPr>
            <p:cNvSpPr/>
            <p:nvPr/>
          </p:nvSpPr>
          <p:spPr>
            <a:xfrm>
              <a:off x="5684181" y="4963667"/>
              <a:ext cx="828109" cy="828109"/>
            </a:xfrm>
            <a:custGeom>
              <a:avLst/>
              <a:gdLst>
                <a:gd name="connsiteX0" fmla="*/ 828109 w 828109"/>
                <a:gd name="connsiteY0" fmla="*/ 414055 h 828109"/>
                <a:gd name="connsiteX1" fmla="*/ 414055 w 828109"/>
                <a:gd name="connsiteY1" fmla="*/ 828109 h 828109"/>
                <a:gd name="connsiteX2" fmla="*/ 0 w 828109"/>
                <a:gd name="connsiteY2" fmla="*/ 414055 h 828109"/>
                <a:gd name="connsiteX3" fmla="*/ 414055 w 828109"/>
                <a:gd name="connsiteY3" fmla="*/ 0 h 828109"/>
                <a:gd name="connsiteX4" fmla="*/ 828109 w 828109"/>
                <a:gd name="connsiteY4" fmla="*/ 414055 h 828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8109" h="828109">
                  <a:moveTo>
                    <a:pt x="828109" y="414055"/>
                  </a:moveTo>
                  <a:cubicBezTo>
                    <a:pt x="828109" y="642731"/>
                    <a:pt x="642731" y="828109"/>
                    <a:pt x="414055" y="828109"/>
                  </a:cubicBezTo>
                  <a:cubicBezTo>
                    <a:pt x="185379" y="828109"/>
                    <a:pt x="0" y="642731"/>
                    <a:pt x="0" y="414055"/>
                  </a:cubicBezTo>
                  <a:cubicBezTo>
                    <a:pt x="0" y="185379"/>
                    <a:pt x="185379" y="0"/>
                    <a:pt x="414055" y="0"/>
                  </a:cubicBezTo>
                  <a:cubicBezTo>
                    <a:pt x="642731" y="0"/>
                    <a:pt x="828109" y="185379"/>
                    <a:pt x="828109" y="414055"/>
                  </a:cubicBezTo>
                  <a:close/>
                </a:path>
              </a:pathLst>
            </a:custGeom>
            <a:solidFill>
              <a:srgbClr val="B5B9BC"/>
            </a:solidFill>
            <a:ln w="32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16" name="Gruppieren 215">
              <a:extLst>
                <a:ext uri="{FF2B5EF4-FFF2-40B4-BE49-F238E27FC236}">
                  <a16:creationId xmlns:a16="http://schemas.microsoft.com/office/drawing/2014/main" id="{18BF5687-D91A-45F9-95C6-8D6D6F6F345F}"/>
                </a:ext>
              </a:extLst>
            </p:cNvPr>
            <p:cNvGrpSpPr/>
            <p:nvPr/>
          </p:nvGrpSpPr>
          <p:grpSpPr>
            <a:xfrm>
              <a:off x="5801551" y="5108994"/>
              <a:ext cx="594003" cy="537455"/>
              <a:chOff x="5703244" y="2520522"/>
              <a:chExt cx="790617" cy="715353"/>
            </a:xfrm>
            <a:solidFill>
              <a:schemeClr val="bg1"/>
            </a:solidFill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217" name="Freihandform: Form 216">
                <a:extLst>
                  <a:ext uri="{FF2B5EF4-FFF2-40B4-BE49-F238E27FC236}">
                    <a16:creationId xmlns:a16="http://schemas.microsoft.com/office/drawing/2014/main" id="{1C3D40FF-9EDE-490E-AC4F-3B6061604908}"/>
                  </a:ext>
                </a:extLst>
              </p:cNvPr>
              <p:cNvSpPr/>
              <p:nvPr/>
            </p:nvSpPr>
            <p:spPr>
              <a:xfrm>
                <a:off x="6025294" y="2776197"/>
                <a:ext cx="147939" cy="177573"/>
              </a:xfrm>
              <a:custGeom>
                <a:avLst/>
                <a:gdLst>
                  <a:gd name="connsiteX0" fmla="*/ 76003 w 147939"/>
                  <a:gd name="connsiteY0" fmla="*/ 152213 h 177573"/>
                  <a:gd name="connsiteX1" fmla="*/ 73902 w 147939"/>
                  <a:gd name="connsiteY1" fmla="*/ 152213 h 177573"/>
                  <a:gd name="connsiteX2" fmla="*/ 41988 w 147939"/>
                  <a:gd name="connsiteY2" fmla="*/ 146905 h 177573"/>
                  <a:gd name="connsiteX3" fmla="*/ 18867 w 147939"/>
                  <a:gd name="connsiteY3" fmla="*/ 131750 h 177573"/>
                  <a:gd name="connsiteX4" fmla="*/ 4711 w 147939"/>
                  <a:gd name="connsiteY4" fmla="*/ 107691 h 177573"/>
                  <a:gd name="connsiteX5" fmla="*/ 4711 w 147939"/>
                  <a:gd name="connsiteY5" fmla="*/ 44247 h 177573"/>
                  <a:gd name="connsiteX6" fmla="*/ 18738 w 147939"/>
                  <a:gd name="connsiteY6" fmla="*/ 20274 h 177573"/>
                  <a:gd name="connsiteX7" fmla="*/ 41902 w 147939"/>
                  <a:gd name="connsiteY7" fmla="*/ 5205 h 177573"/>
                  <a:gd name="connsiteX8" fmla="*/ 105901 w 147939"/>
                  <a:gd name="connsiteY8" fmla="*/ 5205 h 177573"/>
                  <a:gd name="connsiteX9" fmla="*/ 129022 w 147939"/>
                  <a:gd name="connsiteY9" fmla="*/ 20274 h 177573"/>
                  <a:gd name="connsiteX10" fmla="*/ 143092 w 147939"/>
                  <a:gd name="connsiteY10" fmla="*/ 44247 h 177573"/>
                  <a:gd name="connsiteX11" fmla="*/ 147853 w 147939"/>
                  <a:gd name="connsiteY11" fmla="*/ 76055 h 177573"/>
                  <a:gd name="connsiteX12" fmla="*/ 138330 w 147939"/>
                  <a:gd name="connsiteY12" fmla="*/ 118650 h 177573"/>
                  <a:gd name="connsiteX13" fmla="*/ 110234 w 147939"/>
                  <a:gd name="connsiteY13" fmla="*/ 144807 h 177573"/>
                  <a:gd name="connsiteX14" fmla="*/ 145108 w 147939"/>
                  <a:gd name="connsiteY14" fmla="*/ 177514 h 177573"/>
                  <a:gd name="connsiteX15" fmla="*/ 100711 w 147939"/>
                  <a:gd name="connsiteY15" fmla="*/ 177514 h 177573"/>
                  <a:gd name="connsiteX16" fmla="*/ 40529 w 147939"/>
                  <a:gd name="connsiteY16" fmla="*/ 76055 h 177573"/>
                  <a:gd name="connsiteX17" fmla="*/ 42416 w 147939"/>
                  <a:gd name="connsiteY17" fmla="*/ 93692 h 177573"/>
                  <a:gd name="connsiteX18" fmla="*/ 48336 w 147939"/>
                  <a:gd name="connsiteY18" fmla="*/ 108761 h 177573"/>
                  <a:gd name="connsiteX19" fmla="*/ 58674 w 147939"/>
                  <a:gd name="connsiteY19" fmla="*/ 119207 h 177573"/>
                  <a:gd name="connsiteX20" fmla="*/ 89129 w 147939"/>
                  <a:gd name="connsiteY20" fmla="*/ 119207 h 177573"/>
                  <a:gd name="connsiteX21" fmla="*/ 99467 w 147939"/>
                  <a:gd name="connsiteY21" fmla="*/ 108761 h 177573"/>
                  <a:gd name="connsiteX22" fmla="*/ 105387 w 147939"/>
                  <a:gd name="connsiteY22" fmla="*/ 93692 h 177573"/>
                  <a:gd name="connsiteX23" fmla="*/ 107274 w 147939"/>
                  <a:gd name="connsiteY23" fmla="*/ 76055 h 177573"/>
                  <a:gd name="connsiteX24" fmla="*/ 105387 w 147939"/>
                  <a:gd name="connsiteY24" fmla="*/ 58032 h 177573"/>
                  <a:gd name="connsiteX25" fmla="*/ 99467 w 147939"/>
                  <a:gd name="connsiteY25" fmla="*/ 43048 h 177573"/>
                  <a:gd name="connsiteX26" fmla="*/ 89129 w 147939"/>
                  <a:gd name="connsiteY26" fmla="*/ 32860 h 177573"/>
                  <a:gd name="connsiteX27" fmla="*/ 58674 w 147939"/>
                  <a:gd name="connsiteY27" fmla="*/ 32860 h 177573"/>
                  <a:gd name="connsiteX28" fmla="*/ 48336 w 147939"/>
                  <a:gd name="connsiteY28" fmla="*/ 43048 h 177573"/>
                  <a:gd name="connsiteX29" fmla="*/ 42416 w 147939"/>
                  <a:gd name="connsiteY29" fmla="*/ 58032 h 177573"/>
                  <a:gd name="connsiteX30" fmla="*/ 40529 w 147939"/>
                  <a:gd name="connsiteY30" fmla="*/ 76055 h 177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147939" h="177573">
                    <a:moveTo>
                      <a:pt x="76003" y="152213"/>
                    </a:moveTo>
                    <a:lnTo>
                      <a:pt x="73902" y="152213"/>
                    </a:lnTo>
                    <a:cubicBezTo>
                      <a:pt x="63027" y="152411"/>
                      <a:pt x="52209" y="150612"/>
                      <a:pt x="41988" y="146905"/>
                    </a:cubicBezTo>
                    <a:cubicBezTo>
                      <a:pt x="33237" y="143653"/>
                      <a:pt x="25333" y="138473"/>
                      <a:pt x="18867" y="131750"/>
                    </a:cubicBezTo>
                    <a:cubicBezTo>
                      <a:pt x="12447" y="124857"/>
                      <a:pt x="7615" y="116645"/>
                      <a:pt x="4711" y="107691"/>
                    </a:cubicBezTo>
                    <a:cubicBezTo>
                      <a:pt x="-1637" y="87018"/>
                      <a:pt x="-1637" y="64921"/>
                      <a:pt x="4711" y="44247"/>
                    </a:cubicBezTo>
                    <a:cubicBezTo>
                      <a:pt x="7580" y="35331"/>
                      <a:pt x="12367" y="27149"/>
                      <a:pt x="18738" y="20274"/>
                    </a:cubicBezTo>
                    <a:cubicBezTo>
                      <a:pt x="25226" y="13576"/>
                      <a:pt x="33143" y="8426"/>
                      <a:pt x="41902" y="5205"/>
                    </a:cubicBezTo>
                    <a:cubicBezTo>
                      <a:pt x="62655" y="-1815"/>
                      <a:pt x="85148" y="-1815"/>
                      <a:pt x="105901" y="5205"/>
                    </a:cubicBezTo>
                    <a:cubicBezTo>
                      <a:pt x="114652" y="8415"/>
                      <a:pt x="122558" y="13568"/>
                      <a:pt x="129022" y="20274"/>
                    </a:cubicBezTo>
                    <a:cubicBezTo>
                      <a:pt x="135416" y="27139"/>
                      <a:pt x="140220" y="35323"/>
                      <a:pt x="143092" y="44247"/>
                    </a:cubicBezTo>
                    <a:cubicBezTo>
                      <a:pt x="146400" y="54521"/>
                      <a:pt x="148008" y="65264"/>
                      <a:pt x="147853" y="76055"/>
                    </a:cubicBezTo>
                    <a:cubicBezTo>
                      <a:pt x="148279" y="90823"/>
                      <a:pt x="145006" y="105464"/>
                      <a:pt x="138330" y="118650"/>
                    </a:cubicBezTo>
                    <a:cubicBezTo>
                      <a:pt x="132190" y="130283"/>
                      <a:pt x="122288" y="139502"/>
                      <a:pt x="110234" y="144807"/>
                    </a:cubicBezTo>
                    <a:lnTo>
                      <a:pt x="145108" y="177514"/>
                    </a:lnTo>
                    <a:lnTo>
                      <a:pt x="100711" y="177514"/>
                    </a:lnTo>
                    <a:close/>
                    <a:moveTo>
                      <a:pt x="40529" y="76055"/>
                    </a:moveTo>
                    <a:cubicBezTo>
                      <a:pt x="40499" y="81986"/>
                      <a:pt x="41132" y="87901"/>
                      <a:pt x="42416" y="93692"/>
                    </a:cubicBezTo>
                    <a:cubicBezTo>
                      <a:pt x="43535" y="99009"/>
                      <a:pt x="45536" y="104102"/>
                      <a:pt x="48336" y="108761"/>
                    </a:cubicBezTo>
                    <a:cubicBezTo>
                      <a:pt x="50903" y="113012"/>
                      <a:pt x="54447" y="116592"/>
                      <a:pt x="58674" y="119207"/>
                    </a:cubicBezTo>
                    <a:cubicBezTo>
                      <a:pt x="68159" y="124401"/>
                      <a:pt x="79645" y="124401"/>
                      <a:pt x="89129" y="119207"/>
                    </a:cubicBezTo>
                    <a:cubicBezTo>
                      <a:pt x="93357" y="116592"/>
                      <a:pt x="96900" y="113012"/>
                      <a:pt x="99467" y="108761"/>
                    </a:cubicBezTo>
                    <a:cubicBezTo>
                      <a:pt x="102249" y="104093"/>
                      <a:pt x="104248" y="99003"/>
                      <a:pt x="105387" y="93692"/>
                    </a:cubicBezTo>
                    <a:cubicBezTo>
                      <a:pt x="106650" y="87898"/>
                      <a:pt x="107282" y="81985"/>
                      <a:pt x="107274" y="76055"/>
                    </a:cubicBezTo>
                    <a:cubicBezTo>
                      <a:pt x="107294" y="69997"/>
                      <a:pt x="106661" y="63955"/>
                      <a:pt x="105387" y="58032"/>
                    </a:cubicBezTo>
                    <a:cubicBezTo>
                      <a:pt x="104256" y="52745"/>
                      <a:pt x="102256" y="47682"/>
                      <a:pt x="99467" y="43048"/>
                    </a:cubicBezTo>
                    <a:cubicBezTo>
                      <a:pt x="96893" y="38872"/>
                      <a:pt x="93347" y="35377"/>
                      <a:pt x="89129" y="32860"/>
                    </a:cubicBezTo>
                    <a:cubicBezTo>
                      <a:pt x="79615" y="27783"/>
                      <a:pt x="68189" y="27783"/>
                      <a:pt x="58674" y="32860"/>
                    </a:cubicBezTo>
                    <a:cubicBezTo>
                      <a:pt x="54457" y="35377"/>
                      <a:pt x="50911" y="38872"/>
                      <a:pt x="48336" y="43048"/>
                    </a:cubicBezTo>
                    <a:cubicBezTo>
                      <a:pt x="45529" y="47673"/>
                      <a:pt x="43527" y="52739"/>
                      <a:pt x="42416" y="58032"/>
                    </a:cubicBezTo>
                    <a:cubicBezTo>
                      <a:pt x="41122" y="63951"/>
                      <a:pt x="40489" y="69996"/>
                      <a:pt x="40529" y="76055"/>
                    </a:cubicBezTo>
                    <a:close/>
                  </a:path>
                </a:pathLst>
              </a:custGeom>
              <a:grpFill/>
              <a:ln w="424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218" name="Grafik 106">
                <a:extLst>
                  <a:ext uri="{FF2B5EF4-FFF2-40B4-BE49-F238E27FC236}">
                    <a16:creationId xmlns:a16="http://schemas.microsoft.com/office/drawing/2014/main" id="{796A7696-D469-4B84-9476-DBFF3E1AD8AD}"/>
                  </a:ext>
                </a:extLst>
              </p:cNvPr>
              <p:cNvGrpSpPr/>
              <p:nvPr/>
            </p:nvGrpSpPr>
            <p:grpSpPr>
              <a:xfrm>
                <a:off x="5703244" y="2520522"/>
                <a:ext cx="790617" cy="715353"/>
                <a:chOff x="5703244" y="2520522"/>
                <a:chExt cx="790617" cy="715353"/>
              </a:xfrm>
              <a:grpFill/>
            </p:grpSpPr>
            <p:sp>
              <p:nvSpPr>
                <p:cNvPr id="219" name="Freihandform: Form 218">
                  <a:extLst>
                    <a:ext uri="{FF2B5EF4-FFF2-40B4-BE49-F238E27FC236}">
                      <a16:creationId xmlns:a16="http://schemas.microsoft.com/office/drawing/2014/main" id="{00C7E3F5-4675-48EF-B106-1921993669F0}"/>
                    </a:ext>
                  </a:extLst>
                </p:cNvPr>
                <p:cNvSpPr/>
                <p:nvPr/>
              </p:nvSpPr>
              <p:spPr>
                <a:xfrm>
                  <a:off x="5703244" y="2734941"/>
                  <a:ext cx="582997" cy="493128"/>
                </a:xfrm>
                <a:custGeom>
                  <a:avLst/>
                  <a:gdLst>
                    <a:gd name="connsiteX0" fmla="*/ 194816 w 582997"/>
                    <a:gd name="connsiteY0" fmla="*/ 479181 h 493128"/>
                    <a:gd name="connsiteX1" fmla="*/ 186237 w 582997"/>
                    <a:gd name="connsiteY1" fmla="*/ 471604 h 493128"/>
                    <a:gd name="connsiteX2" fmla="*/ 166677 w 582997"/>
                    <a:gd name="connsiteY2" fmla="*/ 441637 h 493128"/>
                    <a:gd name="connsiteX3" fmla="*/ 156210 w 582997"/>
                    <a:gd name="connsiteY3" fmla="*/ 392278 h 493128"/>
                    <a:gd name="connsiteX4" fmla="*/ 156210 w 582997"/>
                    <a:gd name="connsiteY4" fmla="*/ 352422 h 493128"/>
                    <a:gd name="connsiteX5" fmla="*/ 164489 w 582997"/>
                    <a:gd name="connsiteY5" fmla="*/ 292489 h 493128"/>
                    <a:gd name="connsiteX6" fmla="*/ 168092 w 582997"/>
                    <a:gd name="connsiteY6" fmla="*/ 276392 h 493128"/>
                    <a:gd name="connsiteX7" fmla="*/ 165990 w 582997"/>
                    <a:gd name="connsiteY7" fmla="*/ 272967 h 493128"/>
                    <a:gd name="connsiteX8" fmla="*/ 126398 w 582997"/>
                    <a:gd name="connsiteY8" fmla="*/ 260553 h 493128"/>
                    <a:gd name="connsiteX9" fmla="*/ 101776 w 582997"/>
                    <a:gd name="connsiteY9" fmla="*/ 250749 h 493128"/>
                    <a:gd name="connsiteX10" fmla="*/ 68618 w 582997"/>
                    <a:gd name="connsiteY10" fmla="*/ 234524 h 493128"/>
                    <a:gd name="connsiteX11" fmla="*/ 21905 w 582997"/>
                    <a:gd name="connsiteY11" fmla="*/ 197323 h 493128"/>
                    <a:gd name="connsiteX12" fmla="*/ 2216 w 582997"/>
                    <a:gd name="connsiteY12" fmla="*/ 161106 h 493128"/>
                    <a:gd name="connsiteX13" fmla="*/ 3846 w 582997"/>
                    <a:gd name="connsiteY13" fmla="*/ 119837 h 493128"/>
                    <a:gd name="connsiteX14" fmla="*/ 23578 w 582997"/>
                    <a:gd name="connsiteY14" fmla="*/ 87131 h 493128"/>
                    <a:gd name="connsiteX15" fmla="*/ 35117 w 582997"/>
                    <a:gd name="connsiteY15" fmla="*/ 75401 h 493128"/>
                    <a:gd name="connsiteX16" fmla="*/ 36275 w 582997"/>
                    <a:gd name="connsiteY16" fmla="*/ 71120 h 493128"/>
                    <a:gd name="connsiteX17" fmla="*/ 35717 w 582997"/>
                    <a:gd name="connsiteY17" fmla="*/ 41538 h 493128"/>
                    <a:gd name="connsiteX18" fmla="*/ 68790 w 582997"/>
                    <a:gd name="connsiteY18" fmla="*/ 3994 h 493128"/>
                    <a:gd name="connsiteX19" fmla="*/ 97529 w 582997"/>
                    <a:gd name="connsiteY19" fmla="*/ 655 h 493128"/>
                    <a:gd name="connsiteX20" fmla="*/ 145057 w 582997"/>
                    <a:gd name="connsiteY20" fmla="*/ 56650 h 493128"/>
                    <a:gd name="connsiteX21" fmla="*/ 87818 w 582997"/>
                    <a:gd name="connsiteY21" fmla="*/ 110790 h 493128"/>
                    <a:gd name="connsiteX22" fmla="*/ 67245 w 582997"/>
                    <a:gd name="connsiteY22" fmla="*/ 106267 h 493128"/>
                    <a:gd name="connsiteX23" fmla="*/ 53948 w 582997"/>
                    <a:gd name="connsiteY23" fmla="*/ 97962 h 493128"/>
                    <a:gd name="connsiteX24" fmla="*/ 49873 w 582997"/>
                    <a:gd name="connsiteY24" fmla="*/ 98218 h 493128"/>
                    <a:gd name="connsiteX25" fmla="*/ 30141 w 582997"/>
                    <a:gd name="connsiteY25" fmla="*/ 125916 h 493128"/>
                    <a:gd name="connsiteX26" fmla="*/ 27396 w 582997"/>
                    <a:gd name="connsiteY26" fmla="*/ 151131 h 493128"/>
                    <a:gd name="connsiteX27" fmla="*/ 40607 w 582997"/>
                    <a:gd name="connsiteY27" fmla="*/ 178230 h 493128"/>
                    <a:gd name="connsiteX28" fmla="*/ 62441 w 582997"/>
                    <a:gd name="connsiteY28" fmla="*/ 198650 h 493128"/>
                    <a:gd name="connsiteX29" fmla="*/ 98773 w 582997"/>
                    <a:gd name="connsiteY29" fmla="*/ 220312 h 493128"/>
                    <a:gd name="connsiteX30" fmla="*/ 123481 w 582997"/>
                    <a:gd name="connsiteY30" fmla="*/ 230971 h 493128"/>
                    <a:gd name="connsiteX31" fmla="*/ 162087 w 582997"/>
                    <a:gd name="connsiteY31" fmla="*/ 244199 h 493128"/>
                    <a:gd name="connsiteX32" fmla="*/ 189969 w 582997"/>
                    <a:gd name="connsiteY32" fmla="*/ 251391 h 493128"/>
                    <a:gd name="connsiteX33" fmla="*/ 286269 w 582997"/>
                    <a:gd name="connsiteY33" fmla="*/ 267702 h 493128"/>
                    <a:gd name="connsiteX34" fmla="*/ 319555 w 582997"/>
                    <a:gd name="connsiteY34" fmla="*/ 270784 h 493128"/>
                    <a:gd name="connsiteX35" fmla="*/ 382268 w 582997"/>
                    <a:gd name="connsiteY35" fmla="*/ 272711 h 493128"/>
                    <a:gd name="connsiteX36" fmla="*/ 451973 w 582997"/>
                    <a:gd name="connsiteY36" fmla="*/ 270442 h 493128"/>
                    <a:gd name="connsiteX37" fmla="*/ 507737 w 582997"/>
                    <a:gd name="connsiteY37" fmla="*/ 264834 h 493128"/>
                    <a:gd name="connsiteX38" fmla="*/ 555694 w 582997"/>
                    <a:gd name="connsiteY38" fmla="*/ 257427 h 493128"/>
                    <a:gd name="connsiteX39" fmla="*/ 574139 w 582997"/>
                    <a:gd name="connsiteY39" fmla="*/ 253489 h 493128"/>
                    <a:gd name="connsiteX40" fmla="*/ 577099 w 582997"/>
                    <a:gd name="connsiteY40" fmla="*/ 254945 h 493128"/>
                    <a:gd name="connsiteX41" fmla="*/ 582761 w 582997"/>
                    <a:gd name="connsiteY41" fmla="*/ 276349 h 493128"/>
                    <a:gd name="connsiteX42" fmla="*/ 580788 w 582997"/>
                    <a:gd name="connsiteY42" fmla="*/ 279175 h 493128"/>
                    <a:gd name="connsiteX43" fmla="*/ 520134 w 582997"/>
                    <a:gd name="connsiteY43" fmla="*/ 290048 h 493128"/>
                    <a:gd name="connsiteX44" fmla="*/ 456863 w 582997"/>
                    <a:gd name="connsiteY44" fmla="*/ 296641 h 493128"/>
                    <a:gd name="connsiteX45" fmla="*/ 396424 w 582997"/>
                    <a:gd name="connsiteY45" fmla="*/ 299295 h 493128"/>
                    <a:gd name="connsiteX46" fmla="*/ 370300 w 582997"/>
                    <a:gd name="connsiteY46" fmla="*/ 299295 h 493128"/>
                    <a:gd name="connsiteX47" fmla="*/ 346451 w 582997"/>
                    <a:gd name="connsiteY47" fmla="*/ 298396 h 493128"/>
                    <a:gd name="connsiteX48" fmla="*/ 313807 w 582997"/>
                    <a:gd name="connsiteY48" fmla="*/ 296812 h 493128"/>
                    <a:gd name="connsiteX49" fmla="*/ 221540 w 582997"/>
                    <a:gd name="connsiteY49" fmla="*/ 285254 h 493128"/>
                    <a:gd name="connsiteX50" fmla="*/ 197819 w 582997"/>
                    <a:gd name="connsiteY50" fmla="*/ 280502 h 493128"/>
                    <a:gd name="connsiteX51" fmla="*/ 193872 w 582997"/>
                    <a:gd name="connsiteY51" fmla="*/ 283070 h 493128"/>
                    <a:gd name="connsiteX52" fmla="*/ 184778 w 582997"/>
                    <a:gd name="connsiteY52" fmla="*/ 333329 h 493128"/>
                    <a:gd name="connsiteX53" fmla="*/ 182076 w 582997"/>
                    <a:gd name="connsiteY53" fmla="*/ 365479 h 493128"/>
                    <a:gd name="connsiteX54" fmla="*/ 189497 w 582997"/>
                    <a:gd name="connsiteY54" fmla="*/ 425798 h 493128"/>
                    <a:gd name="connsiteX55" fmla="*/ 205926 w 582997"/>
                    <a:gd name="connsiteY55" fmla="*/ 453239 h 493128"/>
                    <a:gd name="connsiteX56" fmla="*/ 239556 w 582997"/>
                    <a:gd name="connsiteY56" fmla="*/ 466082 h 493128"/>
                    <a:gd name="connsiteX57" fmla="*/ 278762 w 582997"/>
                    <a:gd name="connsiteY57" fmla="*/ 457135 h 493128"/>
                    <a:gd name="connsiteX58" fmla="*/ 330236 w 582997"/>
                    <a:gd name="connsiteY58" fmla="*/ 426654 h 493128"/>
                    <a:gd name="connsiteX59" fmla="*/ 394837 w 582997"/>
                    <a:gd name="connsiteY59" fmla="*/ 367577 h 493128"/>
                    <a:gd name="connsiteX60" fmla="*/ 429582 w 582997"/>
                    <a:gd name="connsiteY60" fmla="*/ 327079 h 493128"/>
                    <a:gd name="connsiteX61" fmla="*/ 437517 w 582997"/>
                    <a:gd name="connsiteY61" fmla="*/ 317190 h 493128"/>
                    <a:gd name="connsiteX62" fmla="*/ 440777 w 582997"/>
                    <a:gd name="connsiteY62" fmla="*/ 315734 h 493128"/>
                    <a:gd name="connsiteX63" fmla="*/ 470418 w 582997"/>
                    <a:gd name="connsiteY63" fmla="*/ 314750 h 493128"/>
                    <a:gd name="connsiteX64" fmla="*/ 471791 w 582997"/>
                    <a:gd name="connsiteY64" fmla="*/ 315092 h 493128"/>
                    <a:gd name="connsiteX65" fmla="*/ 471276 w 582997"/>
                    <a:gd name="connsiteY65" fmla="*/ 316462 h 493128"/>
                    <a:gd name="connsiteX66" fmla="*/ 462182 w 582997"/>
                    <a:gd name="connsiteY66" fmla="*/ 328834 h 493128"/>
                    <a:gd name="connsiteX67" fmla="*/ 445024 w 582997"/>
                    <a:gd name="connsiteY67" fmla="*/ 350239 h 493128"/>
                    <a:gd name="connsiteX68" fmla="*/ 411180 w 582997"/>
                    <a:gd name="connsiteY68" fmla="*/ 388767 h 493128"/>
                    <a:gd name="connsiteX69" fmla="*/ 371716 w 582997"/>
                    <a:gd name="connsiteY69" fmla="*/ 426996 h 493128"/>
                    <a:gd name="connsiteX70" fmla="*/ 350054 w 582997"/>
                    <a:gd name="connsiteY70" fmla="*/ 444805 h 493128"/>
                    <a:gd name="connsiteX71" fmla="*/ 306901 w 582997"/>
                    <a:gd name="connsiteY71" fmla="*/ 473616 h 493128"/>
                    <a:gd name="connsiteX72" fmla="*/ 253625 w 582997"/>
                    <a:gd name="connsiteY72" fmla="*/ 492067 h 493128"/>
                    <a:gd name="connsiteX73" fmla="*/ 214419 w 582997"/>
                    <a:gd name="connsiteY73" fmla="*/ 489156 h 493128"/>
                    <a:gd name="connsiteX74" fmla="*/ 209743 w 582997"/>
                    <a:gd name="connsiteY74" fmla="*/ 487658 h 4931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</a:cxnLst>
                  <a:rect l="l" t="t" r="r" b="b"/>
                  <a:pathLst>
                    <a:path w="582997" h="493128">
                      <a:moveTo>
                        <a:pt x="194816" y="479181"/>
                      </a:moveTo>
                      <a:cubicBezTo>
                        <a:pt x="191942" y="476656"/>
                        <a:pt x="188982" y="474258"/>
                        <a:pt x="186237" y="471604"/>
                      </a:cubicBezTo>
                      <a:cubicBezTo>
                        <a:pt x="177724" y="463062"/>
                        <a:pt x="171065" y="452861"/>
                        <a:pt x="166677" y="441637"/>
                      </a:cubicBezTo>
                      <a:cubicBezTo>
                        <a:pt x="160558" y="425851"/>
                        <a:pt x="157024" y="409185"/>
                        <a:pt x="156210" y="392278"/>
                      </a:cubicBezTo>
                      <a:cubicBezTo>
                        <a:pt x="155374" y="379006"/>
                        <a:pt x="155374" y="365694"/>
                        <a:pt x="156210" y="352422"/>
                      </a:cubicBezTo>
                      <a:cubicBezTo>
                        <a:pt x="157598" y="332279"/>
                        <a:pt x="160364" y="312255"/>
                        <a:pt x="164489" y="292489"/>
                      </a:cubicBezTo>
                      <a:cubicBezTo>
                        <a:pt x="165561" y="287095"/>
                        <a:pt x="166934" y="281786"/>
                        <a:pt x="168092" y="276392"/>
                      </a:cubicBezTo>
                      <a:cubicBezTo>
                        <a:pt x="168650" y="273738"/>
                        <a:pt x="168564" y="273738"/>
                        <a:pt x="165990" y="272967"/>
                      </a:cubicBezTo>
                      <a:cubicBezTo>
                        <a:pt x="152778" y="268686"/>
                        <a:pt x="139481" y="265005"/>
                        <a:pt x="126398" y="260553"/>
                      </a:cubicBezTo>
                      <a:cubicBezTo>
                        <a:pt x="117819" y="257727"/>
                        <a:pt x="109926" y="254131"/>
                        <a:pt x="101776" y="250749"/>
                      </a:cubicBezTo>
                      <a:cubicBezTo>
                        <a:pt x="90337" y="246165"/>
                        <a:pt x="79254" y="240742"/>
                        <a:pt x="68618" y="234524"/>
                      </a:cubicBezTo>
                      <a:cubicBezTo>
                        <a:pt x="51096" y="224783"/>
                        <a:pt x="35311" y="212212"/>
                        <a:pt x="21905" y="197323"/>
                      </a:cubicBezTo>
                      <a:cubicBezTo>
                        <a:pt x="12645" y="186918"/>
                        <a:pt x="5909" y="174526"/>
                        <a:pt x="2216" y="161106"/>
                      </a:cubicBezTo>
                      <a:cubicBezTo>
                        <a:pt x="-1285" y="147485"/>
                        <a:pt x="-718" y="133140"/>
                        <a:pt x="3846" y="119837"/>
                      </a:cubicBezTo>
                      <a:cubicBezTo>
                        <a:pt x="8077" y="107686"/>
                        <a:pt x="14797" y="96547"/>
                        <a:pt x="23578" y="87131"/>
                      </a:cubicBezTo>
                      <a:cubicBezTo>
                        <a:pt x="27224" y="82850"/>
                        <a:pt x="31170" y="79168"/>
                        <a:pt x="35117" y="75401"/>
                      </a:cubicBezTo>
                      <a:cubicBezTo>
                        <a:pt x="36457" y="74419"/>
                        <a:pt x="36938" y="72642"/>
                        <a:pt x="36275" y="71120"/>
                      </a:cubicBezTo>
                      <a:cubicBezTo>
                        <a:pt x="33186" y="61527"/>
                        <a:pt x="32992" y="51240"/>
                        <a:pt x="35717" y="41538"/>
                      </a:cubicBezTo>
                      <a:cubicBezTo>
                        <a:pt x="40007" y="24422"/>
                        <a:pt x="52329" y="10433"/>
                        <a:pt x="68790" y="3994"/>
                      </a:cubicBezTo>
                      <a:cubicBezTo>
                        <a:pt x="77859" y="187"/>
                        <a:pt x="87826" y="-971"/>
                        <a:pt x="97529" y="655"/>
                      </a:cubicBezTo>
                      <a:cubicBezTo>
                        <a:pt x="125324" y="4561"/>
                        <a:pt x="145767" y="28646"/>
                        <a:pt x="145057" y="56650"/>
                      </a:cubicBezTo>
                      <a:cubicBezTo>
                        <a:pt x="144231" y="87375"/>
                        <a:pt x="118604" y="111614"/>
                        <a:pt x="87818" y="110790"/>
                      </a:cubicBezTo>
                      <a:cubicBezTo>
                        <a:pt x="80735" y="110600"/>
                        <a:pt x="73753" y="109065"/>
                        <a:pt x="67245" y="106267"/>
                      </a:cubicBezTo>
                      <a:cubicBezTo>
                        <a:pt x="62475" y="104077"/>
                        <a:pt x="58006" y="101286"/>
                        <a:pt x="53948" y="97962"/>
                      </a:cubicBezTo>
                      <a:cubicBezTo>
                        <a:pt x="51932" y="96378"/>
                        <a:pt x="51846" y="96420"/>
                        <a:pt x="49873" y="98218"/>
                      </a:cubicBezTo>
                      <a:cubicBezTo>
                        <a:pt x="41375" y="105926"/>
                        <a:pt x="34644" y="115374"/>
                        <a:pt x="30141" y="125916"/>
                      </a:cubicBezTo>
                      <a:cubicBezTo>
                        <a:pt x="26695" y="133851"/>
                        <a:pt x="25738" y="142642"/>
                        <a:pt x="27396" y="151131"/>
                      </a:cubicBezTo>
                      <a:cubicBezTo>
                        <a:pt x="29395" y="161146"/>
                        <a:pt x="33945" y="170479"/>
                        <a:pt x="40607" y="178230"/>
                      </a:cubicBezTo>
                      <a:cubicBezTo>
                        <a:pt x="47062" y="185863"/>
                        <a:pt x="54390" y="192717"/>
                        <a:pt x="62441" y="198650"/>
                      </a:cubicBezTo>
                      <a:cubicBezTo>
                        <a:pt x="73872" y="206949"/>
                        <a:pt x="86033" y="214199"/>
                        <a:pt x="98773" y="220312"/>
                      </a:cubicBezTo>
                      <a:cubicBezTo>
                        <a:pt x="106752" y="224378"/>
                        <a:pt x="115245" y="227461"/>
                        <a:pt x="123481" y="230971"/>
                      </a:cubicBezTo>
                      <a:cubicBezTo>
                        <a:pt x="136094" y="236091"/>
                        <a:pt x="148983" y="240507"/>
                        <a:pt x="162087" y="244199"/>
                      </a:cubicBezTo>
                      <a:cubicBezTo>
                        <a:pt x="171266" y="246939"/>
                        <a:pt x="180660" y="249037"/>
                        <a:pt x="189969" y="251391"/>
                      </a:cubicBezTo>
                      <a:cubicBezTo>
                        <a:pt x="221633" y="259135"/>
                        <a:pt x="253817" y="264586"/>
                        <a:pt x="286269" y="267702"/>
                      </a:cubicBezTo>
                      <a:cubicBezTo>
                        <a:pt x="297336" y="268900"/>
                        <a:pt x="308445" y="270270"/>
                        <a:pt x="319555" y="270784"/>
                      </a:cubicBezTo>
                      <a:cubicBezTo>
                        <a:pt x="340460" y="271726"/>
                        <a:pt x="361364" y="272368"/>
                        <a:pt x="382268" y="272711"/>
                      </a:cubicBezTo>
                      <a:cubicBezTo>
                        <a:pt x="405517" y="273096"/>
                        <a:pt x="428767" y="272240"/>
                        <a:pt x="451973" y="270442"/>
                      </a:cubicBezTo>
                      <a:cubicBezTo>
                        <a:pt x="470532" y="268986"/>
                        <a:pt x="489120" y="267117"/>
                        <a:pt x="507737" y="264834"/>
                      </a:cubicBezTo>
                      <a:cubicBezTo>
                        <a:pt x="523780" y="262864"/>
                        <a:pt x="539737" y="260082"/>
                        <a:pt x="555694" y="257427"/>
                      </a:cubicBezTo>
                      <a:cubicBezTo>
                        <a:pt x="561914" y="256443"/>
                        <a:pt x="568005" y="254859"/>
                        <a:pt x="574139" y="253489"/>
                      </a:cubicBezTo>
                      <a:cubicBezTo>
                        <a:pt x="575640" y="253147"/>
                        <a:pt x="576670" y="253489"/>
                        <a:pt x="577099" y="254945"/>
                      </a:cubicBezTo>
                      <a:lnTo>
                        <a:pt x="582761" y="276349"/>
                      </a:lnTo>
                      <a:cubicBezTo>
                        <a:pt x="583275" y="278147"/>
                        <a:pt x="582761" y="278790"/>
                        <a:pt x="580788" y="279175"/>
                      </a:cubicBezTo>
                      <a:cubicBezTo>
                        <a:pt x="560713" y="283456"/>
                        <a:pt x="540466" y="287095"/>
                        <a:pt x="520134" y="290048"/>
                      </a:cubicBezTo>
                      <a:cubicBezTo>
                        <a:pt x="499115" y="293131"/>
                        <a:pt x="478010" y="294843"/>
                        <a:pt x="456863" y="296641"/>
                      </a:cubicBezTo>
                      <a:cubicBezTo>
                        <a:pt x="436745" y="298354"/>
                        <a:pt x="416627" y="298953"/>
                        <a:pt x="396424" y="299295"/>
                      </a:cubicBezTo>
                      <a:cubicBezTo>
                        <a:pt x="387845" y="299295"/>
                        <a:pt x="379008" y="299295"/>
                        <a:pt x="370300" y="299295"/>
                      </a:cubicBezTo>
                      <a:cubicBezTo>
                        <a:pt x="362365" y="299295"/>
                        <a:pt x="354386" y="298782"/>
                        <a:pt x="346451" y="298396"/>
                      </a:cubicBezTo>
                      <a:cubicBezTo>
                        <a:pt x="335555" y="297925"/>
                        <a:pt x="324703" y="297540"/>
                        <a:pt x="313807" y="296812"/>
                      </a:cubicBezTo>
                      <a:cubicBezTo>
                        <a:pt x="282855" y="294728"/>
                        <a:pt x="252048" y="290868"/>
                        <a:pt x="221540" y="285254"/>
                      </a:cubicBezTo>
                      <a:cubicBezTo>
                        <a:pt x="213604" y="283798"/>
                        <a:pt x="205711" y="282086"/>
                        <a:pt x="197819" y="280502"/>
                      </a:cubicBezTo>
                      <a:cubicBezTo>
                        <a:pt x="194687" y="279860"/>
                        <a:pt x="194601" y="279817"/>
                        <a:pt x="193872" y="283070"/>
                      </a:cubicBezTo>
                      <a:cubicBezTo>
                        <a:pt x="189879" y="299636"/>
                        <a:pt x="186842" y="316416"/>
                        <a:pt x="184778" y="333329"/>
                      </a:cubicBezTo>
                      <a:cubicBezTo>
                        <a:pt x="183577" y="343989"/>
                        <a:pt x="182376" y="354734"/>
                        <a:pt x="182076" y="365479"/>
                      </a:cubicBezTo>
                      <a:cubicBezTo>
                        <a:pt x="180926" y="385866"/>
                        <a:pt x="183439" y="406294"/>
                        <a:pt x="189497" y="425798"/>
                      </a:cubicBezTo>
                      <a:cubicBezTo>
                        <a:pt x="192663" y="436139"/>
                        <a:pt x="198302" y="445556"/>
                        <a:pt x="205926" y="453239"/>
                      </a:cubicBezTo>
                      <a:cubicBezTo>
                        <a:pt x="214952" y="461854"/>
                        <a:pt x="227072" y="466482"/>
                        <a:pt x="239556" y="466082"/>
                      </a:cubicBezTo>
                      <a:cubicBezTo>
                        <a:pt x="253098" y="465787"/>
                        <a:pt x="266438" y="462743"/>
                        <a:pt x="278762" y="457135"/>
                      </a:cubicBezTo>
                      <a:cubicBezTo>
                        <a:pt x="297128" y="449159"/>
                        <a:pt x="314421" y="438920"/>
                        <a:pt x="330236" y="426654"/>
                      </a:cubicBezTo>
                      <a:cubicBezTo>
                        <a:pt x="353491" y="408922"/>
                        <a:pt x="375110" y="389151"/>
                        <a:pt x="394837" y="367577"/>
                      </a:cubicBezTo>
                      <a:cubicBezTo>
                        <a:pt x="406933" y="354520"/>
                        <a:pt x="418600" y="341078"/>
                        <a:pt x="429582" y="327079"/>
                      </a:cubicBezTo>
                      <a:cubicBezTo>
                        <a:pt x="432155" y="323740"/>
                        <a:pt x="434944" y="320529"/>
                        <a:pt x="437517" y="317190"/>
                      </a:cubicBezTo>
                      <a:cubicBezTo>
                        <a:pt x="438275" y="316170"/>
                        <a:pt x="439511" y="315619"/>
                        <a:pt x="440777" y="315734"/>
                      </a:cubicBezTo>
                      <a:lnTo>
                        <a:pt x="470418" y="314750"/>
                      </a:lnTo>
                      <a:cubicBezTo>
                        <a:pt x="470885" y="314823"/>
                        <a:pt x="471344" y="314938"/>
                        <a:pt x="471791" y="315092"/>
                      </a:cubicBezTo>
                      <a:cubicBezTo>
                        <a:pt x="471671" y="315567"/>
                        <a:pt x="471499" y="316026"/>
                        <a:pt x="471276" y="316462"/>
                      </a:cubicBezTo>
                      <a:cubicBezTo>
                        <a:pt x="468273" y="320743"/>
                        <a:pt x="465356" y="324810"/>
                        <a:pt x="462182" y="328834"/>
                      </a:cubicBezTo>
                      <a:cubicBezTo>
                        <a:pt x="456606" y="336026"/>
                        <a:pt x="450944" y="343090"/>
                        <a:pt x="445024" y="350239"/>
                      </a:cubicBezTo>
                      <a:cubicBezTo>
                        <a:pt x="434257" y="363595"/>
                        <a:pt x="422933" y="376481"/>
                        <a:pt x="411180" y="388767"/>
                      </a:cubicBezTo>
                      <a:cubicBezTo>
                        <a:pt x="398678" y="402165"/>
                        <a:pt x="385507" y="414924"/>
                        <a:pt x="371716" y="426996"/>
                      </a:cubicBezTo>
                      <a:cubicBezTo>
                        <a:pt x="364638" y="433118"/>
                        <a:pt x="357518" y="439197"/>
                        <a:pt x="350054" y="444805"/>
                      </a:cubicBezTo>
                      <a:cubicBezTo>
                        <a:pt x="336483" y="455570"/>
                        <a:pt x="322051" y="465206"/>
                        <a:pt x="306901" y="473616"/>
                      </a:cubicBezTo>
                      <a:cubicBezTo>
                        <a:pt x="290341" y="482784"/>
                        <a:pt x="272317" y="489026"/>
                        <a:pt x="253625" y="492067"/>
                      </a:cubicBezTo>
                      <a:cubicBezTo>
                        <a:pt x="240504" y="494062"/>
                        <a:pt x="227100" y="493067"/>
                        <a:pt x="214419" y="489156"/>
                      </a:cubicBezTo>
                      <a:lnTo>
                        <a:pt x="209743" y="487658"/>
                      </a:lnTo>
                      <a:close/>
                    </a:path>
                  </a:pathLst>
                </a:custGeom>
                <a:grpFill/>
                <a:ln w="42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20" name="Freihandform: Form 219">
                  <a:extLst>
                    <a:ext uri="{FF2B5EF4-FFF2-40B4-BE49-F238E27FC236}">
                      <a16:creationId xmlns:a16="http://schemas.microsoft.com/office/drawing/2014/main" id="{D59E6AFD-BA06-421A-84BE-3B704EA96792}"/>
                    </a:ext>
                  </a:extLst>
                </p:cNvPr>
                <p:cNvSpPr/>
                <p:nvPr/>
              </p:nvSpPr>
              <p:spPr>
                <a:xfrm>
                  <a:off x="6107631" y="2642958"/>
                  <a:ext cx="386230" cy="592917"/>
                </a:xfrm>
                <a:custGeom>
                  <a:avLst/>
                  <a:gdLst>
                    <a:gd name="connsiteX0" fmla="*/ 215779 w 386230"/>
                    <a:gd name="connsiteY0" fmla="*/ 549417 h 592917"/>
                    <a:gd name="connsiteX1" fmla="*/ 206342 w 386230"/>
                    <a:gd name="connsiteY1" fmla="*/ 559862 h 592917"/>
                    <a:gd name="connsiteX2" fmla="*/ 179060 w 386230"/>
                    <a:gd name="connsiteY2" fmla="*/ 576644 h 592917"/>
                    <a:gd name="connsiteX3" fmla="*/ 136165 w 386230"/>
                    <a:gd name="connsiteY3" fmla="*/ 579255 h 592917"/>
                    <a:gd name="connsiteX4" fmla="*/ 115618 w 386230"/>
                    <a:gd name="connsiteY4" fmla="*/ 574417 h 592917"/>
                    <a:gd name="connsiteX5" fmla="*/ 111672 w 386230"/>
                    <a:gd name="connsiteY5" fmla="*/ 575445 h 592917"/>
                    <a:gd name="connsiteX6" fmla="*/ 50460 w 386230"/>
                    <a:gd name="connsiteY6" fmla="*/ 588716 h 592917"/>
                    <a:gd name="connsiteX7" fmla="*/ 18675 w 386230"/>
                    <a:gd name="connsiteY7" fmla="*/ 519407 h 592917"/>
                    <a:gd name="connsiteX8" fmla="*/ 81988 w 386230"/>
                    <a:gd name="connsiteY8" fmla="*/ 483019 h 592917"/>
                    <a:gd name="connsiteX9" fmla="*/ 111672 w 386230"/>
                    <a:gd name="connsiteY9" fmla="*/ 499543 h 592917"/>
                    <a:gd name="connsiteX10" fmla="*/ 125999 w 386230"/>
                    <a:gd name="connsiteY10" fmla="*/ 546292 h 592917"/>
                    <a:gd name="connsiteX11" fmla="*/ 128015 w 386230"/>
                    <a:gd name="connsiteY11" fmla="*/ 550273 h 592917"/>
                    <a:gd name="connsiteX12" fmla="*/ 164176 w 386230"/>
                    <a:gd name="connsiteY12" fmla="*/ 553098 h 592917"/>
                    <a:gd name="connsiteX13" fmla="*/ 192872 w 386230"/>
                    <a:gd name="connsiteY13" fmla="*/ 535247 h 592917"/>
                    <a:gd name="connsiteX14" fmla="*/ 207500 w 386230"/>
                    <a:gd name="connsiteY14" fmla="*/ 498602 h 592917"/>
                    <a:gd name="connsiteX15" fmla="*/ 210073 w 386230"/>
                    <a:gd name="connsiteY15" fmla="*/ 456092 h 592917"/>
                    <a:gd name="connsiteX16" fmla="*/ 203296 w 386230"/>
                    <a:gd name="connsiteY16" fmla="*/ 401509 h 592917"/>
                    <a:gd name="connsiteX17" fmla="*/ 188283 w 386230"/>
                    <a:gd name="connsiteY17" fmla="*/ 343031 h 592917"/>
                    <a:gd name="connsiteX18" fmla="*/ 178417 w 386230"/>
                    <a:gd name="connsiteY18" fmla="*/ 313536 h 592917"/>
                    <a:gd name="connsiteX19" fmla="*/ 160701 w 386230"/>
                    <a:gd name="connsiteY19" fmla="*/ 269698 h 592917"/>
                    <a:gd name="connsiteX20" fmla="*/ 133463 w 386230"/>
                    <a:gd name="connsiteY20" fmla="*/ 212334 h 592917"/>
                    <a:gd name="connsiteX21" fmla="*/ 97516 w 386230"/>
                    <a:gd name="connsiteY21" fmla="*/ 149147 h 592917"/>
                    <a:gd name="connsiteX22" fmla="*/ 81045 w 386230"/>
                    <a:gd name="connsiteY22" fmla="*/ 123204 h 592917"/>
                    <a:gd name="connsiteX23" fmla="*/ 67747 w 386230"/>
                    <a:gd name="connsiteY23" fmla="*/ 103897 h 592917"/>
                    <a:gd name="connsiteX24" fmla="*/ 49130 w 386230"/>
                    <a:gd name="connsiteY24" fmla="*/ 77997 h 592917"/>
                    <a:gd name="connsiteX25" fmla="*/ 28626 w 386230"/>
                    <a:gd name="connsiteY25" fmla="*/ 52311 h 592917"/>
                    <a:gd name="connsiteX26" fmla="*/ 1817 w 386230"/>
                    <a:gd name="connsiteY26" fmla="*/ 21103 h 592917"/>
                    <a:gd name="connsiteX27" fmla="*/ 1817 w 386230"/>
                    <a:gd name="connsiteY27" fmla="*/ 15580 h 592917"/>
                    <a:gd name="connsiteX28" fmla="*/ 16230 w 386230"/>
                    <a:gd name="connsiteY28" fmla="*/ 1239 h 592917"/>
                    <a:gd name="connsiteX29" fmla="*/ 20219 w 386230"/>
                    <a:gd name="connsiteY29" fmla="*/ 1539 h 592917"/>
                    <a:gd name="connsiteX30" fmla="*/ 72208 w 386230"/>
                    <a:gd name="connsiteY30" fmla="*/ 64683 h 592917"/>
                    <a:gd name="connsiteX31" fmla="*/ 96530 w 386230"/>
                    <a:gd name="connsiteY31" fmla="*/ 99273 h 592917"/>
                    <a:gd name="connsiteX32" fmla="*/ 108240 w 386230"/>
                    <a:gd name="connsiteY32" fmla="*/ 116397 h 592917"/>
                    <a:gd name="connsiteX33" fmla="*/ 115232 w 386230"/>
                    <a:gd name="connsiteY33" fmla="*/ 127442 h 592917"/>
                    <a:gd name="connsiteX34" fmla="*/ 129516 w 386230"/>
                    <a:gd name="connsiteY34" fmla="*/ 150688 h 592917"/>
                    <a:gd name="connsiteX35" fmla="*/ 164604 w 386230"/>
                    <a:gd name="connsiteY35" fmla="*/ 214902 h 592917"/>
                    <a:gd name="connsiteX36" fmla="*/ 195275 w 386230"/>
                    <a:gd name="connsiteY36" fmla="*/ 283398 h 592917"/>
                    <a:gd name="connsiteX37" fmla="*/ 208701 w 386230"/>
                    <a:gd name="connsiteY37" fmla="*/ 319829 h 592917"/>
                    <a:gd name="connsiteX38" fmla="*/ 212990 w 386230"/>
                    <a:gd name="connsiteY38" fmla="*/ 332671 h 592917"/>
                    <a:gd name="connsiteX39" fmla="*/ 215693 w 386230"/>
                    <a:gd name="connsiteY39" fmla="*/ 334041 h 592917"/>
                    <a:gd name="connsiteX40" fmla="*/ 241687 w 386230"/>
                    <a:gd name="connsiteY40" fmla="*/ 325479 h 592917"/>
                    <a:gd name="connsiteX41" fmla="*/ 290888 w 386230"/>
                    <a:gd name="connsiteY41" fmla="*/ 304374 h 592917"/>
                    <a:gd name="connsiteX42" fmla="*/ 334985 w 386230"/>
                    <a:gd name="connsiteY42" fmla="*/ 274408 h 592917"/>
                    <a:gd name="connsiteX43" fmla="*/ 349226 w 386230"/>
                    <a:gd name="connsiteY43" fmla="*/ 258397 h 592917"/>
                    <a:gd name="connsiteX44" fmla="*/ 356732 w 386230"/>
                    <a:gd name="connsiteY44" fmla="*/ 211306 h 592917"/>
                    <a:gd name="connsiteX45" fmla="*/ 339574 w 386230"/>
                    <a:gd name="connsiteY45" fmla="*/ 185620 h 592917"/>
                    <a:gd name="connsiteX46" fmla="*/ 318813 w 386230"/>
                    <a:gd name="connsiteY46" fmla="*/ 168496 h 592917"/>
                    <a:gd name="connsiteX47" fmla="*/ 286427 w 386230"/>
                    <a:gd name="connsiteY47" fmla="*/ 149917 h 592917"/>
                    <a:gd name="connsiteX48" fmla="*/ 245076 w 386230"/>
                    <a:gd name="connsiteY48" fmla="*/ 133264 h 592917"/>
                    <a:gd name="connsiteX49" fmla="*/ 148433 w 386230"/>
                    <a:gd name="connsiteY49" fmla="*/ 109676 h 592917"/>
                    <a:gd name="connsiteX50" fmla="*/ 125613 w 386230"/>
                    <a:gd name="connsiteY50" fmla="*/ 106251 h 592917"/>
                    <a:gd name="connsiteX51" fmla="*/ 121709 w 386230"/>
                    <a:gd name="connsiteY51" fmla="*/ 103683 h 592917"/>
                    <a:gd name="connsiteX52" fmla="*/ 106524 w 386230"/>
                    <a:gd name="connsiteY52" fmla="*/ 79153 h 592917"/>
                    <a:gd name="connsiteX53" fmla="*/ 105881 w 386230"/>
                    <a:gd name="connsiteY53" fmla="*/ 77526 h 592917"/>
                    <a:gd name="connsiteX54" fmla="*/ 107640 w 386230"/>
                    <a:gd name="connsiteY54" fmla="*/ 77184 h 592917"/>
                    <a:gd name="connsiteX55" fmla="*/ 136680 w 386230"/>
                    <a:gd name="connsiteY55" fmla="*/ 80822 h 592917"/>
                    <a:gd name="connsiteX56" fmla="*/ 195661 w 386230"/>
                    <a:gd name="connsiteY56" fmla="*/ 91739 h 592917"/>
                    <a:gd name="connsiteX57" fmla="*/ 258073 w 386230"/>
                    <a:gd name="connsiteY57" fmla="*/ 109590 h 592917"/>
                    <a:gd name="connsiteX58" fmla="*/ 287800 w 386230"/>
                    <a:gd name="connsiteY58" fmla="*/ 121149 h 592917"/>
                    <a:gd name="connsiteX59" fmla="*/ 301998 w 386230"/>
                    <a:gd name="connsiteY59" fmla="*/ 127999 h 592917"/>
                    <a:gd name="connsiteX60" fmla="*/ 319414 w 386230"/>
                    <a:gd name="connsiteY60" fmla="*/ 137117 h 592917"/>
                    <a:gd name="connsiteX61" fmla="*/ 363038 w 386230"/>
                    <a:gd name="connsiteY61" fmla="*/ 171750 h 592917"/>
                    <a:gd name="connsiteX62" fmla="*/ 382684 w 386230"/>
                    <a:gd name="connsiteY62" fmla="*/ 204970 h 592917"/>
                    <a:gd name="connsiteX63" fmla="*/ 381869 w 386230"/>
                    <a:gd name="connsiteY63" fmla="*/ 252061 h 592917"/>
                    <a:gd name="connsiteX64" fmla="*/ 379853 w 386230"/>
                    <a:gd name="connsiteY64" fmla="*/ 257284 h 592917"/>
                    <a:gd name="connsiteX65" fmla="*/ 371274 w 386230"/>
                    <a:gd name="connsiteY65" fmla="*/ 272738 h 592917"/>
                    <a:gd name="connsiteX66" fmla="*/ 367456 w 386230"/>
                    <a:gd name="connsiteY66" fmla="*/ 277832 h 592917"/>
                    <a:gd name="connsiteX67" fmla="*/ 351671 w 386230"/>
                    <a:gd name="connsiteY67" fmla="*/ 294571 h 592917"/>
                    <a:gd name="connsiteX68" fmla="*/ 302513 w 386230"/>
                    <a:gd name="connsiteY68" fmla="*/ 327962 h 592917"/>
                    <a:gd name="connsiteX69" fmla="*/ 261033 w 386230"/>
                    <a:gd name="connsiteY69" fmla="*/ 346413 h 592917"/>
                    <a:gd name="connsiteX70" fmla="*/ 224186 w 386230"/>
                    <a:gd name="connsiteY70" fmla="*/ 358785 h 592917"/>
                    <a:gd name="connsiteX71" fmla="*/ 221870 w 386230"/>
                    <a:gd name="connsiteY71" fmla="*/ 363066 h 592917"/>
                    <a:gd name="connsiteX72" fmla="*/ 232894 w 386230"/>
                    <a:gd name="connsiteY72" fmla="*/ 415722 h 592917"/>
                    <a:gd name="connsiteX73" fmla="*/ 235811 w 386230"/>
                    <a:gd name="connsiteY73" fmla="*/ 488499 h 592917"/>
                    <a:gd name="connsiteX74" fmla="*/ 225516 w 386230"/>
                    <a:gd name="connsiteY74" fmla="*/ 530795 h 592917"/>
                    <a:gd name="connsiteX75" fmla="*/ 225516 w 386230"/>
                    <a:gd name="connsiteY75" fmla="*/ 532635 h 5929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</a:cxnLst>
                  <a:rect l="l" t="t" r="r" b="b"/>
                  <a:pathLst>
                    <a:path w="386230" h="592917">
                      <a:moveTo>
                        <a:pt x="215779" y="549417"/>
                      </a:moveTo>
                      <a:cubicBezTo>
                        <a:pt x="212647" y="552927"/>
                        <a:pt x="209645" y="556523"/>
                        <a:pt x="206342" y="559862"/>
                      </a:cubicBezTo>
                      <a:cubicBezTo>
                        <a:pt x="198747" y="567583"/>
                        <a:pt x="189384" y="573342"/>
                        <a:pt x="179060" y="576644"/>
                      </a:cubicBezTo>
                      <a:cubicBezTo>
                        <a:pt x="165213" y="581117"/>
                        <a:pt x="150455" y="582016"/>
                        <a:pt x="136165" y="579255"/>
                      </a:cubicBezTo>
                      <a:cubicBezTo>
                        <a:pt x="129259" y="578013"/>
                        <a:pt x="122438" y="576215"/>
                        <a:pt x="115618" y="574417"/>
                      </a:cubicBezTo>
                      <a:cubicBezTo>
                        <a:pt x="114221" y="573828"/>
                        <a:pt x="112602" y="574249"/>
                        <a:pt x="111672" y="575445"/>
                      </a:cubicBezTo>
                      <a:cubicBezTo>
                        <a:pt x="96014" y="592133"/>
                        <a:pt x="71645" y="597417"/>
                        <a:pt x="50460" y="588716"/>
                      </a:cubicBezTo>
                      <a:cubicBezTo>
                        <a:pt x="23107" y="577699"/>
                        <a:pt x="9151" y="547268"/>
                        <a:pt x="18675" y="519407"/>
                      </a:cubicBezTo>
                      <a:cubicBezTo>
                        <a:pt x="27662" y="493159"/>
                        <a:pt x="54729" y="477603"/>
                        <a:pt x="81988" y="483019"/>
                      </a:cubicBezTo>
                      <a:cubicBezTo>
                        <a:pt x="93420" y="485160"/>
                        <a:pt x="103840" y="490961"/>
                        <a:pt x="111672" y="499543"/>
                      </a:cubicBezTo>
                      <a:cubicBezTo>
                        <a:pt x="123600" y="511980"/>
                        <a:pt x="128915" y="529324"/>
                        <a:pt x="125999" y="546292"/>
                      </a:cubicBezTo>
                      <a:cubicBezTo>
                        <a:pt x="125527" y="549331"/>
                        <a:pt x="125570" y="549588"/>
                        <a:pt x="128015" y="550273"/>
                      </a:cubicBezTo>
                      <a:cubicBezTo>
                        <a:pt x="139685" y="554003"/>
                        <a:pt x="152066" y="554971"/>
                        <a:pt x="164176" y="553098"/>
                      </a:cubicBezTo>
                      <a:cubicBezTo>
                        <a:pt x="175667" y="551005"/>
                        <a:pt x="185929" y="544622"/>
                        <a:pt x="192872" y="535247"/>
                      </a:cubicBezTo>
                      <a:cubicBezTo>
                        <a:pt x="200616" y="524376"/>
                        <a:pt x="205632" y="511809"/>
                        <a:pt x="207500" y="498602"/>
                      </a:cubicBezTo>
                      <a:cubicBezTo>
                        <a:pt x="209984" y="484577"/>
                        <a:pt x="210848" y="470313"/>
                        <a:pt x="210073" y="456092"/>
                      </a:cubicBezTo>
                      <a:cubicBezTo>
                        <a:pt x="209190" y="437754"/>
                        <a:pt x="206925" y="419508"/>
                        <a:pt x="203296" y="401509"/>
                      </a:cubicBezTo>
                      <a:cubicBezTo>
                        <a:pt x="199328" y="381766"/>
                        <a:pt x="194317" y="362246"/>
                        <a:pt x="188283" y="343031"/>
                      </a:cubicBezTo>
                      <a:cubicBezTo>
                        <a:pt x="185237" y="333100"/>
                        <a:pt x="182106" y="323211"/>
                        <a:pt x="178417" y="313536"/>
                      </a:cubicBezTo>
                      <a:cubicBezTo>
                        <a:pt x="172797" y="298809"/>
                        <a:pt x="166792" y="284211"/>
                        <a:pt x="160701" y="269698"/>
                      </a:cubicBezTo>
                      <a:cubicBezTo>
                        <a:pt x="152508" y="250134"/>
                        <a:pt x="143243" y="231170"/>
                        <a:pt x="133463" y="212334"/>
                      </a:cubicBezTo>
                      <a:cubicBezTo>
                        <a:pt x="122224" y="190929"/>
                        <a:pt x="110342" y="169738"/>
                        <a:pt x="97516" y="149147"/>
                      </a:cubicBezTo>
                      <a:cubicBezTo>
                        <a:pt x="92069" y="140585"/>
                        <a:pt x="86664" y="131766"/>
                        <a:pt x="81045" y="123204"/>
                      </a:cubicBezTo>
                      <a:cubicBezTo>
                        <a:pt x="76755" y="116654"/>
                        <a:pt x="72251" y="110361"/>
                        <a:pt x="67747" y="103897"/>
                      </a:cubicBezTo>
                      <a:cubicBezTo>
                        <a:pt x="61613" y="95335"/>
                        <a:pt x="55522" y="86473"/>
                        <a:pt x="49130" y="77997"/>
                      </a:cubicBezTo>
                      <a:cubicBezTo>
                        <a:pt x="42739" y="69521"/>
                        <a:pt x="35661" y="60531"/>
                        <a:pt x="28626" y="52311"/>
                      </a:cubicBezTo>
                      <a:cubicBezTo>
                        <a:pt x="19833" y="41780"/>
                        <a:pt x="10782" y="31506"/>
                        <a:pt x="1817" y="21103"/>
                      </a:cubicBezTo>
                      <a:cubicBezTo>
                        <a:pt x="-585" y="18320"/>
                        <a:pt x="-757" y="18192"/>
                        <a:pt x="1817" y="15580"/>
                      </a:cubicBezTo>
                      <a:cubicBezTo>
                        <a:pt x="6535" y="10657"/>
                        <a:pt x="11340" y="5905"/>
                        <a:pt x="16230" y="1239"/>
                      </a:cubicBezTo>
                      <a:cubicBezTo>
                        <a:pt x="18160" y="-602"/>
                        <a:pt x="18417" y="-473"/>
                        <a:pt x="20219" y="1539"/>
                      </a:cubicBezTo>
                      <a:cubicBezTo>
                        <a:pt x="38644" y="21664"/>
                        <a:pt x="55998" y="42741"/>
                        <a:pt x="72208" y="64683"/>
                      </a:cubicBezTo>
                      <a:cubicBezTo>
                        <a:pt x="80530" y="76070"/>
                        <a:pt x="88465" y="87715"/>
                        <a:pt x="96530" y="99273"/>
                      </a:cubicBezTo>
                      <a:cubicBezTo>
                        <a:pt x="100519" y="104924"/>
                        <a:pt x="104380" y="110661"/>
                        <a:pt x="108240" y="116397"/>
                      </a:cubicBezTo>
                      <a:cubicBezTo>
                        <a:pt x="110642" y="119993"/>
                        <a:pt x="112916" y="123718"/>
                        <a:pt x="115232" y="127442"/>
                      </a:cubicBezTo>
                      <a:cubicBezTo>
                        <a:pt x="120036" y="135148"/>
                        <a:pt x="124841" y="142853"/>
                        <a:pt x="129516" y="150688"/>
                      </a:cubicBezTo>
                      <a:cubicBezTo>
                        <a:pt x="142084" y="171579"/>
                        <a:pt x="153666" y="192984"/>
                        <a:pt x="164604" y="214902"/>
                      </a:cubicBezTo>
                      <a:cubicBezTo>
                        <a:pt x="175543" y="236821"/>
                        <a:pt x="186052" y="260109"/>
                        <a:pt x="195275" y="283398"/>
                      </a:cubicBezTo>
                      <a:cubicBezTo>
                        <a:pt x="200079" y="295427"/>
                        <a:pt x="204326" y="307671"/>
                        <a:pt x="208701" y="319829"/>
                      </a:cubicBezTo>
                      <a:cubicBezTo>
                        <a:pt x="210245" y="324109"/>
                        <a:pt x="211618" y="328390"/>
                        <a:pt x="212990" y="332671"/>
                      </a:cubicBezTo>
                      <a:cubicBezTo>
                        <a:pt x="213462" y="334384"/>
                        <a:pt x="214234" y="334512"/>
                        <a:pt x="215693" y="334041"/>
                      </a:cubicBezTo>
                      <a:cubicBezTo>
                        <a:pt x="224272" y="331173"/>
                        <a:pt x="233108" y="328519"/>
                        <a:pt x="241687" y="325479"/>
                      </a:cubicBezTo>
                      <a:cubicBezTo>
                        <a:pt x="258589" y="319670"/>
                        <a:pt x="275034" y="312616"/>
                        <a:pt x="290888" y="304374"/>
                      </a:cubicBezTo>
                      <a:cubicBezTo>
                        <a:pt x="306819" y="296323"/>
                        <a:pt x="321641" y="286250"/>
                        <a:pt x="334985" y="274408"/>
                      </a:cubicBezTo>
                      <a:cubicBezTo>
                        <a:pt x="340331" y="269633"/>
                        <a:pt x="345110" y="264261"/>
                        <a:pt x="349226" y="258397"/>
                      </a:cubicBezTo>
                      <a:cubicBezTo>
                        <a:pt x="359220" y="243927"/>
                        <a:pt x="363167" y="228430"/>
                        <a:pt x="356732" y="211306"/>
                      </a:cubicBezTo>
                      <a:cubicBezTo>
                        <a:pt x="352928" y="201614"/>
                        <a:pt x="347076" y="192853"/>
                        <a:pt x="339574" y="185620"/>
                      </a:cubicBezTo>
                      <a:cubicBezTo>
                        <a:pt x="333184" y="179300"/>
                        <a:pt x="326236" y="173569"/>
                        <a:pt x="318813" y="168496"/>
                      </a:cubicBezTo>
                      <a:cubicBezTo>
                        <a:pt x="308542" y="161435"/>
                        <a:pt x="297711" y="155221"/>
                        <a:pt x="286427" y="149917"/>
                      </a:cubicBezTo>
                      <a:cubicBezTo>
                        <a:pt x="272998" y="143527"/>
                        <a:pt x="259188" y="137966"/>
                        <a:pt x="245076" y="133264"/>
                      </a:cubicBezTo>
                      <a:cubicBezTo>
                        <a:pt x="213561" y="122782"/>
                        <a:pt x="181238" y="114893"/>
                        <a:pt x="148433" y="109676"/>
                      </a:cubicBezTo>
                      <a:cubicBezTo>
                        <a:pt x="140841" y="108435"/>
                        <a:pt x="133205" y="107321"/>
                        <a:pt x="125613" y="106251"/>
                      </a:cubicBezTo>
                      <a:cubicBezTo>
                        <a:pt x="123948" y="106144"/>
                        <a:pt x="122464" y="105167"/>
                        <a:pt x="121709" y="103683"/>
                      </a:cubicBezTo>
                      <a:cubicBezTo>
                        <a:pt x="116733" y="95463"/>
                        <a:pt x="111586" y="87329"/>
                        <a:pt x="106524" y="79153"/>
                      </a:cubicBezTo>
                      <a:cubicBezTo>
                        <a:pt x="106259" y="78632"/>
                        <a:pt x="106043" y="78087"/>
                        <a:pt x="105881" y="77526"/>
                      </a:cubicBezTo>
                      <a:cubicBezTo>
                        <a:pt x="106448" y="77330"/>
                        <a:pt x="107040" y="77215"/>
                        <a:pt x="107640" y="77184"/>
                      </a:cubicBezTo>
                      <a:cubicBezTo>
                        <a:pt x="117334" y="78382"/>
                        <a:pt x="127028" y="79410"/>
                        <a:pt x="136680" y="80822"/>
                      </a:cubicBezTo>
                      <a:cubicBezTo>
                        <a:pt x="156454" y="83733"/>
                        <a:pt x="176186" y="87201"/>
                        <a:pt x="195661" y="91739"/>
                      </a:cubicBezTo>
                      <a:cubicBezTo>
                        <a:pt x="216808" y="96420"/>
                        <a:pt x="237651" y="102382"/>
                        <a:pt x="258073" y="109590"/>
                      </a:cubicBezTo>
                      <a:cubicBezTo>
                        <a:pt x="268082" y="113272"/>
                        <a:pt x="277991" y="117125"/>
                        <a:pt x="287800" y="121149"/>
                      </a:cubicBezTo>
                      <a:cubicBezTo>
                        <a:pt x="292647" y="123161"/>
                        <a:pt x="297322" y="125644"/>
                        <a:pt x="301998" y="127999"/>
                      </a:cubicBezTo>
                      <a:cubicBezTo>
                        <a:pt x="307832" y="130952"/>
                        <a:pt x="313794" y="133778"/>
                        <a:pt x="319414" y="137117"/>
                      </a:cubicBezTo>
                      <a:cubicBezTo>
                        <a:pt x="335640" y="146373"/>
                        <a:pt x="350352" y="158052"/>
                        <a:pt x="363038" y="171750"/>
                      </a:cubicBezTo>
                      <a:cubicBezTo>
                        <a:pt x="371813" y="181352"/>
                        <a:pt x="378502" y="192663"/>
                        <a:pt x="382684" y="204970"/>
                      </a:cubicBezTo>
                      <a:cubicBezTo>
                        <a:pt x="387611" y="220329"/>
                        <a:pt x="387325" y="236881"/>
                        <a:pt x="381869" y="252061"/>
                      </a:cubicBezTo>
                      <a:cubicBezTo>
                        <a:pt x="381269" y="253816"/>
                        <a:pt x="380539" y="255528"/>
                        <a:pt x="379853" y="257284"/>
                      </a:cubicBezTo>
                      <a:lnTo>
                        <a:pt x="371274" y="272738"/>
                      </a:lnTo>
                      <a:cubicBezTo>
                        <a:pt x="369987" y="274450"/>
                        <a:pt x="368872" y="276248"/>
                        <a:pt x="367456" y="277832"/>
                      </a:cubicBezTo>
                      <a:cubicBezTo>
                        <a:pt x="362266" y="283483"/>
                        <a:pt x="357290" y="289391"/>
                        <a:pt x="351671" y="294571"/>
                      </a:cubicBezTo>
                      <a:cubicBezTo>
                        <a:pt x="336851" y="307841"/>
                        <a:pt x="320319" y="319071"/>
                        <a:pt x="302513" y="327962"/>
                      </a:cubicBezTo>
                      <a:cubicBezTo>
                        <a:pt x="289103" y="335007"/>
                        <a:pt x="275247" y="341171"/>
                        <a:pt x="261033" y="346413"/>
                      </a:cubicBezTo>
                      <a:cubicBezTo>
                        <a:pt x="248851" y="350694"/>
                        <a:pt x="236497" y="354718"/>
                        <a:pt x="224186" y="358785"/>
                      </a:cubicBezTo>
                      <a:cubicBezTo>
                        <a:pt x="221226" y="359770"/>
                        <a:pt x="221055" y="359941"/>
                        <a:pt x="221870" y="363066"/>
                      </a:cubicBezTo>
                      <a:cubicBezTo>
                        <a:pt x="226159" y="380490"/>
                        <a:pt x="230191" y="397956"/>
                        <a:pt x="232894" y="415722"/>
                      </a:cubicBezTo>
                      <a:cubicBezTo>
                        <a:pt x="236887" y="439766"/>
                        <a:pt x="237867" y="464213"/>
                        <a:pt x="235811" y="488499"/>
                      </a:cubicBezTo>
                      <a:cubicBezTo>
                        <a:pt x="234820" y="503080"/>
                        <a:pt x="231338" y="517385"/>
                        <a:pt x="225516" y="530795"/>
                      </a:cubicBezTo>
                      <a:cubicBezTo>
                        <a:pt x="225424" y="531405"/>
                        <a:pt x="225424" y="532025"/>
                        <a:pt x="225516" y="532635"/>
                      </a:cubicBezTo>
                      <a:close/>
                    </a:path>
                  </a:pathLst>
                </a:custGeom>
                <a:grpFill/>
                <a:ln w="42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21" name="Freihandform: Form 220">
                  <a:extLst>
                    <a:ext uri="{FF2B5EF4-FFF2-40B4-BE49-F238E27FC236}">
                      <a16:creationId xmlns:a16="http://schemas.microsoft.com/office/drawing/2014/main" id="{A1DDB82E-6AAB-49F1-BDD2-BAF03C4681C9}"/>
                    </a:ext>
                  </a:extLst>
                </p:cNvPr>
                <p:cNvSpPr/>
                <p:nvPr/>
              </p:nvSpPr>
              <p:spPr>
                <a:xfrm>
                  <a:off x="5852640" y="2520522"/>
                  <a:ext cx="527022" cy="452700"/>
                </a:xfrm>
                <a:custGeom>
                  <a:avLst/>
                  <a:gdLst>
                    <a:gd name="connsiteX0" fmla="*/ 106031 w 527022"/>
                    <a:gd name="connsiteY0" fmla="*/ 275564 h 452700"/>
                    <a:gd name="connsiteX1" fmla="*/ 117356 w 527022"/>
                    <a:gd name="connsiteY1" fmla="*/ 255443 h 452700"/>
                    <a:gd name="connsiteX2" fmla="*/ 132412 w 527022"/>
                    <a:gd name="connsiteY2" fmla="*/ 231256 h 452700"/>
                    <a:gd name="connsiteX3" fmla="*/ 141634 w 527022"/>
                    <a:gd name="connsiteY3" fmla="*/ 216658 h 452700"/>
                    <a:gd name="connsiteX4" fmla="*/ 155661 w 527022"/>
                    <a:gd name="connsiteY4" fmla="*/ 195981 h 452700"/>
                    <a:gd name="connsiteX5" fmla="*/ 165999 w 527022"/>
                    <a:gd name="connsiteY5" fmla="*/ 181169 h 452700"/>
                    <a:gd name="connsiteX6" fmla="*/ 177924 w 527022"/>
                    <a:gd name="connsiteY6" fmla="*/ 165115 h 452700"/>
                    <a:gd name="connsiteX7" fmla="*/ 195082 w 527022"/>
                    <a:gd name="connsiteY7" fmla="*/ 143710 h 452700"/>
                    <a:gd name="connsiteX8" fmla="*/ 219747 w 527022"/>
                    <a:gd name="connsiteY8" fmla="*/ 114771 h 452700"/>
                    <a:gd name="connsiteX9" fmla="*/ 222878 w 527022"/>
                    <a:gd name="connsiteY9" fmla="*/ 111389 h 452700"/>
                    <a:gd name="connsiteX10" fmla="*/ 222621 w 527022"/>
                    <a:gd name="connsiteY10" fmla="*/ 108264 h 452700"/>
                    <a:gd name="connsiteX11" fmla="*/ 205463 w 527022"/>
                    <a:gd name="connsiteY11" fmla="*/ 92810 h 452700"/>
                    <a:gd name="connsiteX12" fmla="*/ 181656 w 527022"/>
                    <a:gd name="connsiteY12" fmla="*/ 73417 h 452700"/>
                    <a:gd name="connsiteX13" fmla="*/ 166171 w 527022"/>
                    <a:gd name="connsiteY13" fmla="*/ 62672 h 452700"/>
                    <a:gd name="connsiteX14" fmla="*/ 134900 w 527022"/>
                    <a:gd name="connsiteY14" fmla="*/ 44520 h 452700"/>
                    <a:gd name="connsiteX15" fmla="*/ 84026 w 527022"/>
                    <a:gd name="connsiteY15" fmla="*/ 30736 h 452700"/>
                    <a:gd name="connsiteX16" fmla="*/ 56487 w 527022"/>
                    <a:gd name="connsiteY16" fmla="*/ 38142 h 452700"/>
                    <a:gd name="connsiteX17" fmla="*/ 42847 w 527022"/>
                    <a:gd name="connsiteY17" fmla="*/ 51413 h 452700"/>
                    <a:gd name="connsiteX18" fmla="*/ 29034 w 527022"/>
                    <a:gd name="connsiteY18" fmla="*/ 89000 h 452700"/>
                    <a:gd name="connsiteX19" fmla="*/ 29377 w 527022"/>
                    <a:gd name="connsiteY19" fmla="*/ 156810 h 452700"/>
                    <a:gd name="connsiteX20" fmla="*/ 39930 w 527022"/>
                    <a:gd name="connsiteY20" fmla="*/ 210793 h 452700"/>
                    <a:gd name="connsiteX21" fmla="*/ 57603 w 527022"/>
                    <a:gd name="connsiteY21" fmla="*/ 268115 h 452700"/>
                    <a:gd name="connsiteX22" fmla="*/ 69828 w 527022"/>
                    <a:gd name="connsiteY22" fmla="*/ 299666 h 452700"/>
                    <a:gd name="connsiteX23" fmla="*/ 69356 w 527022"/>
                    <a:gd name="connsiteY23" fmla="*/ 305402 h 452700"/>
                    <a:gd name="connsiteX24" fmla="*/ 61978 w 527022"/>
                    <a:gd name="connsiteY24" fmla="*/ 318245 h 452700"/>
                    <a:gd name="connsiteX25" fmla="*/ 56144 w 527022"/>
                    <a:gd name="connsiteY25" fmla="*/ 329975 h 452700"/>
                    <a:gd name="connsiteX26" fmla="*/ 54686 w 527022"/>
                    <a:gd name="connsiteY26" fmla="*/ 331516 h 452700"/>
                    <a:gd name="connsiteX27" fmla="*/ 53656 w 527022"/>
                    <a:gd name="connsiteY27" fmla="*/ 329975 h 452700"/>
                    <a:gd name="connsiteX28" fmla="*/ 44219 w 527022"/>
                    <a:gd name="connsiteY28" fmla="*/ 307671 h 452700"/>
                    <a:gd name="connsiteX29" fmla="*/ 20069 w 527022"/>
                    <a:gd name="connsiteY29" fmla="*/ 239176 h 452700"/>
                    <a:gd name="connsiteX30" fmla="*/ 1453 w 527022"/>
                    <a:gd name="connsiteY30" fmla="*/ 148034 h 452700"/>
                    <a:gd name="connsiteX31" fmla="*/ 2525 w 527022"/>
                    <a:gd name="connsiteY31" fmla="*/ 84890 h 452700"/>
                    <a:gd name="connsiteX32" fmla="*/ 12391 w 527022"/>
                    <a:gd name="connsiteY32" fmla="*/ 51113 h 452700"/>
                    <a:gd name="connsiteX33" fmla="*/ 32552 w 527022"/>
                    <a:gd name="connsiteY33" fmla="*/ 22859 h 452700"/>
                    <a:gd name="connsiteX34" fmla="*/ 79179 w 527022"/>
                    <a:gd name="connsiteY34" fmla="*/ 4194 h 452700"/>
                    <a:gd name="connsiteX35" fmla="*/ 126921 w 527022"/>
                    <a:gd name="connsiteY35" fmla="*/ 12370 h 452700"/>
                    <a:gd name="connsiteX36" fmla="*/ 164112 w 527022"/>
                    <a:gd name="connsiteY36" fmla="*/ 29922 h 452700"/>
                    <a:gd name="connsiteX37" fmla="*/ 180884 w 527022"/>
                    <a:gd name="connsiteY37" fmla="*/ 40796 h 452700"/>
                    <a:gd name="connsiteX38" fmla="*/ 199414 w 527022"/>
                    <a:gd name="connsiteY38" fmla="*/ 53639 h 452700"/>
                    <a:gd name="connsiteX39" fmla="*/ 233044 w 527022"/>
                    <a:gd name="connsiteY39" fmla="*/ 81636 h 452700"/>
                    <a:gd name="connsiteX40" fmla="*/ 240465 w 527022"/>
                    <a:gd name="connsiteY40" fmla="*/ 88700 h 452700"/>
                    <a:gd name="connsiteX41" fmla="*/ 244454 w 527022"/>
                    <a:gd name="connsiteY41" fmla="*/ 88700 h 452700"/>
                    <a:gd name="connsiteX42" fmla="*/ 264658 w 527022"/>
                    <a:gd name="connsiteY42" fmla="*/ 69778 h 452700"/>
                    <a:gd name="connsiteX43" fmla="*/ 306824 w 527022"/>
                    <a:gd name="connsiteY43" fmla="*/ 36386 h 452700"/>
                    <a:gd name="connsiteX44" fmla="*/ 344701 w 527022"/>
                    <a:gd name="connsiteY44" fmla="*/ 14339 h 452700"/>
                    <a:gd name="connsiteX45" fmla="*/ 397591 w 527022"/>
                    <a:gd name="connsiteY45" fmla="*/ 84 h 452700"/>
                    <a:gd name="connsiteX46" fmla="*/ 444046 w 527022"/>
                    <a:gd name="connsiteY46" fmla="*/ 12413 h 452700"/>
                    <a:gd name="connsiteX47" fmla="*/ 465494 w 527022"/>
                    <a:gd name="connsiteY47" fmla="*/ 34546 h 452700"/>
                    <a:gd name="connsiteX48" fmla="*/ 481279 w 527022"/>
                    <a:gd name="connsiteY48" fmla="*/ 74401 h 452700"/>
                    <a:gd name="connsiteX49" fmla="*/ 484110 w 527022"/>
                    <a:gd name="connsiteY49" fmla="*/ 77270 h 452700"/>
                    <a:gd name="connsiteX50" fmla="*/ 524861 w 527022"/>
                    <a:gd name="connsiteY50" fmla="*/ 116269 h 452700"/>
                    <a:gd name="connsiteX51" fmla="*/ 523788 w 527022"/>
                    <a:gd name="connsiteY51" fmla="*/ 148805 h 452700"/>
                    <a:gd name="connsiteX52" fmla="*/ 516024 w 527022"/>
                    <a:gd name="connsiteY52" fmla="*/ 164173 h 452700"/>
                    <a:gd name="connsiteX53" fmla="*/ 493419 w 527022"/>
                    <a:gd name="connsiteY53" fmla="*/ 182110 h 452700"/>
                    <a:gd name="connsiteX54" fmla="*/ 442759 w 527022"/>
                    <a:gd name="connsiteY54" fmla="*/ 178686 h 452700"/>
                    <a:gd name="connsiteX55" fmla="*/ 416422 w 527022"/>
                    <a:gd name="connsiteY55" fmla="*/ 139044 h 452700"/>
                    <a:gd name="connsiteX56" fmla="*/ 452110 w 527022"/>
                    <a:gd name="connsiteY56" fmla="*/ 79110 h 452700"/>
                    <a:gd name="connsiteX57" fmla="*/ 454084 w 527022"/>
                    <a:gd name="connsiteY57" fmla="*/ 75643 h 452700"/>
                    <a:gd name="connsiteX58" fmla="*/ 439070 w 527022"/>
                    <a:gd name="connsiteY58" fmla="*/ 43536 h 452700"/>
                    <a:gd name="connsiteX59" fmla="*/ 407628 w 527022"/>
                    <a:gd name="connsiteY59" fmla="*/ 26883 h 452700"/>
                    <a:gd name="connsiteX60" fmla="*/ 374556 w 527022"/>
                    <a:gd name="connsiteY60" fmla="*/ 31164 h 452700"/>
                    <a:gd name="connsiteX61" fmla="*/ 338567 w 527022"/>
                    <a:gd name="connsiteY61" fmla="*/ 47560 h 452700"/>
                    <a:gd name="connsiteX62" fmla="*/ 285977 w 527022"/>
                    <a:gd name="connsiteY62" fmla="*/ 86088 h 452700"/>
                    <a:gd name="connsiteX63" fmla="*/ 235832 w 527022"/>
                    <a:gd name="connsiteY63" fmla="*/ 136390 h 452700"/>
                    <a:gd name="connsiteX64" fmla="*/ 203918 w 527022"/>
                    <a:gd name="connsiteY64" fmla="*/ 175218 h 452700"/>
                    <a:gd name="connsiteX65" fmla="*/ 182128 w 527022"/>
                    <a:gd name="connsiteY65" fmla="*/ 204500 h 452700"/>
                    <a:gd name="connsiteX66" fmla="*/ 166943 w 527022"/>
                    <a:gd name="connsiteY66" fmla="*/ 226675 h 452700"/>
                    <a:gd name="connsiteX67" fmla="*/ 141205 w 527022"/>
                    <a:gd name="connsiteY67" fmla="*/ 267687 h 452700"/>
                    <a:gd name="connsiteX68" fmla="*/ 126793 w 527022"/>
                    <a:gd name="connsiteY68" fmla="*/ 292174 h 452700"/>
                    <a:gd name="connsiteX69" fmla="*/ 109635 w 527022"/>
                    <a:gd name="connsiteY69" fmla="*/ 324453 h 452700"/>
                    <a:gd name="connsiteX70" fmla="*/ 93806 w 527022"/>
                    <a:gd name="connsiteY70" fmla="*/ 357373 h 452700"/>
                    <a:gd name="connsiteX71" fmla="*/ 77849 w 527022"/>
                    <a:gd name="connsiteY71" fmla="*/ 394832 h 452700"/>
                    <a:gd name="connsiteX72" fmla="*/ 60691 w 527022"/>
                    <a:gd name="connsiteY72" fmla="*/ 439696 h 452700"/>
                    <a:gd name="connsiteX73" fmla="*/ 57217 w 527022"/>
                    <a:gd name="connsiteY73" fmla="*/ 450655 h 452700"/>
                    <a:gd name="connsiteX74" fmla="*/ 54514 w 527022"/>
                    <a:gd name="connsiteY74" fmla="*/ 452539 h 452700"/>
                    <a:gd name="connsiteX75" fmla="*/ 34096 w 527022"/>
                    <a:gd name="connsiteY75" fmla="*/ 447188 h 452700"/>
                    <a:gd name="connsiteX76" fmla="*/ 31865 w 527022"/>
                    <a:gd name="connsiteY76" fmla="*/ 442436 h 452700"/>
                    <a:gd name="connsiteX77" fmla="*/ 40873 w 527022"/>
                    <a:gd name="connsiteY77" fmla="*/ 415894 h 452700"/>
                    <a:gd name="connsiteX78" fmla="*/ 50825 w 527022"/>
                    <a:gd name="connsiteY78" fmla="*/ 389309 h 452700"/>
                    <a:gd name="connsiteX79" fmla="*/ 57560 w 527022"/>
                    <a:gd name="connsiteY79" fmla="*/ 373384 h 452700"/>
                    <a:gd name="connsiteX80" fmla="*/ 63308 w 527022"/>
                    <a:gd name="connsiteY80" fmla="*/ 359985 h 452700"/>
                    <a:gd name="connsiteX81" fmla="*/ 68884 w 527022"/>
                    <a:gd name="connsiteY81" fmla="*/ 347142 h 452700"/>
                    <a:gd name="connsiteX82" fmla="*/ 75747 w 527022"/>
                    <a:gd name="connsiteY82" fmla="*/ 332929 h 452700"/>
                    <a:gd name="connsiteX83" fmla="*/ 91704 w 527022"/>
                    <a:gd name="connsiteY83" fmla="*/ 300479 h 452700"/>
                    <a:gd name="connsiteX84" fmla="*/ 105774 w 527022"/>
                    <a:gd name="connsiteY84" fmla="*/ 275264 h 4527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</a:cxnLst>
                  <a:rect l="l" t="t" r="r" b="b"/>
                  <a:pathLst>
                    <a:path w="527022" h="452700">
                      <a:moveTo>
                        <a:pt x="106031" y="275564"/>
                      </a:moveTo>
                      <a:cubicBezTo>
                        <a:pt x="109806" y="268843"/>
                        <a:pt x="113409" y="262079"/>
                        <a:pt x="117356" y="255443"/>
                      </a:cubicBezTo>
                      <a:cubicBezTo>
                        <a:pt x="122246" y="247310"/>
                        <a:pt x="127350" y="239304"/>
                        <a:pt x="132412" y="231256"/>
                      </a:cubicBezTo>
                      <a:cubicBezTo>
                        <a:pt x="135457" y="226376"/>
                        <a:pt x="138460" y="221453"/>
                        <a:pt x="141634" y="216658"/>
                      </a:cubicBezTo>
                      <a:cubicBezTo>
                        <a:pt x="146224" y="209680"/>
                        <a:pt x="150943" y="202830"/>
                        <a:pt x="155661" y="195981"/>
                      </a:cubicBezTo>
                      <a:cubicBezTo>
                        <a:pt x="159050" y="191015"/>
                        <a:pt x="162482" y="186049"/>
                        <a:pt x="165999" y="181169"/>
                      </a:cubicBezTo>
                      <a:cubicBezTo>
                        <a:pt x="169516" y="176288"/>
                        <a:pt x="173849" y="170381"/>
                        <a:pt x="177924" y="165115"/>
                      </a:cubicBezTo>
                      <a:cubicBezTo>
                        <a:pt x="183500" y="157923"/>
                        <a:pt x="189077" y="150774"/>
                        <a:pt x="195082" y="143710"/>
                      </a:cubicBezTo>
                      <a:cubicBezTo>
                        <a:pt x="203189" y="133950"/>
                        <a:pt x="211511" y="124403"/>
                        <a:pt x="219747" y="114771"/>
                      </a:cubicBezTo>
                      <a:cubicBezTo>
                        <a:pt x="220733" y="113615"/>
                        <a:pt x="221806" y="112502"/>
                        <a:pt x="222878" y="111389"/>
                      </a:cubicBezTo>
                      <a:cubicBezTo>
                        <a:pt x="223950" y="110276"/>
                        <a:pt x="223908" y="109377"/>
                        <a:pt x="222621" y="108264"/>
                      </a:cubicBezTo>
                      <a:cubicBezTo>
                        <a:pt x="216873" y="103169"/>
                        <a:pt x="211382" y="97776"/>
                        <a:pt x="205463" y="92810"/>
                      </a:cubicBezTo>
                      <a:cubicBezTo>
                        <a:pt x="197656" y="86160"/>
                        <a:pt x="189720" y="79696"/>
                        <a:pt x="181656" y="73417"/>
                      </a:cubicBezTo>
                      <a:cubicBezTo>
                        <a:pt x="176680" y="69607"/>
                        <a:pt x="171318" y="66268"/>
                        <a:pt x="166171" y="62672"/>
                      </a:cubicBezTo>
                      <a:cubicBezTo>
                        <a:pt x="156250" y="55796"/>
                        <a:pt x="145793" y="49726"/>
                        <a:pt x="134900" y="44520"/>
                      </a:cubicBezTo>
                      <a:cubicBezTo>
                        <a:pt x="119206" y="36142"/>
                        <a:pt x="101811" y="31428"/>
                        <a:pt x="84026" y="30736"/>
                      </a:cubicBezTo>
                      <a:cubicBezTo>
                        <a:pt x="74320" y="30475"/>
                        <a:pt x="64748" y="33049"/>
                        <a:pt x="56487" y="38142"/>
                      </a:cubicBezTo>
                      <a:cubicBezTo>
                        <a:pt x="51030" y="41526"/>
                        <a:pt x="46376" y="46054"/>
                        <a:pt x="42847" y="51413"/>
                      </a:cubicBezTo>
                      <a:cubicBezTo>
                        <a:pt x="35559" y="62790"/>
                        <a:pt x="30845" y="75617"/>
                        <a:pt x="29034" y="89000"/>
                      </a:cubicBezTo>
                      <a:cubicBezTo>
                        <a:pt x="25909" y="111504"/>
                        <a:pt x="26025" y="134338"/>
                        <a:pt x="29377" y="156810"/>
                      </a:cubicBezTo>
                      <a:cubicBezTo>
                        <a:pt x="31822" y="174997"/>
                        <a:pt x="35346" y="193023"/>
                        <a:pt x="39930" y="210793"/>
                      </a:cubicBezTo>
                      <a:cubicBezTo>
                        <a:pt x="44777" y="230229"/>
                        <a:pt x="50911" y="249322"/>
                        <a:pt x="57603" y="268115"/>
                      </a:cubicBezTo>
                      <a:cubicBezTo>
                        <a:pt x="61377" y="278732"/>
                        <a:pt x="65624" y="289220"/>
                        <a:pt x="69828" y="299666"/>
                      </a:cubicBezTo>
                      <a:cubicBezTo>
                        <a:pt x="70695" y="301527"/>
                        <a:pt x="70515" y="303707"/>
                        <a:pt x="69356" y="305402"/>
                      </a:cubicBezTo>
                      <a:cubicBezTo>
                        <a:pt x="66739" y="309683"/>
                        <a:pt x="64294" y="313964"/>
                        <a:pt x="61978" y="318245"/>
                      </a:cubicBezTo>
                      <a:cubicBezTo>
                        <a:pt x="59662" y="322526"/>
                        <a:pt x="58117" y="326079"/>
                        <a:pt x="56144" y="329975"/>
                      </a:cubicBezTo>
                      <a:cubicBezTo>
                        <a:pt x="55739" y="330559"/>
                        <a:pt x="55247" y="331079"/>
                        <a:pt x="54686" y="331516"/>
                      </a:cubicBezTo>
                      <a:cubicBezTo>
                        <a:pt x="54303" y="331029"/>
                        <a:pt x="53959" y="330514"/>
                        <a:pt x="53656" y="329975"/>
                      </a:cubicBezTo>
                      <a:cubicBezTo>
                        <a:pt x="50482" y="322526"/>
                        <a:pt x="47222" y="315163"/>
                        <a:pt x="44219" y="307671"/>
                      </a:cubicBezTo>
                      <a:cubicBezTo>
                        <a:pt x="35125" y="285153"/>
                        <a:pt x="27061" y="262336"/>
                        <a:pt x="20069" y="239176"/>
                      </a:cubicBezTo>
                      <a:cubicBezTo>
                        <a:pt x="11005" y="209447"/>
                        <a:pt x="4772" y="178931"/>
                        <a:pt x="1453" y="148034"/>
                      </a:cubicBezTo>
                      <a:cubicBezTo>
                        <a:pt x="-861" y="127025"/>
                        <a:pt x="-501" y="105808"/>
                        <a:pt x="2525" y="84890"/>
                      </a:cubicBezTo>
                      <a:cubicBezTo>
                        <a:pt x="4372" y="73260"/>
                        <a:pt x="7687" y="61911"/>
                        <a:pt x="12391" y="51113"/>
                      </a:cubicBezTo>
                      <a:cubicBezTo>
                        <a:pt x="16997" y="40358"/>
                        <a:pt x="23874" y="30720"/>
                        <a:pt x="32552" y="22859"/>
                      </a:cubicBezTo>
                      <a:cubicBezTo>
                        <a:pt x="45376" y="11302"/>
                        <a:pt x="61907" y="4685"/>
                        <a:pt x="79179" y="4194"/>
                      </a:cubicBezTo>
                      <a:cubicBezTo>
                        <a:pt x="95482" y="3695"/>
                        <a:pt x="111718" y="6476"/>
                        <a:pt x="126921" y="12370"/>
                      </a:cubicBezTo>
                      <a:cubicBezTo>
                        <a:pt x="139829" y="17075"/>
                        <a:pt x="152278" y="22950"/>
                        <a:pt x="164112" y="29922"/>
                      </a:cubicBezTo>
                      <a:cubicBezTo>
                        <a:pt x="169859" y="33304"/>
                        <a:pt x="175393" y="37029"/>
                        <a:pt x="180884" y="40796"/>
                      </a:cubicBezTo>
                      <a:cubicBezTo>
                        <a:pt x="187146" y="45077"/>
                        <a:pt x="193366" y="49358"/>
                        <a:pt x="199414" y="53639"/>
                      </a:cubicBezTo>
                      <a:cubicBezTo>
                        <a:pt x="211112" y="62371"/>
                        <a:pt x="222338" y="71717"/>
                        <a:pt x="233044" y="81636"/>
                      </a:cubicBezTo>
                      <a:lnTo>
                        <a:pt x="240465" y="88700"/>
                      </a:lnTo>
                      <a:cubicBezTo>
                        <a:pt x="242481" y="90498"/>
                        <a:pt x="242481" y="90541"/>
                        <a:pt x="244454" y="88700"/>
                      </a:cubicBezTo>
                      <a:cubicBezTo>
                        <a:pt x="251189" y="82407"/>
                        <a:pt x="257838" y="75857"/>
                        <a:pt x="264658" y="69778"/>
                      </a:cubicBezTo>
                      <a:cubicBezTo>
                        <a:pt x="277890" y="57649"/>
                        <a:pt x="291982" y="46490"/>
                        <a:pt x="306824" y="36386"/>
                      </a:cubicBezTo>
                      <a:cubicBezTo>
                        <a:pt x="318824" y="28016"/>
                        <a:pt x="331492" y="20642"/>
                        <a:pt x="344701" y="14339"/>
                      </a:cubicBezTo>
                      <a:cubicBezTo>
                        <a:pt x="361210" y="6138"/>
                        <a:pt x="379188" y="1292"/>
                        <a:pt x="397591" y="84"/>
                      </a:cubicBezTo>
                      <a:cubicBezTo>
                        <a:pt x="414004" y="-927"/>
                        <a:pt x="430304" y="3399"/>
                        <a:pt x="444046" y="12413"/>
                      </a:cubicBezTo>
                      <a:cubicBezTo>
                        <a:pt x="452667" y="18214"/>
                        <a:pt x="459973" y="25753"/>
                        <a:pt x="465494" y="34546"/>
                      </a:cubicBezTo>
                      <a:cubicBezTo>
                        <a:pt x="473149" y="46758"/>
                        <a:pt x="478499" y="60266"/>
                        <a:pt x="481279" y="74401"/>
                      </a:cubicBezTo>
                      <a:cubicBezTo>
                        <a:pt x="481414" y="75910"/>
                        <a:pt x="482601" y="77112"/>
                        <a:pt x="484110" y="77270"/>
                      </a:cubicBezTo>
                      <a:cubicBezTo>
                        <a:pt x="503911" y="81682"/>
                        <a:pt x="519614" y="96711"/>
                        <a:pt x="524861" y="116269"/>
                      </a:cubicBezTo>
                      <a:cubicBezTo>
                        <a:pt x="528007" y="126949"/>
                        <a:pt x="527631" y="138354"/>
                        <a:pt x="523788" y="148805"/>
                      </a:cubicBezTo>
                      <a:cubicBezTo>
                        <a:pt x="521995" y="154290"/>
                        <a:pt x="519377" y="159472"/>
                        <a:pt x="516024" y="164173"/>
                      </a:cubicBezTo>
                      <a:cubicBezTo>
                        <a:pt x="510306" y="172133"/>
                        <a:pt x="502478" y="178344"/>
                        <a:pt x="493419" y="182110"/>
                      </a:cubicBezTo>
                      <a:cubicBezTo>
                        <a:pt x="477010" y="189433"/>
                        <a:pt x="458029" y="188150"/>
                        <a:pt x="442759" y="178686"/>
                      </a:cubicBezTo>
                      <a:cubicBezTo>
                        <a:pt x="428222" y="170341"/>
                        <a:pt x="418465" y="155656"/>
                        <a:pt x="416422" y="139044"/>
                      </a:cubicBezTo>
                      <a:cubicBezTo>
                        <a:pt x="412547" y="113143"/>
                        <a:pt x="427462" y="88095"/>
                        <a:pt x="452110" y="79110"/>
                      </a:cubicBezTo>
                      <a:cubicBezTo>
                        <a:pt x="454641" y="78169"/>
                        <a:pt x="454727" y="78169"/>
                        <a:pt x="454084" y="75643"/>
                      </a:cubicBezTo>
                      <a:cubicBezTo>
                        <a:pt x="451606" y="63935"/>
                        <a:pt x="446470" y="52951"/>
                        <a:pt x="439070" y="43536"/>
                      </a:cubicBezTo>
                      <a:cubicBezTo>
                        <a:pt x="431293" y="33951"/>
                        <a:pt x="419941" y="27939"/>
                        <a:pt x="407628" y="26883"/>
                      </a:cubicBezTo>
                      <a:cubicBezTo>
                        <a:pt x="396428" y="26091"/>
                        <a:pt x="385183" y="27547"/>
                        <a:pt x="374556" y="31164"/>
                      </a:cubicBezTo>
                      <a:cubicBezTo>
                        <a:pt x="361966" y="35226"/>
                        <a:pt x="349889" y="40728"/>
                        <a:pt x="338567" y="47560"/>
                      </a:cubicBezTo>
                      <a:cubicBezTo>
                        <a:pt x="319844" y="58698"/>
                        <a:pt x="302234" y="71599"/>
                        <a:pt x="285977" y="86088"/>
                      </a:cubicBezTo>
                      <a:cubicBezTo>
                        <a:pt x="268163" y="101727"/>
                        <a:pt x="251411" y="118531"/>
                        <a:pt x="235832" y="136390"/>
                      </a:cubicBezTo>
                      <a:cubicBezTo>
                        <a:pt x="224765" y="148933"/>
                        <a:pt x="214385" y="162076"/>
                        <a:pt x="203918" y="175218"/>
                      </a:cubicBezTo>
                      <a:cubicBezTo>
                        <a:pt x="196369" y="184765"/>
                        <a:pt x="189248" y="194654"/>
                        <a:pt x="182128" y="204500"/>
                      </a:cubicBezTo>
                      <a:cubicBezTo>
                        <a:pt x="176894" y="211778"/>
                        <a:pt x="172004" y="219312"/>
                        <a:pt x="166943" y="226675"/>
                      </a:cubicBezTo>
                      <a:cubicBezTo>
                        <a:pt x="157763" y="240032"/>
                        <a:pt x="149484" y="253902"/>
                        <a:pt x="141205" y="267687"/>
                      </a:cubicBezTo>
                      <a:cubicBezTo>
                        <a:pt x="136272" y="275778"/>
                        <a:pt x="131297" y="283869"/>
                        <a:pt x="126793" y="292174"/>
                      </a:cubicBezTo>
                      <a:cubicBezTo>
                        <a:pt x="120959" y="302834"/>
                        <a:pt x="115254" y="313579"/>
                        <a:pt x="109635" y="324453"/>
                      </a:cubicBezTo>
                      <a:cubicBezTo>
                        <a:pt x="104015" y="335326"/>
                        <a:pt x="98825" y="346285"/>
                        <a:pt x="93806" y="357373"/>
                      </a:cubicBezTo>
                      <a:cubicBezTo>
                        <a:pt x="88230" y="369745"/>
                        <a:pt x="82868" y="382246"/>
                        <a:pt x="77849" y="394832"/>
                      </a:cubicBezTo>
                      <a:cubicBezTo>
                        <a:pt x="71930" y="409687"/>
                        <a:pt x="66482" y="424798"/>
                        <a:pt x="60691" y="439696"/>
                      </a:cubicBezTo>
                      <a:cubicBezTo>
                        <a:pt x="59361" y="443292"/>
                        <a:pt x="58246" y="446974"/>
                        <a:pt x="57217" y="450655"/>
                      </a:cubicBezTo>
                      <a:cubicBezTo>
                        <a:pt x="56788" y="452197"/>
                        <a:pt x="56101" y="452924"/>
                        <a:pt x="54514" y="452539"/>
                      </a:cubicBezTo>
                      <a:cubicBezTo>
                        <a:pt x="47694" y="450784"/>
                        <a:pt x="40831" y="449157"/>
                        <a:pt x="34096" y="447188"/>
                      </a:cubicBezTo>
                      <a:cubicBezTo>
                        <a:pt x="30879" y="446246"/>
                        <a:pt x="30793" y="445689"/>
                        <a:pt x="31865" y="442436"/>
                      </a:cubicBezTo>
                      <a:cubicBezTo>
                        <a:pt x="34782" y="433574"/>
                        <a:pt x="37699" y="424713"/>
                        <a:pt x="40873" y="415894"/>
                      </a:cubicBezTo>
                      <a:cubicBezTo>
                        <a:pt x="44048" y="407075"/>
                        <a:pt x="47393" y="398128"/>
                        <a:pt x="50825" y="389309"/>
                      </a:cubicBezTo>
                      <a:cubicBezTo>
                        <a:pt x="52927" y="383958"/>
                        <a:pt x="55115" y="378692"/>
                        <a:pt x="57560" y="373384"/>
                      </a:cubicBezTo>
                      <a:cubicBezTo>
                        <a:pt x="59490" y="369103"/>
                        <a:pt x="61377" y="364437"/>
                        <a:pt x="63308" y="359985"/>
                      </a:cubicBezTo>
                      <a:cubicBezTo>
                        <a:pt x="65238" y="355532"/>
                        <a:pt x="66954" y="351423"/>
                        <a:pt x="68884" y="347142"/>
                      </a:cubicBezTo>
                      <a:cubicBezTo>
                        <a:pt x="70814" y="342861"/>
                        <a:pt x="73474" y="337638"/>
                        <a:pt x="75747" y="332929"/>
                      </a:cubicBezTo>
                      <a:cubicBezTo>
                        <a:pt x="81066" y="322098"/>
                        <a:pt x="86171" y="311182"/>
                        <a:pt x="91704" y="300479"/>
                      </a:cubicBezTo>
                      <a:cubicBezTo>
                        <a:pt x="95994" y="291917"/>
                        <a:pt x="101055" y="283655"/>
                        <a:pt x="105774" y="275264"/>
                      </a:cubicBezTo>
                      <a:close/>
                    </a:path>
                  </a:pathLst>
                </a:custGeom>
                <a:grpFill/>
                <a:ln w="424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222" name="Gruppieren 221">
            <a:extLst>
              <a:ext uri="{FF2B5EF4-FFF2-40B4-BE49-F238E27FC236}">
                <a16:creationId xmlns:a16="http://schemas.microsoft.com/office/drawing/2014/main" id="{72A3AED7-997E-4B0D-8006-F8133990ECFE}"/>
              </a:ext>
            </a:extLst>
          </p:cNvPr>
          <p:cNvGrpSpPr/>
          <p:nvPr/>
        </p:nvGrpSpPr>
        <p:grpSpPr>
          <a:xfrm>
            <a:off x="4415075" y="4963667"/>
            <a:ext cx="828109" cy="828109"/>
            <a:chOff x="4415075" y="4963667"/>
            <a:chExt cx="828109" cy="828109"/>
          </a:xfrm>
        </p:grpSpPr>
        <p:sp>
          <p:nvSpPr>
            <p:cNvPr id="223" name="Freihandform: Form 222">
              <a:extLst>
                <a:ext uri="{FF2B5EF4-FFF2-40B4-BE49-F238E27FC236}">
                  <a16:creationId xmlns:a16="http://schemas.microsoft.com/office/drawing/2014/main" id="{33170AF0-ECFD-46EE-89EC-E370F1018221}"/>
                </a:ext>
              </a:extLst>
            </p:cNvPr>
            <p:cNvSpPr/>
            <p:nvPr/>
          </p:nvSpPr>
          <p:spPr>
            <a:xfrm>
              <a:off x="4415075" y="4963667"/>
              <a:ext cx="828109" cy="828109"/>
            </a:xfrm>
            <a:custGeom>
              <a:avLst/>
              <a:gdLst>
                <a:gd name="connsiteX0" fmla="*/ 828109 w 828109"/>
                <a:gd name="connsiteY0" fmla="*/ 414055 h 828109"/>
                <a:gd name="connsiteX1" fmla="*/ 414055 w 828109"/>
                <a:gd name="connsiteY1" fmla="*/ 828109 h 828109"/>
                <a:gd name="connsiteX2" fmla="*/ 0 w 828109"/>
                <a:gd name="connsiteY2" fmla="*/ 414055 h 828109"/>
                <a:gd name="connsiteX3" fmla="*/ 414055 w 828109"/>
                <a:gd name="connsiteY3" fmla="*/ 0 h 828109"/>
                <a:gd name="connsiteX4" fmla="*/ 828109 w 828109"/>
                <a:gd name="connsiteY4" fmla="*/ 414055 h 828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8109" h="828109">
                  <a:moveTo>
                    <a:pt x="828109" y="414055"/>
                  </a:moveTo>
                  <a:cubicBezTo>
                    <a:pt x="828109" y="642731"/>
                    <a:pt x="642731" y="828109"/>
                    <a:pt x="414055" y="828109"/>
                  </a:cubicBezTo>
                  <a:cubicBezTo>
                    <a:pt x="185379" y="828109"/>
                    <a:pt x="0" y="642731"/>
                    <a:pt x="0" y="414055"/>
                  </a:cubicBezTo>
                  <a:cubicBezTo>
                    <a:pt x="0" y="185379"/>
                    <a:pt x="185379" y="0"/>
                    <a:pt x="414055" y="0"/>
                  </a:cubicBezTo>
                  <a:cubicBezTo>
                    <a:pt x="642731" y="0"/>
                    <a:pt x="828109" y="185379"/>
                    <a:pt x="828109" y="414055"/>
                  </a:cubicBezTo>
                  <a:close/>
                </a:path>
              </a:pathLst>
            </a:custGeom>
            <a:solidFill>
              <a:srgbClr val="B5B9BC"/>
            </a:solidFill>
            <a:ln w="32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24" name="Gruppieren 223">
              <a:extLst>
                <a:ext uri="{FF2B5EF4-FFF2-40B4-BE49-F238E27FC236}">
                  <a16:creationId xmlns:a16="http://schemas.microsoft.com/office/drawing/2014/main" id="{7AF35652-4C35-49F4-8B35-E32FD7D1ADCB}"/>
                </a:ext>
              </a:extLst>
            </p:cNvPr>
            <p:cNvGrpSpPr/>
            <p:nvPr/>
          </p:nvGrpSpPr>
          <p:grpSpPr>
            <a:xfrm>
              <a:off x="4543148" y="5082350"/>
              <a:ext cx="572003" cy="590742"/>
              <a:chOff x="4448482" y="2484974"/>
              <a:chExt cx="761335" cy="786278"/>
            </a:xfrm>
            <a:solidFill>
              <a:schemeClr val="bg1"/>
            </a:solidFill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225" name="Freihandform: Form 224">
                <a:extLst>
                  <a:ext uri="{FF2B5EF4-FFF2-40B4-BE49-F238E27FC236}">
                    <a16:creationId xmlns:a16="http://schemas.microsoft.com/office/drawing/2014/main" id="{267BE382-9BB3-475A-85A1-70E95860B6A0}"/>
                  </a:ext>
                </a:extLst>
              </p:cNvPr>
              <p:cNvSpPr/>
              <p:nvPr/>
            </p:nvSpPr>
            <p:spPr>
              <a:xfrm>
                <a:off x="4742665" y="2484974"/>
                <a:ext cx="39559" cy="64844"/>
              </a:xfrm>
              <a:custGeom>
                <a:avLst/>
                <a:gdLst>
                  <a:gd name="connsiteX0" fmla="*/ 0 w 39559"/>
                  <a:gd name="connsiteY0" fmla="*/ 0 h 64844"/>
                  <a:gd name="connsiteX1" fmla="*/ 39559 w 39559"/>
                  <a:gd name="connsiteY1" fmla="*/ 0 h 64844"/>
                  <a:gd name="connsiteX2" fmla="*/ 39559 w 39559"/>
                  <a:gd name="connsiteY2" fmla="*/ 64844 h 64844"/>
                  <a:gd name="connsiteX3" fmla="*/ 0 w 39559"/>
                  <a:gd name="connsiteY3" fmla="*/ 64844 h 64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559" h="64844">
                    <a:moveTo>
                      <a:pt x="0" y="0"/>
                    </a:moveTo>
                    <a:lnTo>
                      <a:pt x="39559" y="0"/>
                    </a:lnTo>
                    <a:lnTo>
                      <a:pt x="39559" y="64844"/>
                    </a:lnTo>
                    <a:lnTo>
                      <a:pt x="0" y="64844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6" name="Freihandform: Form 225">
                <a:extLst>
                  <a:ext uri="{FF2B5EF4-FFF2-40B4-BE49-F238E27FC236}">
                    <a16:creationId xmlns:a16="http://schemas.microsoft.com/office/drawing/2014/main" id="{D5BFBC74-A4AC-4FAF-8976-5D2FED629682}"/>
                  </a:ext>
                </a:extLst>
              </p:cNvPr>
              <p:cNvSpPr/>
              <p:nvPr/>
            </p:nvSpPr>
            <p:spPr>
              <a:xfrm>
                <a:off x="4876123" y="2484974"/>
                <a:ext cx="39559" cy="64844"/>
              </a:xfrm>
              <a:custGeom>
                <a:avLst/>
                <a:gdLst>
                  <a:gd name="connsiteX0" fmla="*/ 0 w 39559"/>
                  <a:gd name="connsiteY0" fmla="*/ 0 h 64844"/>
                  <a:gd name="connsiteX1" fmla="*/ 39559 w 39559"/>
                  <a:gd name="connsiteY1" fmla="*/ 0 h 64844"/>
                  <a:gd name="connsiteX2" fmla="*/ 39559 w 39559"/>
                  <a:gd name="connsiteY2" fmla="*/ 64844 h 64844"/>
                  <a:gd name="connsiteX3" fmla="*/ 0 w 39559"/>
                  <a:gd name="connsiteY3" fmla="*/ 64844 h 64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559" h="64844">
                    <a:moveTo>
                      <a:pt x="0" y="0"/>
                    </a:moveTo>
                    <a:lnTo>
                      <a:pt x="39559" y="0"/>
                    </a:lnTo>
                    <a:lnTo>
                      <a:pt x="39559" y="64844"/>
                    </a:lnTo>
                    <a:lnTo>
                      <a:pt x="0" y="64844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7" name="Freihandform: Form 226">
                <a:extLst>
                  <a:ext uri="{FF2B5EF4-FFF2-40B4-BE49-F238E27FC236}">
                    <a16:creationId xmlns:a16="http://schemas.microsoft.com/office/drawing/2014/main" id="{5B67EE3D-10E4-40E4-88AE-7E4E0C49150C}"/>
                  </a:ext>
                </a:extLst>
              </p:cNvPr>
              <p:cNvSpPr/>
              <p:nvPr/>
            </p:nvSpPr>
            <p:spPr>
              <a:xfrm>
                <a:off x="4671917" y="2484974"/>
                <a:ext cx="39559" cy="64844"/>
              </a:xfrm>
              <a:custGeom>
                <a:avLst/>
                <a:gdLst>
                  <a:gd name="connsiteX0" fmla="*/ 0 w 39559"/>
                  <a:gd name="connsiteY0" fmla="*/ 0 h 64844"/>
                  <a:gd name="connsiteX1" fmla="*/ 39559 w 39559"/>
                  <a:gd name="connsiteY1" fmla="*/ 0 h 64844"/>
                  <a:gd name="connsiteX2" fmla="*/ 39559 w 39559"/>
                  <a:gd name="connsiteY2" fmla="*/ 64844 h 64844"/>
                  <a:gd name="connsiteX3" fmla="*/ 0 w 39559"/>
                  <a:gd name="connsiteY3" fmla="*/ 64844 h 64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559" h="64844">
                    <a:moveTo>
                      <a:pt x="0" y="0"/>
                    </a:moveTo>
                    <a:lnTo>
                      <a:pt x="39559" y="0"/>
                    </a:lnTo>
                    <a:lnTo>
                      <a:pt x="39559" y="64844"/>
                    </a:lnTo>
                    <a:lnTo>
                      <a:pt x="0" y="64844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8" name="Freihandform: Form 227">
                <a:extLst>
                  <a:ext uri="{FF2B5EF4-FFF2-40B4-BE49-F238E27FC236}">
                    <a16:creationId xmlns:a16="http://schemas.microsoft.com/office/drawing/2014/main" id="{323F22FE-4B4D-4E76-8634-8CE38578510A}"/>
                  </a:ext>
                </a:extLst>
              </p:cNvPr>
              <p:cNvSpPr/>
              <p:nvPr/>
            </p:nvSpPr>
            <p:spPr>
              <a:xfrm>
                <a:off x="4946871" y="2484974"/>
                <a:ext cx="39559" cy="64844"/>
              </a:xfrm>
              <a:custGeom>
                <a:avLst/>
                <a:gdLst>
                  <a:gd name="connsiteX0" fmla="*/ 0 w 39559"/>
                  <a:gd name="connsiteY0" fmla="*/ 0 h 64844"/>
                  <a:gd name="connsiteX1" fmla="*/ 39559 w 39559"/>
                  <a:gd name="connsiteY1" fmla="*/ 0 h 64844"/>
                  <a:gd name="connsiteX2" fmla="*/ 39559 w 39559"/>
                  <a:gd name="connsiteY2" fmla="*/ 64844 h 64844"/>
                  <a:gd name="connsiteX3" fmla="*/ 0 w 39559"/>
                  <a:gd name="connsiteY3" fmla="*/ 64844 h 64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559" h="64844">
                    <a:moveTo>
                      <a:pt x="0" y="0"/>
                    </a:moveTo>
                    <a:lnTo>
                      <a:pt x="39559" y="0"/>
                    </a:lnTo>
                    <a:lnTo>
                      <a:pt x="39559" y="64844"/>
                    </a:lnTo>
                    <a:lnTo>
                      <a:pt x="0" y="64844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9" name="Freihandform: Form 228">
                <a:extLst>
                  <a:ext uri="{FF2B5EF4-FFF2-40B4-BE49-F238E27FC236}">
                    <a16:creationId xmlns:a16="http://schemas.microsoft.com/office/drawing/2014/main" id="{7FADC1CD-F005-4ED0-8A70-1B62FD3359B3}"/>
                  </a:ext>
                </a:extLst>
              </p:cNvPr>
              <p:cNvSpPr/>
              <p:nvPr/>
            </p:nvSpPr>
            <p:spPr>
              <a:xfrm>
                <a:off x="4601218" y="2484974"/>
                <a:ext cx="39559" cy="64844"/>
              </a:xfrm>
              <a:custGeom>
                <a:avLst/>
                <a:gdLst>
                  <a:gd name="connsiteX0" fmla="*/ 0 w 39559"/>
                  <a:gd name="connsiteY0" fmla="*/ 0 h 64844"/>
                  <a:gd name="connsiteX1" fmla="*/ 39559 w 39559"/>
                  <a:gd name="connsiteY1" fmla="*/ 0 h 64844"/>
                  <a:gd name="connsiteX2" fmla="*/ 39559 w 39559"/>
                  <a:gd name="connsiteY2" fmla="*/ 64844 h 64844"/>
                  <a:gd name="connsiteX3" fmla="*/ 0 w 39559"/>
                  <a:gd name="connsiteY3" fmla="*/ 64844 h 64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559" h="64844">
                    <a:moveTo>
                      <a:pt x="0" y="0"/>
                    </a:moveTo>
                    <a:lnTo>
                      <a:pt x="39559" y="0"/>
                    </a:lnTo>
                    <a:lnTo>
                      <a:pt x="39559" y="64844"/>
                    </a:lnTo>
                    <a:lnTo>
                      <a:pt x="0" y="64844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0" name="Freihandform: Form 229">
                <a:extLst>
                  <a:ext uri="{FF2B5EF4-FFF2-40B4-BE49-F238E27FC236}">
                    <a16:creationId xmlns:a16="http://schemas.microsoft.com/office/drawing/2014/main" id="{300BE13E-398A-4F05-A839-291497B5611E}"/>
                  </a:ext>
                </a:extLst>
              </p:cNvPr>
              <p:cNvSpPr/>
              <p:nvPr/>
            </p:nvSpPr>
            <p:spPr>
              <a:xfrm>
                <a:off x="5017570" y="2484974"/>
                <a:ext cx="39559" cy="64844"/>
              </a:xfrm>
              <a:custGeom>
                <a:avLst/>
                <a:gdLst>
                  <a:gd name="connsiteX0" fmla="*/ 0 w 39559"/>
                  <a:gd name="connsiteY0" fmla="*/ 0 h 64844"/>
                  <a:gd name="connsiteX1" fmla="*/ 39559 w 39559"/>
                  <a:gd name="connsiteY1" fmla="*/ 0 h 64844"/>
                  <a:gd name="connsiteX2" fmla="*/ 39559 w 39559"/>
                  <a:gd name="connsiteY2" fmla="*/ 64844 h 64844"/>
                  <a:gd name="connsiteX3" fmla="*/ 0 w 39559"/>
                  <a:gd name="connsiteY3" fmla="*/ 64844 h 64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559" h="64844">
                    <a:moveTo>
                      <a:pt x="0" y="0"/>
                    </a:moveTo>
                    <a:lnTo>
                      <a:pt x="39559" y="0"/>
                    </a:lnTo>
                    <a:lnTo>
                      <a:pt x="39559" y="64844"/>
                    </a:lnTo>
                    <a:lnTo>
                      <a:pt x="0" y="64844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1" name="Freihandform: Form 230">
                <a:extLst>
                  <a:ext uri="{FF2B5EF4-FFF2-40B4-BE49-F238E27FC236}">
                    <a16:creationId xmlns:a16="http://schemas.microsoft.com/office/drawing/2014/main" id="{E9A8B909-2E17-4096-A0F9-035D11C9B4B8}"/>
                  </a:ext>
                </a:extLst>
              </p:cNvPr>
              <p:cNvSpPr/>
              <p:nvPr/>
            </p:nvSpPr>
            <p:spPr>
              <a:xfrm>
                <a:off x="4809394" y="2484974"/>
                <a:ext cx="39559" cy="64844"/>
              </a:xfrm>
              <a:custGeom>
                <a:avLst/>
                <a:gdLst>
                  <a:gd name="connsiteX0" fmla="*/ 0 w 39559"/>
                  <a:gd name="connsiteY0" fmla="*/ 0 h 64844"/>
                  <a:gd name="connsiteX1" fmla="*/ 39559 w 39559"/>
                  <a:gd name="connsiteY1" fmla="*/ 0 h 64844"/>
                  <a:gd name="connsiteX2" fmla="*/ 39559 w 39559"/>
                  <a:gd name="connsiteY2" fmla="*/ 64844 h 64844"/>
                  <a:gd name="connsiteX3" fmla="*/ 0 w 39559"/>
                  <a:gd name="connsiteY3" fmla="*/ 64844 h 64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559" h="64844">
                    <a:moveTo>
                      <a:pt x="0" y="0"/>
                    </a:moveTo>
                    <a:lnTo>
                      <a:pt x="39559" y="0"/>
                    </a:lnTo>
                    <a:lnTo>
                      <a:pt x="39559" y="64844"/>
                    </a:lnTo>
                    <a:lnTo>
                      <a:pt x="0" y="64844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2" name="Freihandform: Form 231">
                <a:extLst>
                  <a:ext uri="{FF2B5EF4-FFF2-40B4-BE49-F238E27FC236}">
                    <a16:creationId xmlns:a16="http://schemas.microsoft.com/office/drawing/2014/main" id="{E67001B2-D407-4E4C-969F-263F430E78B5}"/>
                  </a:ext>
                </a:extLst>
              </p:cNvPr>
              <p:cNvSpPr/>
              <p:nvPr/>
            </p:nvSpPr>
            <p:spPr>
              <a:xfrm>
                <a:off x="4742665" y="3206408"/>
                <a:ext cx="39559" cy="64844"/>
              </a:xfrm>
              <a:custGeom>
                <a:avLst/>
                <a:gdLst>
                  <a:gd name="connsiteX0" fmla="*/ 0 w 39559"/>
                  <a:gd name="connsiteY0" fmla="*/ 0 h 64844"/>
                  <a:gd name="connsiteX1" fmla="*/ 39559 w 39559"/>
                  <a:gd name="connsiteY1" fmla="*/ 0 h 64844"/>
                  <a:gd name="connsiteX2" fmla="*/ 39559 w 39559"/>
                  <a:gd name="connsiteY2" fmla="*/ 64844 h 64844"/>
                  <a:gd name="connsiteX3" fmla="*/ 0 w 39559"/>
                  <a:gd name="connsiteY3" fmla="*/ 64844 h 64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559" h="64844">
                    <a:moveTo>
                      <a:pt x="0" y="0"/>
                    </a:moveTo>
                    <a:lnTo>
                      <a:pt x="39559" y="0"/>
                    </a:lnTo>
                    <a:lnTo>
                      <a:pt x="39559" y="64844"/>
                    </a:lnTo>
                    <a:lnTo>
                      <a:pt x="0" y="64844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3" name="Freihandform: Form 232">
                <a:extLst>
                  <a:ext uri="{FF2B5EF4-FFF2-40B4-BE49-F238E27FC236}">
                    <a16:creationId xmlns:a16="http://schemas.microsoft.com/office/drawing/2014/main" id="{DC57D87F-5E10-438A-B0B3-8D56D00BF5A0}"/>
                  </a:ext>
                </a:extLst>
              </p:cNvPr>
              <p:cNvSpPr/>
              <p:nvPr/>
            </p:nvSpPr>
            <p:spPr>
              <a:xfrm>
                <a:off x="4876123" y="3206408"/>
                <a:ext cx="39559" cy="64844"/>
              </a:xfrm>
              <a:custGeom>
                <a:avLst/>
                <a:gdLst>
                  <a:gd name="connsiteX0" fmla="*/ 0 w 39559"/>
                  <a:gd name="connsiteY0" fmla="*/ 0 h 64844"/>
                  <a:gd name="connsiteX1" fmla="*/ 39559 w 39559"/>
                  <a:gd name="connsiteY1" fmla="*/ 0 h 64844"/>
                  <a:gd name="connsiteX2" fmla="*/ 39559 w 39559"/>
                  <a:gd name="connsiteY2" fmla="*/ 64844 h 64844"/>
                  <a:gd name="connsiteX3" fmla="*/ 0 w 39559"/>
                  <a:gd name="connsiteY3" fmla="*/ 64844 h 64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559" h="64844">
                    <a:moveTo>
                      <a:pt x="0" y="0"/>
                    </a:moveTo>
                    <a:lnTo>
                      <a:pt x="39559" y="0"/>
                    </a:lnTo>
                    <a:lnTo>
                      <a:pt x="39559" y="64844"/>
                    </a:lnTo>
                    <a:lnTo>
                      <a:pt x="0" y="64844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4" name="Freihandform: Form 233">
                <a:extLst>
                  <a:ext uri="{FF2B5EF4-FFF2-40B4-BE49-F238E27FC236}">
                    <a16:creationId xmlns:a16="http://schemas.microsoft.com/office/drawing/2014/main" id="{69150C67-BA81-4263-ADD7-9F3DF3D07F9C}"/>
                  </a:ext>
                </a:extLst>
              </p:cNvPr>
              <p:cNvSpPr/>
              <p:nvPr/>
            </p:nvSpPr>
            <p:spPr>
              <a:xfrm>
                <a:off x="4671917" y="3206408"/>
                <a:ext cx="39559" cy="64844"/>
              </a:xfrm>
              <a:custGeom>
                <a:avLst/>
                <a:gdLst>
                  <a:gd name="connsiteX0" fmla="*/ 0 w 39559"/>
                  <a:gd name="connsiteY0" fmla="*/ 0 h 64844"/>
                  <a:gd name="connsiteX1" fmla="*/ 39559 w 39559"/>
                  <a:gd name="connsiteY1" fmla="*/ 0 h 64844"/>
                  <a:gd name="connsiteX2" fmla="*/ 39559 w 39559"/>
                  <a:gd name="connsiteY2" fmla="*/ 64844 h 64844"/>
                  <a:gd name="connsiteX3" fmla="*/ 0 w 39559"/>
                  <a:gd name="connsiteY3" fmla="*/ 64844 h 64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559" h="64844">
                    <a:moveTo>
                      <a:pt x="0" y="0"/>
                    </a:moveTo>
                    <a:lnTo>
                      <a:pt x="39559" y="0"/>
                    </a:lnTo>
                    <a:lnTo>
                      <a:pt x="39559" y="64844"/>
                    </a:lnTo>
                    <a:lnTo>
                      <a:pt x="0" y="64844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5" name="Freihandform: Form 234">
                <a:extLst>
                  <a:ext uri="{FF2B5EF4-FFF2-40B4-BE49-F238E27FC236}">
                    <a16:creationId xmlns:a16="http://schemas.microsoft.com/office/drawing/2014/main" id="{E2A82FA2-6688-4F3B-9ED5-92F36E64E6CE}"/>
                  </a:ext>
                </a:extLst>
              </p:cNvPr>
              <p:cNvSpPr/>
              <p:nvPr/>
            </p:nvSpPr>
            <p:spPr>
              <a:xfrm>
                <a:off x="4946871" y="3206408"/>
                <a:ext cx="39559" cy="64844"/>
              </a:xfrm>
              <a:custGeom>
                <a:avLst/>
                <a:gdLst>
                  <a:gd name="connsiteX0" fmla="*/ 0 w 39559"/>
                  <a:gd name="connsiteY0" fmla="*/ 0 h 64844"/>
                  <a:gd name="connsiteX1" fmla="*/ 39559 w 39559"/>
                  <a:gd name="connsiteY1" fmla="*/ 0 h 64844"/>
                  <a:gd name="connsiteX2" fmla="*/ 39559 w 39559"/>
                  <a:gd name="connsiteY2" fmla="*/ 64844 h 64844"/>
                  <a:gd name="connsiteX3" fmla="*/ 0 w 39559"/>
                  <a:gd name="connsiteY3" fmla="*/ 64844 h 64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559" h="64844">
                    <a:moveTo>
                      <a:pt x="0" y="0"/>
                    </a:moveTo>
                    <a:lnTo>
                      <a:pt x="39559" y="0"/>
                    </a:lnTo>
                    <a:lnTo>
                      <a:pt x="39559" y="64844"/>
                    </a:lnTo>
                    <a:lnTo>
                      <a:pt x="0" y="64844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6" name="Freihandform: Form 235">
                <a:extLst>
                  <a:ext uri="{FF2B5EF4-FFF2-40B4-BE49-F238E27FC236}">
                    <a16:creationId xmlns:a16="http://schemas.microsoft.com/office/drawing/2014/main" id="{D86C5423-AE34-4A04-99D8-9C4B10EBD418}"/>
                  </a:ext>
                </a:extLst>
              </p:cNvPr>
              <p:cNvSpPr/>
              <p:nvPr/>
            </p:nvSpPr>
            <p:spPr>
              <a:xfrm>
                <a:off x="4601218" y="3206408"/>
                <a:ext cx="39559" cy="64844"/>
              </a:xfrm>
              <a:custGeom>
                <a:avLst/>
                <a:gdLst>
                  <a:gd name="connsiteX0" fmla="*/ 0 w 39559"/>
                  <a:gd name="connsiteY0" fmla="*/ 0 h 64844"/>
                  <a:gd name="connsiteX1" fmla="*/ 39559 w 39559"/>
                  <a:gd name="connsiteY1" fmla="*/ 0 h 64844"/>
                  <a:gd name="connsiteX2" fmla="*/ 39559 w 39559"/>
                  <a:gd name="connsiteY2" fmla="*/ 64844 h 64844"/>
                  <a:gd name="connsiteX3" fmla="*/ 0 w 39559"/>
                  <a:gd name="connsiteY3" fmla="*/ 64844 h 64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559" h="64844">
                    <a:moveTo>
                      <a:pt x="0" y="0"/>
                    </a:moveTo>
                    <a:lnTo>
                      <a:pt x="39559" y="0"/>
                    </a:lnTo>
                    <a:lnTo>
                      <a:pt x="39559" y="64844"/>
                    </a:lnTo>
                    <a:lnTo>
                      <a:pt x="0" y="64844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7" name="Freihandform: Form 236">
                <a:extLst>
                  <a:ext uri="{FF2B5EF4-FFF2-40B4-BE49-F238E27FC236}">
                    <a16:creationId xmlns:a16="http://schemas.microsoft.com/office/drawing/2014/main" id="{46FE82DA-42A5-41FF-9D7A-0FEC69BC01E4}"/>
                  </a:ext>
                </a:extLst>
              </p:cNvPr>
              <p:cNvSpPr/>
              <p:nvPr/>
            </p:nvSpPr>
            <p:spPr>
              <a:xfrm>
                <a:off x="5017570" y="3206408"/>
                <a:ext cx="39559" cy="64844"/>
              </a:xfrm>
              <a:custGeom>
                <a:avLst/>
                <a:gdLst>
                  <a:gd name="connsiteX0" fmla="*/ 0 w 39559"/>
                  <a:gd name="connsiteY0" fmla="*/ 0 h 64844"/>
                  <a:gd name="connsiteX1" fmla="*/ 39559 w 39559"/>
                  <a:gd name="connsiteY1" fmla="*/ 0 h 64844"/>
                  <a:gd name="connsiteX2" fmla="*/ 39559 w 39559"/>
                  <a:gd name="connsiteY2" fmla="*/ 64844 h 64844"/>
                  <a:gd name="connsiteX3" fmla="*/ 0 w 39559"/>
                  <a:gd name="connsiteY3" fmla="*/ 64844 h 64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559" h="64844">
                    <a:moveTo>
                      <a:pt x="0" y="0"/>
                    </a:moveTo>
                    <a:lnTo>
                      <a:pt x="39559" y="0"/>
                    </a:lnTo>
                    <a:lnTo>
                      <a:pt x="39559" y="64844"/>
                    </a:lnTo>
                    <a:lnTo>
                      <a:pt x="0" y="64844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8" name="Freihandform: Form 237">
                <a:extLst>
                  <a:ext uri="{FF2B5EF4-FFF2-40B4-BE49-F238E27FC236}">
                    <a16:creationId xmlns:a16="http://schemas.microsoft.com/office/drawing/2014/main" id="{2C49414D-FB02-4612-B614-23D2DFA7E5E0}"/>
                  </a:ext>
                </a:extLst>
              </p:cNvPr>
              <p:cNvSpPr/>
              <p:nvPr/>
            </p:nvSpPr>
            <p:spPr>
              <a:xfrm>
                <a:off x="4809394" y="3206408"/>
                <a:ext cx="39559" cy="64844"/>
              </a:xfrm>
              <a:custGeom>
                <a:avLst/>
                <a:gdLst>
                  <a:gd name="connsiteX0" fmla="*/ 0 w 39559"/>
                  <a:gd name="connsiteY0" fmla="*/ 0 h 64844"/>
                  <a:gd name="connsiteX1" fmla="*/ 39559 w 39559"/>
                  <a:gd name="connsiteY1" fmla="*/ 0 h 64844"/>
                  <a:gd name="connsiteX2" fmla="*/ 39559 w 39559"/>
                  <a:gd name="connsiteY2" fmla="*/ 64844 h 64844"/>
                  <a:gd name="connsiteX3" fmla="*/ 0 w 39559"/>
                  <a:gd name="connsiteY3" fmla="*/ 64844 h 64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559" h="64844">
                    <a:moveTo>
                      <a:pt x="0" y="0"/>
                    </a:moveTo>
                    <a:lnTo>
                      <a:pt x="39559" y="0"/>
                    </a:lnTo>
                    <a:lnTo>
                      <a:pt x="39559" y="64844"/>
                    </a:lnTo>
                    <a:lnTo>
                      <a:pt x="0" y="64844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9" name="Freihandform: Form 238">
                <a:extLst>
                  <a:ext uri="{FF2B5EF4-FFF2-40B4-BE49-F238E27FC236}">
                    <a16:creationId xmlns:a16="http://schemas.microsoft.com/office/drawing/2014/main" id="{578E5BCB-52B3-4FDB-9EA8-BB1B9C87FA6F}"/>
                  </a:ext>
                </a:extLst>
              </p:cNvPr>
              <p:cNvSpPr/>
              <p:nvPr/>
            </p:nvSpPr>
            <p:spPr>
              <a:xfrm>
                <a:off x="5147202" y="2788517"/>
                <a:ext cx="62615" cy="40974"/>
              </a:xfrm>
              <a:custGeom>
                <a:avLst/>
                <a:gdLst>
                  <a:gd name="connsiteX0" fmla="*/ 0 w 62615"/>
                  <a:gd name="connsiteY0" fmla="*/ 0 h 40974"/>
                  <a:gd name="connsiteX1" fmla="*/ 62616 w 62615"/>
                  <a:gd name="connsiteY1" fmla="*/ 0 h 40974"/>
                  <a:gd name="connsiteX2" fmla="*/ 62616 w 62615"/>
                  <a:gd name="connsiteY2" fmla="*/ 40974 h 40974"/>
                  <a:gd name="connsiteX3" fmla="*/ 0 w 62615"/>
                  <a:gd name="connsiteY3" fmla="*/ 40974 h 40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615" h="40974">
                    <a:moveTo>
                      <a:pt x="0" y="0"/>
                    </a:moveTo>
                    <a:lnTo>
                      <a:pt x="62616" y="0"/>
                    </a:lnTo>
                    <a:lnTo>
                      <a:pt x="62616" y="40974"/>
                    </a:lnTo>
                    <a:lnTo>
                      <a:pt x="0" y="40974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0" name="Freihandform: Form 239">
                <a:extLst>
                  <a:ext uri="{FF2B5EF4-FFF2-40B4-BE49-F238E27FC236}">
                    <a16:creationId xmlns:a16="http://schemas.microsoft.com/office/drawing/2014/main" id="{40FBC9DE-9A6F-4117-9CA0-A3003DFD5FDE}"/>
                  </a:ext>
                </a:extLst>
              </p:cNvPr>
              <p:cNvSpPr/>
              <p:nvPr/>
            </p:nvSpPr>
            <p:spPr>
              <a:xfrm>
                <a:off x="5147202" y="2926734"/>
                <a:ext cx="62615" cy="40974"/>
              </a:xfrm>
              <a:custGeom>
                <a:avLst/>
                <a:gdLst>
                  <a:gd name="connsiteX0" fmla="*/ 0 w 62615"/>
                  <a:gd name="connsiteY0" fmla="*/ 0 h 40974"/>
                  <a:gd name="connsiteX1" fmla="*/ 62616 w 62615"/>
                  <a:gd name="connsiteY1" fmla="*/ 0 h 40974"/>
                  <a:gd name="connsiteX2" fmla="*/ 62616 w 62615"/>
                  <a:gd name="connsiteY2" fmla="*/ 40974 h 40974"/>
                  <a:gd name="connsiteX3" fmla="*/ 0 w 62615"/>
                  <a:gd name="connsiteY3" fmla="*/ 40974 h 40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615" h="40974">
                    <a:moveTo>
                      <a:pt x="0" y="0"/>
                    </a:moveTo>
                    <a:lnTo>
                      <a:pt x="62616" y="0"/>
                    </a:lnTo>
                    <a:lnTo>
                      <a:pt x="62616" y="40974"/>
                    </a:lnTo>
                    <a:lnTo>
                      <a:pt x="0" y="40974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1" name="Freihandform: Form 240">
                <a:extLst>
                  <a:ext uri="{FF2B5EF4-FFF2-40B4-BE49-F238E27FC236}">
                    <a16:creationId xmlns:a16="http://schemas.microsoft.com/office/drawing/2014/main" id="{0ABF740C-60C2-4C75-B663-AE78D97E6FA2}"/>
                  </a:ext>
                </a:extLst>
              </p:cNvPr>
              <p:cNvSpPr/>
              <p:nvPr/>
            </p:nvSpPr>
            <p:spPr>
              <a:xfrm>
                <a:off x="5147202" y="2715288"/>
                <a:ext cx="62615" cy="40926"/>
              </a:xfrm>
              <a:custGeom>
                <a:avLst/>
                <a:gdLst>
                  <a:gd name="connsiteX0" fmla="*/ 0 w 62615"/>
                  <a:gd name="connsiteY0" fmla="*/ 0 h 40926"/>
                  <a:gd name="connsiteX1" fmla="*/ 62616 w 62615"/>
                  <a:gd name="connsiteY1" fmla="*/ 0 h 40926"/>
                  <a:gd name="connsiteX2" fmla="*/ 62616 w 62615"/>
                  <a:gd name="connsiteY2" fmla="*/ 40927 h 40926"/>
                  <a:gd name="connsiteX3" fmla="*/ 0 w 62615"/>
                  <a:gd name="connsiteY3" fmla="*/ 40927 h 409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615" h="40926">
                    <a:moveTo>
                      <a:pt x="0" y="0"/>
                    </a:moveTo>
                    <a:lnTo>
                      <a:pt x="62616" y="0"/>
                    </a:lnTo>
                    <a:lnTo>
                      <a:pt x="62616" y="40927"/>
                    </a:lnTo>
                    <a:lnTo>
                      <a:pt x="0" y="40927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2" name="Freihandform: Form 241">
                <a:extLst>
                  <a:ext uri="{FF2B5EF4-FFF2-40B4-BE49-F238E27FC236}">
                    <a16:creationId xmlns:a16="http://schemas.microsoft.com/office/drawing/2014/main" id="{93EBF66D-FF6B-4072-9906-32B3C6FDD60A}"/>
                  </a:ext>
                </a:extLst>
              </p:cNvPr>
              <p:cNvSpPr/>
              <p:nvPr/>
            </p:nvSpPr>
            <p:spPr>
              <a:xfrm>
                <a:off x="5147202" y="2999964"/>
                <a:ext cx="62615" cy="40974"/>
              </a:xfrm>
              <a:custGeom>
                <a:avLst/>
                <a:gdLst>
                  <a:gd name="connsiteX0" fmla="*/ 0 w 62615"/>
                  <a:gd name="connsiteY0" fmla="*/ 0 h 40974"/>
                  <a:gd name="connsiteX1" fmla="*/ 62616 w 62615"/>
                  <a:gd name="connsiteY1" fmla="*/ 0 h 40974"/>
                  <a:gd name="connsiteX2" fmla="*/ 62616 w 62615"/>
                  <a:gd name="connsiteY2" fmla="*/ 40974 h 40974"/>
                  <a:gd name="connsiteX3" fmla="*/ 0 w 62615"/>
                  <a:gd name="connsiteY3" fmla="*/ 40974 h 40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615" h="40974">
                    <a:moveTo>
                      <a:pt x="0" y="0"/>
                    </a:moveTo>
                    <a:lnTo>
                      <a:pt x="62616" y="0"/>
                    </a:lnTo>
                    <a:lnTo>
                      <a:pt x="62616" y="40974"/>
                    </a:lnTo>
                    <a:lnTo>
                      <a:pt x="0" y="40974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3" name="Freihandform: Form 242">
                <a:extLst>
                  <a:ext uri="{FF2B5EF4-FFF2-40B4-BE49-F238E27FC236}">
                    <a16:creationId xmlns:a16="http://schemas.microsoft.com/office/drawing/2014/main" id="{34806F08-237F-473B-90BE-CE49CC5564A9}"/>
                  </a:ext>
                </a:extLst>
              </p:cNvPr>
              <p:cNvSpPr/>
              <p:nvPr/>
            </p:nvSpPr>
            <p:spPr>
              <a:xfrm>
                <a:off x="5147202" y="2642058"/>
                <a:ext cx="62615" cy="40974"/>
              </a:xfrm>
              <a:custGeom>
                <a:avLst/>
                <a:gdLst>
                  <a:gd name="connsiteX0" fmla="*/ 0 w 62615"/>
                  <a:gd name="connsiteY0" fmla="*/ 0 h 40974"/>
                  <a:gd name="connsiteX1" fmla="*/ 62616 w 62615"/>
                  <a:gd name="connsiteY1" fmla="*/ 0 h 40974"/>
                  <a:gd name="connsiteX2" fmla="*/ 62616 w 62615"/>
                  <a:gd name="connsiteY2" fmla="*/ 40974 h 40974"/>
                  <a:gd name="connsiteX3" fmla="*/ 0 w 62615"/>
                  <a:gd name="connsiteY3" fmla="*/ 40974 h 40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615" h="40974">
                    <a:moveTo>
                      <a:pt x="0" y="0"/>
                    </a:moveTo>
                    <a:lnTo>
                      <a:pt x="62616" y="0"/>
                    </a:lnTo>
                    <a:lnTo>
                      <a:pt x="62616" y="40974"/>
                    </a:lnTo>
                    <a:lnTo>
                      <a:pt x="0" y="40974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4" name="Freihandform: Form 243">
                <a:extLst>
                  <a:ext uri="{FF2B5EF4-FFF2-40B4-BE49-F238E27FC236}">
                    <a16:creationId xmlns:a16="http://schemas.microsoft.com/office/drawing/2014/main" id="{F1BAD4B5-6D37-4A1D-8190-D689E070429C}"/>
                  </a:ext>
                </a:extLst>
              </p:cNvPr>
              <p:cNvSpPr/>
              <p:nvPr/>
            </p:nvSpPr>
            <p:spPr>
              <a:xfrm>
                <a:off x="5147202" y="3073194"/>
                <a:ext cx="62615" cy="40974"/>
              </a:xfrm>
              <a:custGeom>
                <a:avLst/>
                <a:gdLst>
                  <a:gd name="connsiteX0" fmla="*/ 0 w 62615"/>
                  <a:gd name="connsiteY0" fmla="*/ 0 h 40974"/>
                  <a:gd name="connsiteX1" fmla="*/ 62616 w 62615"/>
                  <a:gd name="connsiteY1" fmla="*/ 0 h 40974"/>
                  <a:gd name="connsiteX2" fmla="*/ 62616 w 62615"/>
                  <a:gd name="connsiteY2" fmla="*/ 40974 h 40974"/>
                  <a:gd name="connsiteX3" fmla="*/ 0 w 62615"/>
                  <a:gd name="connsiteY3" fmla="*/ 40974 h 40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615" h="40974">
                    <a:moveTo>
                      <a:pt x="0" y="0"/>
                    </a:moveTo>
                    <a:lnTo>
                      <a:pt x="62616" y="0"/>
                    </a:lnTo>
                    <a:lnTo>
                      <a:pt x="62616" y="40974"/>
                    </a:lnTo>
                    <a:lnTo>
                      <a:pt x="0" y="40974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5" name="Freihandform: Form 244">
                <a:extLst>
                  <a:ext uri="{FF2B5EF4-FFF2-40B4-BE49-F238E27FC236}">
                    <a16:creationId xmlns:a16="http://schemas.microsoft.com/office/drawing/2014/main" id="{DF6F691B-0165-4E40-98D9-85C414FADD92}"/>
                  </a:ext>
                </a:extLst>
              </p:cNvPr>
              <p:cNvSpPr/>
              <p:nvPr/>
            </p:nvSpPr>
            <p:spPr>
              <a:xfrm>
                <a:off x="5147202" y="2857650"/>
                <a:ext cx="62615" cy="40926"/>
              </a:xfrm>
              <a:custGeom>
                <a:avLst/>
                <a:gdLst>
                  <a:gd name="connsiteX0" fmla="*/ 0 w 62615"/>
                  <a:gd name="connsiteY0" fmla="*/ 0 h 40926"/>
                  <a:gd name="connsiteX1" fmla="*/ 62616 w 62615"/>
                  <a:gd name="connsiteY1" fmla="*/ 0 h 40926"/>
                  <a:gd name="connsiteX2" fmla="*/ 62616 w 62615"/>
                  <a:gd name="connsiteY2" fmla="*/ 40927 h 40926"/>
                  <a:gd name="connsiteX3" fmla="*/ 0 w 62615"/>
                  <a:gd name="connsiteY3" fmla="*/ 40927 h 409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615" h="40926">
                    <a:moveTo>
                      <a:pt x="0" y="0"/>
                    </a:moveTo>
                    <a:lnTo>
                      <a:pt x="62616" y="0"/>
                    </a:lnTo>
                    <a:lnTo>
                      <a:pt x="62616" y="40927"/>
                    </a:lnTo>
                    <a:lnTo>
                      <a:pt x="0" y="40927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6" name="Freihandform: Form 245">
                <a:extLst>
                  <a:ext uri="{FF2B5EF4-FFF2-40B4-BE49-F238E27FC236}">
                    <a16:creationId xmlns:a16="http://schemas.microsoft.com/office/drawing/2014/main" id="{DECD3235-2E52-4478-8D0D-C7F679AD8091}"/>
                  </a:ext>
                </a:extLst>
              </p:cNvPr>
              <p:cNvSpPr/>
              <p:nvPr/>
            </p:nvSpPr>
            <p:spPr>
              <a:xfrm>
                <a:off x="4448482" y="2788517"/>
                <a:ext cx="62615" cy="40974"/>
              </a:xfrm>
              <a:custGeom>
                <a:avLst/>
                <a:gdLst>
                  <a:gd name="connsiteX0" fmla="*/ 0 w 62615"/>
                  <a:gd name="connsiteY0" fmla="*/ 0 h 40974"/>
                  <a:gd name="connsiteX1" fmla="*/ 62616 w 62615"/>
                  <a:gd name="connsiteY1" fmla="*/ 0 h 40974"/>
                  <a:gd name="connsiteX2" fmla="*/ 62616 w 62615"/>
                  <a:gd name="connsiteY2" fmla="*/ 40974 h 40974"/>
                  <a:gd name="connsiteX3" fmla="*/ 0 w 62615"/>
                  <a:gd name="connsiteY3" fmla="*/ 40974 h 40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615" h="40974">
                    <a:moveTo>
                      <a:pt x="0" y="0"/>
                    </a:moveTo>
                    <a:lnTo>
                      <a:pt x="62616" y="0"/>
                    </a:lnTo>
                    <a:lnTo>
                      <a:pt x="62616" y="40974"/>
                    </a:lnTo>
                    <a:lnTo>
                      <a:pt x="0" y="40974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7" name="Freihandform: Form 246">
                <a:extLst>
                  <a:ext uri="{FF2B5EF4-FFF2-40B4-BE49-F238E27FC236}">
                    <a16:creationId xmlns:a16="http://schemas.microsoft.com/office/drawing/2014/main" id="{053CC794-8E1D-42BF-97E0-41B27016EBDA}"/>
                  </a:ext>
                </a:extLst>
              </p:cNvPr>
              <p:cNvSpPr/>
              <p:nvPr/>
            </p:nvSpPr>
            <p:spPr>
              <a:xfrm>
                <a:off x="4448482" y="2926734"/>
                <a:ext cx="62615" cy="40974"/>
              </a:xfrm>
              <a:custGeom>
                <a:avLst/>
                <a:gdLst>
                  <a:gd name="connsiteX0" fmla="*/ 0 w 62615"/>
                  <a:gd name="connsiteY0" fmla="*/ 0 h 40974"/>
                  <a:gd name="connsiteX1" fmla="*/ 62616 w 62615"/>
                  <a:gd name="connsiteY1" fmla="*/ 0 h 40974"/>
                  <a:gd name="connsiteX2" fmla="*/ 62616 w 62615"/>
                  <a:gd name="connsiteY2" fmla="*/ 40974 h 40974"/>
                  <a:gd name="connsiteX3" fmla="*/ 0 w 62615"/>
                  <a:gd name="connsiteY3" fmla="*/ 40974 h 40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615" h="40974">
                    <a:moveTo>
                      <a:pt x="0" y="0"/>
                    </a:moveTo>
                    <a:lnTo>
                      <a:pt x="62616" y="0"/>
                    </a:lnTo>
                    <a:lnTo>
                      <a:pt x="62616" y="40974"/>
                    </a:lnTo>
                    <a:lnTo>
                      <a:pt x="0" y="40974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8" name="Freihandform: Form 247">
                <a:extLst>
                  <a:ext uri="{FF2B5EF4-FFF2-40B4-BE49-F238E27FC236}">
                    <a16:creationId xmlns:a16="http://schemas.microsoft.com/office/drawing/2014/main" id="{D0DC1F81-7071-4E4E-B44B-9A3EFD960585}"/>
                  </a:ext>
                </a:extLst>
              </p:cNvPr>
              <p:cNvSpPr/>
              <p:nvPr/>
            </p:nvSpPr>
            <p:spPr>
              <a:xfrm>
                <a:off x="4448482" y="2715288"/>
                <a:ext cx="62615" cy="40974"/>
              </a:xfrm>
              <a:custGeom>
                <a:avLst/>
                <a:gdLst>
                  <a:gd name="connsiteX0" fmla="*/ 0 w 62615"/>
                  <a:gd name="connsiteY0" fmla="*/ 0 h 40974"/>
                  <a:gd name="connsiteX1" fmla="*/ 62616 w 62615"/>
                  <a:gd name="connsiteY1" fmla="*/ 0 h 40974"/>
                  <a:gd name="connsiteX2" fmla="*/ 62616 w 62615"/>
                  <a:gd name="connsiteY2" fmla="*/ 40974 h 40974"/>
                  <a:gd name="connsiteX3" fmla="*/ 0 w 62615"/>
                  <a:gd name="connsiteY3" fmla="*/ 40974 h 40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615" h="40974">
                    <a:moveTo>
                      <a:pt x="0" y="0"/>
                    </a:moveTo>
                    <a:lnTo>
                      <a:pt x="62616" y="0"/>
                    </a:lnTo>
                    <a:lnTo>
                      <a:pt x="62616" y="40974"/>
                    </a:lnTo>
                    <a:lnTo>
                      <a:pt x="0" y="40974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9" name="Freihandform: Form 248">
                <a:extLst>
                  <a:ext uri="{FF2B5EF4-FFF2-40B4-BE49-F238E27FC236}">
                    <a16:creationId xmlns:a16="http://schemas.microsoft.com/office/drawing/2014/main" id="{4AEEA7BF-03FB-43A0-A896-7F0316A0E220}"/>
                  </a:ext>
                </a:extLst>
              </p:cNvPr>
              <p:cNvSpPr/>
              <p:nvPr/>
            </p:nvSpPr>
            <p:spPr>
              <a:xfrm>
                <a:off x="4448482" y="2999964"/>
                <a:ext cx="62615" cy="40974"/>
              </a:xfrm>
              <a:custGeom>
                <a:avLst/>
                <a:gdLst>
                  <a:gd name="connsiteX0" fmla="*/ 0 w 62615"/>
                  <a:gd name="connsiteY0" fmla="*/ 0 h 40974"/>
                  <a:gd name="connsiteX1" fmla="*/ 62616 w 62615"/>
                  <a:gd name="connsiteY1" fmla="*/ 0 h 40974"/>
                  <a:gd name="connsiteX2" fmla="*/ 62616 w 62615"/>
                  <a:gd name="connsiteY2" fmla="*/ 40974 h 40974"/>
                  <a:gd name="connsiteX3" fmla="*/ 0 w 62615"/>
                  <a:gd name="connsiteY3" fmla="*/ 40974 h 40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615" h="40974">
                    <a:moveTo>
                      <a:pt x="0" y="0"/>
                    </a:moveTo>
                    <a:lnTo>
                      <a:pt x="62616" y="0"/>
                    </a:lnTo>
                    <a:lnTo>
                      <a:pt x="62616" y="40974"/>
                    </a:lnTo>
                    <a:lnTo>
                      <a:pt x="0" y="40974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0" name="Freihandform: Form 249">
                <a:extLst>
                  <a:ext uri="{FF2B5EF4-FFF2-40B4-BE49-F238E27FC236}">
                    <a16:creationId xmlns:a16="http://schemas.microsoft.com/office/drawing/2014/main" id="{DE965C34-45B6-4B06-861C-42E807AD6A49}"/>
                  </a:ext>
                </a:extLst>
              </p:cNvPr>
              <p:cNvSpPr/>
              <p:nvPr/>
            </p:nvSpPr>
            <p:spPr>
              <a:xfrm>
                <a:off x="4448482" y="2642058"/>
                <a:ext cx="62615" cy="40974"/>
              </a:xfrm>
              <a:custGeom>
                <a:avLst/>
                <a:gdLst>
                  <a:gd name="connsiteX0" fmla="*/ 0 w 62615"/>
                  <a:gd name="connsiteY0" fmla="*/ 0 h 40974"/>
                  <a:gd name="connsiteX1" fmla="*/ 62616 w 62615"/>
                  <a:gd name="connsiteY1" fmla="*/ 0 h 40974"/>
                  <a:gd name="connsiteX2" fmla="*/ 62616 w 62615"/>
                  <a:gd name="connsiteY2" fmla="*/ 40974 h 40974"/>
                  <a:gd name="connsiteX3" fmla="*/ 0 w 62615"/>
                  <a:gd name="connsiteY3" fmla="*/ 40974 h 40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615" h="40974">
                    <a:moveTo>
                      <a:pt x="0" y="0"/>
                    </a:moveTo>
                    <a:lnTo>
                      <a:pt x="62616" y="0"/>
                    </a:lnTo>
                    <a:lnTo>
                      <a:pt x="62616" y="40974"/>
                    </a:lnTo>
                    <a:lnTo>
                      <a:pt x="0" y="40974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1" name="Freihandform: Form 250">
                <a:extLst>
                  <a:ext uri="{FF2B5EF4-FFF2-40B4-BE49-F238E27FC236}">
                    <a16:creationId xmlns:a16="http://schemas.microsoft.com/office/drawing/2014/main" id="{5ECDDED6-A6B7-46FD-9796-4A02B824E8C2}"/>
                  </a:ext>
                </a:extLst>
              </p:cNvPr>
              <p:cNvSpPr/>
              <p:nvPr/>
            </p:nvSpPr>
            <p:spPr>
              <a:xfrm>
                <a:off x="4448482" y="3073194"/>
                <a:ext cx="62615" cy="40974"/>
              </a:xfrm>
              <a:custGeom>
                <a:avLst/>
                <a:gdLst>
                  <a:gd name="connsiteX0" fmla="*/ 0 w 62615"/>
                  <a:gd name="connsiteY0" fmla="*/ 0 h 40974"/>
                  <a:gd name="connsiteX1" fmla="*/ 62616 w 62615"/>
                  <a:gd name="connsiteY1" fmla="*/ 0 h 40974"/>
                  <a:gd name="connsiteX2" fmla="*/ 62616 w 62615"/>
                  <a:gd name="connsiteY2" fmla="*/ 40974 h 40974"/>
                  <a:gd name="connsiteX3" fmla="*/ 0 w 62615"/>
                  <a:gd name="connsiteY3" fmla="*/ 40974 h 40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615" h="40974">
                    <a:moveTo>
                      <a:pt x="0" y="0"/>
                    </a:moveTo>
                    <a:lnTo>
                      <a:pt x="62616" y="0"/>
                    </a:lnTo>
                    <a:lnTo>
                      <a:pt x="62616" y="40974"/>
                    </a:lnTo>
                    <a:lnTo>
                      <a:pt x="0" y="40974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2" name="Freihandform: Form 251">
                <a:extLst>
                  <a:ext uri="{FF2B5EF4-FFF2-40B4-BE49-F238E27FC236}">
                    <a16:creationId xmlns:a16="http://schemas.microsoft.com/office/drawing/2014/main" id="{07963902-BA42-4F43-841D-368C44B2A6E1}"/>
                  </a:ext>
                </a:extLst>
              </p:cNvPr>
              <p:cNvSpPr/>
              <p:nvPr/>
            </p:nvSpPr>
            <p:spPr>
              <a:xfrm>
                <a:off x="4448482" y="2857650"/>
                <a:ext cx="62615" cy="40926"/>
              </a:xfrm>
              <a:custGeom>
                <a:avLst/>
                <a:gdLst>
                  <a:gd name="connsiteX0" fmla="*/ 0 w 62615"/>
                  <a:gd name="connsiteY0" fmla="*/ 0 h 40926"/>
                  <a:gd name="connsiteX1" fmla="*/ 62616 w 62615"/>
                  <a:gd name="connsiteY1" fmla="*/ 0 h 40926"/>
                  <a:gd name="connsiteX2" fmla="*/ 62616 w 62615"/>
                  <a:gd name="connsiteY2" fmla="*/ 40927 h 40926"/>
                  <a:gd name="connsiteX3" fmla="*/ 0 w 62615"/>
                  <a:gd name="connsiteY3" fmla="*/ 40927 h 409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615" h="40926">
                    <a:moveTo>
                      <a:pt x="0" y="0"/>
                    </a:moveTo>
                    <a:lnTo>
                      <a:pt x="62616" y="0"/>
                    </a:lnTo>
                    <a:lnTo>
                      <a:pt x="62616" y="40927"/>
                    </a:lnTo>
                    <a:lnTo>
                      <a:pt x="0" y="40927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3" name="Freihandform: Form 252">
                <a:extLst>
                  <a:ext uri="{FF2B5EF4-FFF2-40B4-BE49-F238E27FC236}">
                    <a16:creationId xmlns:a16="http://schemas.microsoft.com/office/drawing/2014/main" id="{F035A0C4-3818-4508-B155-E520A40F84D7}"/>
                  </a:ext>
                </a:extLst>
              </p:cNvPr>
              <p:cNvSpPr/>
              <p:nvPr/>
            </p:nvSpPr>
            <p:spPr>
              <a:xfrm>
                <a:off x="4660628" y="2775224"/>
                <a:ext cx="235585" cy="214924"/>
              </a:xfrm>
              <a:custGeom>
                <a:avLst/>
                <a:gdLst>
                  <a:gd name="connsiteX0" fmla="*/ 81879 w 235585"/>
                  <a:gd name="connsiteY0" fmla="*/ -60 h 214924"/>
                  <a:gd name="connsiteX1" fmla="*/ 152387 w 235585"/>
                  <a:gd name="connsiteY1" fmla="*/ -60 h 214924"/>
                  <a:gd name="connsiteX2" fmla="*/ 235524 w 235585"/>
                  <a:gd name="connsiteY2" fmla="*/ 214865 h 214924"/>
                  <a:gd name="connsiteX3" fmla="*/ 172477 w 235585"/>
                  <a:gd name="connsiteY3" fmla="*/ 214865 h 214924"/>
                  <a:gd name="connsiteX4" fmla="*/ 156405 w 235585"/>
                  <a:gd name="connsiteY4" fmla="*/ 168983 h 214924"/>
                  <a:gd name="connsiteX5" fmla="*/ 75373 w 235585"/>
                  <a:gd name="connsiteY5" fmla="*/ 168983 h 214924"/>
                  <a:gd name="connsiteX6" fmla="*/ 58392 w 235585"/>
                  <a:gd name="connsiteY6" fmla="*/ 214865 h 214924"/>
                  <a:gd name="connsiteX7" fmla="*/ -62 w 235585"/>
                  <a:gd name="connsiteY7" fmla="*/ 214865 h 214924"/>
                  <a:gd name="connsiteX8" fmla="*/ 117133 w 235585"/>
                  <a:gd name="connsiteY8" fmla="*/ 44249 h 214924"/>
                  <a:gd name="connsiteX9" fmla="*/ 116511 w 235585"/>
                  <a:gd name="connsiteY9" fmla="*/ 44249 h 214924"/>
                  <a:gd name="connsiteX10" fmla="*/ 88671 w 235585"/>
                  <a:gd name="connsiteY10" fmla="*/ 128342 h 214924"/>
                  <a:gd name="connsiteX11" fmla="*/ 142772 w 235585"/>
                  <a:gd name="connsiteY11" fmla="*/ 128342 h 2149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35585" h="214924">
                    <a:moveTo>
                      <a:pt x="81879" y="-60"/>
                    </a:moveTo>
                    <a:lnTo>
                      <a:pt x="152387" y="-60"/>
                    </a:lnTo>
                    <a:lnTo>
                      <a:pt x="235524" y="214865"/>
                    </a:lnTo>
                    <a:lnTo>
                      <a:pt x="172477" y="214865"/>
                    </a:lnTo>
                    <a:lnTo>
                      <a:pt x="156405" y="168983"/>
                    </a:lnTo>
                    <a:lnTo>
                      <a:pt x="75373" y="168983"/>
                    </a:lnTo>
                    <a:lnTo>
                      <a:pt x="58392" y="214865"/>
                    </a:lnTo>
                    <a:lnTo>
                      <a:pt x="-62" y="214865"/>
                    </a:lnTo>
                    <a:close/>
                    <a:moveTo>
                      <a:pt x="117133" y="44249"/>
                    </a:moveTo>
                    <a:lnTo>
                      <a:pt x="116511" y="44249"/>
                    </a:lnTo>
                    <a:lnTo>
                      <a:pt x="88671" y="128342"/>
                    </a:lnTo>
                    <a:lnTo>
                      <a:pt x="142772" y="128342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4" name="Freihandform: Form 253">
                <a:extLst>
                  <a:ext uri="{FF2B5EF4-FFF2-40B4-BE49-F238E27FC236}">
                    <a16:creationId xmlns:a16="http://schemas.microsoft.com/office/drawing/2014/main" id="{F8F3B280-83A0-485E-9E5F-A62F6C8FC50C}"/>
                  </a:ext>
                </a:extLst>
              </p:cNvPr>
              <p:cNvSpPr/>
              <p:nvPr/>
            </p:nvSpPr>
            <p:spPr>
              <a:xfrm>
                <a:off x="4921566" y="2775224"/>
                <a:ext cx="57401" cy="214924"/>
              </a:xfrm>
              <a:custGeom>
                <a:avLst/>
                <a:gdLst>
                  <a:gd name="connsiteX0" fmla="*/ -62 w 57401"/>
                  <a:gd name="connsiteY0" fmla="*/ -60 h 214924"/>
                  <a:gd name="connsiteX1" fmla="*/ 57339 w 57401"/>
                  <a:gd name="connsiteY1" fmla="*/ -60 h 214924"/>
                  <a:gd name="connsiteX2" fmla="*/ 57339 w 57401"/>
                  <a:gd name="connsiteY2" fmla="*/ 214865 h 214924"/>
                  <a:gd name="connsiteX3" fmla="*/ -62 w 57401"/>
                  <a:gd name="connsiteY3" fmla="*/ 214865 h 2149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401" h="214924">
                    <a:moveTo>
                      <a:pt x="-62" y="-60"/>
                    </a:moveTo>
                    <a:lnTo>
                      <a:pt x="57339" y="-60"/>
                    </a:lnTo>
                    <a:lnTo>
                      <a:pt x="57339" y="214865"/>
                    </a:lnTo>
                    <a:lnTo>
                      <a:pt x="-62" y="214865"/>
                    </a:ln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5" name="Freihandform: Form 254">
                <a:extLst>
                  <a:ext uri="{FF2B5EF4-FFF2-40B4-BE49-F238E27FC236}">
                    <a16:creationId xmlns:a16="http://schemas.microsoft.com/office/drawing/2014/main" id="{1FD87285-3B90-4485-9C09-0A78B178EB38}"/>
                  </a:ext>
                </a:extLst>
              </p:cNvPr>
              <p:cNvSpPr/>
              <p:nvPr/>
            </p:nvSpPr>
            <p:spPr>
              <a:xfrm>
                <a:off x="4538028" y="2576642"/>
                <a:ext cx="582243" cy="602894"/>
              </a:xfrm>
              <a:custGeom>
                <a:avLst/>
                <a:gdLst>
                  <a:gd name="connsiteX0" fmla="*/ 524780 w 582243"/>
                  <a:gd name="connsiteY0" fmla="*/ 32290 h 602894"/>
                  <a:gd name="connsiteX1" fmla="*/ 549702 w 582243"/>
                  <a:gd name="connsiteY1" fmla="*/ 57113 h 602894"/>
                  <a:gd name="connsiteX2" fmla="*/ 549702 w 582243"/>
                  <a:gd name="connsiteY2" fmla="*/ 545661 h 602894"/>
                  <a:gd name="connsiteX3" fmla="*/ 524828 w 582243"/>
                  <a:gd name="connsiteY3" fmla="*/ 570436 h 602894"/>
                  <a:gd name="connsiteX4" fmla="*/ 524780 w 582243"/>
                  <a:gd name="connsiteY4" fmla="*/ 570436 h 602894"/>
                  <a:gd name="connsiteX5" fmla="*/ 57339 w 582243"/>
                  <a:gd name="connsiteY5" fmla="*/ 570436 h 602894"/>
                  <a:gd name="connsiteX6" fmla="*/ 32418 w 582243"/>
                  <a:gd name="connsiteY6" fmla="*/ 545661 h 602894"/>
                  <a:gd name="connsiteX7" fmla="*/ 32418 w 582243"/>
                  <a:gd name="connsiteY7" fmla="*/ 57113 h 602894"/>
                  <a:gd name="connsiteX8" fmla="*/ 57339 w 582243"/>
                  <a:gd name="connsiteY8" fmla="*/ 32290 h 602894"/>
                  <a:gd name="connsiteX9" fmla="*/ 524780 w 582243"/>
                  <a:gd name="connsiteY9" fmla="*/ 32290 h 602894"/>
                  <a:gd name="connsiteX10" fmla="*/ 524780 w 582243"/>
                  <a:gd name="connsiteY10" fmla="*/ -60 h 602894"/>
                  <a:gd name="connsiteX11" fmla="*/ 57339 w 582243"/>
                  <a:gd name="connsiteY11" fmla="*/ -60 h 602894"/>
                  <a:gd name="connsiteX12" fmla="*/ -62 w 582243"/>
                  <a:gd name="connsiteY12" fmla="*/ 57113 h 602894"/>
                  <a:gd name="connsiteX13" fmla="*/ -62 w 582243"/>
                  <a:gd name="connsiteY13" fmla="*/ 545661 h 602894"/>
                  <a:gd name="connsiteX14" fmla="*/ 57339 w 582243"/>
                  <a:gd name="connsiteY14" fmla="*/ 602835 h 602894"/>
                  <a:gd name="connsiteX15" fmla="*/ 524780 w 582243"/>
                  <a:gd name="connsiteY15" fmla="*/ 602835 h 602894"/>
                  <a:gd name="connsiteX16" fmla="*/ 582181 w 582243"/>
                  <a:gd name="connsiteY16" fmla="*/ 545661 h 602894"/>
                  <a:gd name="connsiteX17" fmla="*/ 582181 w 582243"/>
                  <a:gd name="connsiteY17" fmla="*/ 57113 h 602894"/>
                  <a:gd name="connsiteX18" fmla="*/ 524780 w 582243"/>
                  <a:gd name="connsiteY18" fmla="*/ -60 h 6028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82243" h="602894">
                    <a:moveTo>
                      <a:pt x="524780" y="32290"/>
                    </a:moveTo>
                    <a:cubicBezTo>
                      <a:pt x="538544" y="32290"/>
                      <a:pt x="549702" y="43404"/>
                      <a:pt x="549702" y="57113"/>
                    </a:cubicBezTo>
                    <a:lnTo>
                      <a:pt x="549702" y="545661"/>
                    </a:lnTo>
                    <a:cubicBezTo>
                      <a:pt x="549702" y="559344"/>
                      <a:pt x="538565" y="570436"/>
                      <a:pt x="524828" y="570436"/>
                    </a:cubicBezTo>
                    <a:cubicBezTo>
                      <a:pt x="524812" y="570436"/>
                      <a:pt x="524796" y="570436"/>
                      <a:pt x="524780" y="570436"/>
                    </a:cubicBezTo>
                    <a:lnTo>
                      <a:pt x="57339" y="570436"/>
                    </a:lnTo>
                    <a:cubicBezTo>
                      <a:pt x="43594" y="570436"/>
                      <a:pt x="32444" y="559352"/>
                      <a:pt x="32418" y="545661"/>
                    </a:cubicBezTo>
                    <a:lnTo>
                      <a:pt x="32418" y="57113"/>
                    </a:lnTo>
                    <a:cubicBezTo>
                      <a:pt x="32444" y="43415"/>
                      <a:pt x="43586" y="32317"/>
                      <a:pt x="57339" y="32290"/>
                    </a:cubicBezTo>
                    <a:lnTo>
                      <a:pt x="524780" y="32290"/>
                    </a:lnTo>
                    <a:moveTo>
                      <a:pt x="524780" y="-60"/>
                    </a:moveTo>
                    <a:lnTo>
                      <a:pt x="57339" y="-60"/>
                    </a:lnTo>
                    <a:cubicBezTo>
                      <a:pt x="25637" y="-60"/>
                      <a:pt x="-62" y="25537"/>
                      <a:pt x="-62" y="57113"/>
                    </a:cubicBezTo>
                    <a:lnTo>
                      <a:pt x="-62" y="545661"/>
                    </a:lnTo>
                    <a:cubicBezTo>
                      <a:pt x="-62" y="577237"/>
                      <a:pt x="25637" y="602835"/>
                      <a:pt x="57339" y="602835"/>
                    </a:cubicBezTo>
                    <a:lnTo>
                      <a:pt x="524780" y="602835"/>
                    </a:lnTo>
                    <a:cubicBezTo>
                      <a:pt x="556482" y="602835"/>
                      <a:pt x="582181" y="577237"/>
                      <a:pt x="582181" y="545661"/>
                    </a:cubicBezTo>
                    <a:lnTo>
                      <a:pt x="582181" y="57113"/>
                    </a:lnTo>
                    <a:cubicBezTo>
                      <a:pt x="582181" y="25537"/>
                      <a:pt x="556482" y="-60"/>
                      <a:pt x="524780" y="-60"/>
                    </a:cubicBezTo>
                    <a:close/>
                  </a:path>
                </a:pathLst>
              </a:custGeom>
              <a:grpFill/>
              <a:ln w="4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256" name="Gruppieren 255">
            <a:extLst>
              <a:ext uri="{FF2B5EF4-FFF2-40B4-BE49-F238E27FC236}">
                <a16:creationId xmlns:a16="http://schemas.microsoft.com/office/drawing/2014/main" id="{3B4999A5-B36B-4C8F-950E-20678E122DE6}"/>
              </a:ext>
            </a:extLst>
          </p:cNvPr>
          <p:cNvGrpSpPr/>
          <p:nvPr/>
        </p:nvGrpSpPr>
        <p:grpSpPr>
          <a:xfrm>
            <a:off x="6953287" y="4963667"/>
            <a:ext cx="828109" cy="828109"/>
            <a:chOff x="6953287" y="4963667"/>
            <a:chExt cx="828109" cy="828109"/>
          </a:xfrm>
        </p:grpSpPr>
        <p:sp>
          <p:nvSpPr>
            <p:cNvPr id="257" name="Freihandform: Form 256">
              <a:extLst>
                <a:ext uri="{FF2B5EF4-FFF2-40B4-BE49-F238E27FC236}">
                  <a16:creationId xmlns:a16="http://schemas.microsoft.com/office/drawing/2014/main" id="{1ADAAA79-44AD-4D49-99A4-B0692967750B}"/>
                </a:ext>
              </a:extLst>
            </p:cNvPr>
            <p:cNvSpPr/>
            <p:nvPr/>
          </p:nvSpPr>
          <p:spPr>
            <a:xfrm>
              <a:off x="6953287" y="4963667"/>
              <a:ext cx="828109" cy="828109"/>
            </a:xfrm>
            <a:custGeom>
              <a:avLst/>
              <a:gdLst>
                <a:gd name="connsiteX0" fmla="*/ 828109 w 828109"/>
                <a:gd name="connsiteY0" fmla="*/ 414055 h 828109"/>
                <a:gd name="connsiteX1" fmla="*/ 414055 w 828109"/>
                <a:gd name="connsiteY1" fmla="*/ 828109 h 828109"/>
                <a:gd name="connsiteX2" fmla="*/ 0 w 828109"/>
                <a:gd name="connsiteY2" fmla="*/ 414055 h 828109"/>
                <a:gd name="connsiteX3" fmla="*/ 414055 w 828109"/>
                <a:gd name="connsiteY3" fmla="*/ 0 h 828109"/>
                <a:gd name="connsiteX4" fmla="*/ 828109 w 828109"/>
                <a:gd name="connsiteY4" fmla="*/ 414055 h 828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8109" h="828109">
                  <a:moveTo>
                    <a:pt x="828109" y="414055"/>
                  </a:moveTo>
                  <a:cubicBezTo>
                    <a:pt x="828109" y="642731"/>
                    <a:pt x="642731" y="828109"/>
                    <a:pt x="414055" y="828109"/>
                  </a:cubicBezTo>
                  <a:cubicBezTo>
                    <a:pt x="185379" y="828109"/>
                    <a:pt x="0" y="642731"/>
                    <a:pt x="0" y="414055"/>
                  </a:cubicBezTo>
                  <a:cubicBezTo>
                    <a:pt x="0" y="185379"/>
                    <a:pt x="185379" y="0"/>
                    <a:pt x="414055" y="0"/>
                  </a:cubicBezTo>
                  <a:cubicBezTo>
                    <a:pt x="642731" y="0"/>
                    <a:pt x="828109" y="185379"/>
                    <a:pt x="828109" y="414055"/>
                  </a:cubicBezTo>
                  <a:close/>
                </a:path>
              </a:pathLst>
            </a:custGeom>
            <a:solidFill>
              <a:srgbClr val="B5B9BC"/>
            </a:solidFill>
            <a:ln w="32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58" name="Gruppieren 257">
              <a:extLst>
                <a:ext uri="{FF2B5EF4-FFF2-40B4-BE49-F238E27FC236}">
                  <a16:creationId xmlns:a16="http://schemas.microsoft.com/office/drawing/2014/main" id="{6C6C9CDA-9E56-48A9-9E08-11E5C821900B}"/>
                </a:ext>
              </a:extLst>
            </p:cNvPr>
            <p:cNvGrpSpPr/>
            <p:nvPr/>
          </p:nvGrpSpPr>
          <p:grpSpPr>
            <a:xfrm>
              <a:off x="7085563" y="5092024"/>
              <a:ext cx="564770" cy="571395"/>
              <a:chOff x="6992094" y="2510048"/>
              <a:chExt cx="751709" cy="760526"/>
            </a:xfrm>
            <a:solidFill>
              <a:schemeClr val="bg1"/>
            </a:solidFill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259" name="Freihandform: Form 258">
                <a:extLst>
                  <a:ext uri="{FF2B5EF4-FFF2-40B4-BE49-F238E27FC236}">
                    <a16:creationId xmlns:a16="http://schemas.microsoft.com/office/drawing/2014/main" id="{A07E3360-B860-42E1-9253-CD04BB811EB0}"/>
                  </a:ext>
                </a:extLst>
              </p:cNvPr>
              <p:cNvSpPr/>
              <p:nvPr/>
            </p:nvSpPr>
            <p:spPr>
              <a:xfrm>
                <a:off x="7215878" y="3074784"/>
                <a:ext cx="136184" cy="195570"/>
              </a:xfrm>
              <a:custGeom>
                <a:avLst/>
                <a:gdLst>
                  <a:gd name="connsiteX0" fmla="*/ 94778 w 136184"/>
                  <a:gd name="connsiteY0" fmla="*/ 177720 h 195570"/>
                  <a:gd name="connsiteX1" fmla="*/ 124301 w 136184"/>
                  <a:gd name="connsiteY1" fmla="*/ 194854 h 195570"/>
                  <a:gd name="connsiteX2" fmla="*/ 136128 w 136184"/>
                  <a:gd name="connsiteY2" fmla="*/ 195515 h 195570"/>
                  <a:gd name="connsiteX3" fmla="*/ 136128 w 136184"/>
                  <a:gd name="connsiteY3" fmla="*/ -55 h 195570"/>
                  <a:gd name="connsiteX4" fmla="*/ -57 w 136184"/>
                  <a:gd name="connsiteY4" fmla="*/ 5803 h 195570"/>
                  <a:gd name="connsiteX5" fmla="*/ 35865 w 136184"/>
                  <a:gd name="connsiteY5" fmla="*/ 100989 h 195570"/>
                  <a:gd name="connsiteX6" fmla="*/ 94778 w 136184"/>
                  <a:gd name="connsiteY6" fmla="*/ 177720 h 1955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184" h="195570">
                    <a:moveTo>
                      <a:pt x="94778" y="177720"/>
                    </a:moveTo>
                    <a:cubicBezTo>
                      <a:pt x="103669" y="184926"/>
                      <a:pt x="113629" y="190707"/>
                      <a:pt x="124301" y="194854"/>
                    </a:cubicBezTo>
                    <a:cubicBezTo>
                      <a:pt x="128229" y="195119"/>
                      <a:pt x="132201" y="195383"/>
                      <a:pt x="136128" y="195515"/>
                    </a:cubicBezTo>
                    <a:lnTo>
                      <a:pt x="136128" y="-55"/>
                    </a:lnTo>
                    <a:cubicBezTo>
                      <a:pt x="88159" y="253"/>
                      <a:pt x="42352" y="2235"/>
                      <a:pt x="-57" y="5803"/>
                    </a:cubicBezTo>
                    <a:cubicBezTo>
                      <a:pt x="8469" y="38724"/>
                      <a:pt x="20512" y="70636"/>
                      <a:pt x="35865" y="100989"/>
                    </a:cubicBezTo>
                    <a:cubicBezTo>
                      <a:pt x="53341" y="134862"/>
                      <a:pt x="73199" y="160718"/>
                      <a:pt x="94778" y="177720"/>
                    </a:cubicBezTo>
                    <a:close/>
                  </a:path>
                </a:pathLst>
              </a:custGeom>
              <a:grpFill/>
              <a:ln w="43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0" name="Freihandform: Form 259">
                <a:extLst>
                  <a:ext uri="{FF2B5EF4-FFF2-40B4-BE49-F238E27FC236}">
                    <a16:creationId xmlns:a16="http://schemas.microsoft.com/office/drawing/2014/main" id="{5C8DC2FB-8054-47E9-B7D7-E8A2644D825D}"/>
                  </a:ext>
                </a:extLst>
              </p:cNvPr>
              <p:cNvSpPr/>
              <p:nvPr/>
            </p:nvSpPr>
            <p:spPr>
              <a:xfrm>
                <a:off x="7383925" y="2911677"/>
                <a:ext cx="158867" cy="137736"/>
              </a:xfrm>
              <a:custGeom>
                <a:avLst/>
                <a:gdLst>
                  <a:gd name="connsiteX0" fmla="*/ 143454 w 158867"/>
                  <a:gd name="connsiteY0" fmla="*/ 137681 h 137736"/>
                  <a:gd name="connsiteX1" fmla="*/ 158811 w 158867"/>
                  <a:gd name="connsiteY1" fmla="*/ -55 h 137736"/>
                  <a:gd name="connsiteX2" fmla="*/ -57 w 158867"/>
                  <a:gd name="connsiteY2" fmla="*/ -55 h 137736"/>
                  <a:gd name="connsiteX3" fmla="*/ -57 w 158867"/>
                  <a:gd name="connsiteY3" fmla="*/ 131382 h 137736"/>
                  <a:gd name="connsiteX4" fmla="*/ 143454 w 158867"/>
                  <a:gd name="connsiteY4" fmla="*/ 137681 h 1377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8867" h="137736">
                    <a:moveTo>
                      <a:pt x="143454" y="137681"/>
                    </a:moveTo>
                    <a:cubicBezTo>
                      <a:pt x="152907" y="92354"/>
                      <a:pt x="158049" y="46237"/>
                      <a:pt x="158811" y="-55"/>
                    </a:cubicBezTo>
                    <a:lnTo>
                      <a:pt x="-57" y="-55"/>
                    </a:lnTo>
                    <a:lnTo>
                      <a:pt x="-57" y="131382"/>
                    </a:lnTo>
                    <a:cubicBezTo>
                      <a:pt x="50693" y="131734"/>
                      <a:pt x="98971" y="133805"/>
                      <a:pt x="143454" y="137681"/>
                    </a:cubicBezTo>
                    <a:close/>
                  </a:path>
                </a:pathLst>
              </a:custGeom>
              <a:grpFill/>
              <a:ln w="43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7" name="Freihandform: Form 266">
                <a:extLst>
                  <a:ext uri="{FF2B5EF4-FFF2-40B4-BE49-F238E27FC236}">
                    <a16:creationId xmlns:a16="http://schemas.microsoft.com/office/drawing/2014/main" id="{382B14A1-6031-4C32-B3F3-9B9ED44DE017}"/>
                  </a:ext>
                </a:extLst>
              </p:cNvPr>
              <p:cNvSpPr/>
              <p:nvPr/>
            </p:nvSpPr>
            <p:spPr>
              <a:xfrm>
                <a:off x="7559076" y="2911677"/>
                <a:ext cx="184683" cy="165530"/>
              </a:xfrm>
              <a:custGeom>
                <a:avLst/>
                <a:gdLst>
                  <a:gd name="connsiteX0" fmla="*/ 138070 w 184683"/>
                  <a:gd name="connsiteY0" fmla="*/ 165475 h 165530"/>
                  <a:gd name="connsiteX1" fmla="*/ 184627 w 184683"/>
                  <a:gd name="connsiteY1" fmla="*/ -55 h 165530"/>
                  <a:gd name="connsiteX2" fmla="*/ 15389 w 184683"/>
                  <a:gd name="connsiteY2" fmla="*/ -55 h 165530"/>
                  <a:gd name="connsiteX3" fmla="*/ -57 w 184683"/>
                  <a:gd name="connsiteY3" fmla="*/ 140896 h 165530"/>
                  <a:gd name="connsiteX4" fmla="*/ 138070 w 184683"/>
                  <a:gd name="connsiteY4" fmla="*/ 165475 h 165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4683" h="165530">
                    <a:moveTo>
                      <a:pt x="138070" y="165475"/>
                    </a:moveTo>
                    <a:cubicBezTo>
                      <a:pt x="166188" y="114627"/>
                      <a:pt x="182123" y="57970"/>
                      <a:pt x="184627" y="-55"/>
                    </a:cubicBezTo>
                    <a:lnTo>
                      <a:pt x="15389" y="-55"/>
                    </a:lnTo>
                    <a:cubicBezTo>
                      <a:pt x="14591" y="47302"/>
                      <a:pt x="9421" y="94486"/>
                      <a:pt x="-57" y="140896"/>
                    </a:cubicBezTo>
                    <a:cubicBezTo>
                      <a:pt x="67418" y="148120"/>
                      <a:pt x="112033" y="158119"/>
                      <a:pt x="138070" y="165475"/>
                    </a:cubicBezTo>
                    <a:close/>
                  </a:path>
                </a:pathLst>
              </a:custGeom>
              <a:grpFill/>
              <a:ln w="43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0" name="Freihandform: Form 269">
                <a:extLst>
                  <a:ext uri="{FF2B5EF4-FFF2-40B4-BE49-F238E27FC236}">
                    <a16:creationId xmlns:a16="http://schemas.microsoft.com/office/drawing/2014/main" id="{5E81D5CF-92BE-4585-B2E4-C9092A063531}"/>
                  </a:ext>
                </a:extLst>
              </p:cNvPr>
              <p:cNvSpPr/>
              <p:nvPr/>
            </p:nvSpPr>
            <p:spPr>
              <a:xfrm>
                <a:off x="7466095" y="3083682"/>
                <a:ext cx="213941" cy="174207"/>
              </a:xfrm>
              <a:custGeom>
                <a:avLst/>
                <a:gdLst>
                  <a:gd name="connsiteX0" fmla="*/ -57 w 213941"/>
                  <a:gd name="connsiteY0" fmla="*/ 174152 h 174207"/>
                  <a:gd name="connsiteX1" fmla="*/ 213885 w 213941"/>
                  <a:gd name="connsiteY1" fmla="*/ 21704 h 174207"/>
                  <a:gd name="connsiteX2" fmla="*/ 85908 w 213941"/>
                  <a:gd name="connsiteY2" fmla="*/ -55 h 174207"/>
                  <a:gd name="connsiteX3" fmla="*/ 50825 w 213941"/>
                  <a:gd name="connsiteY3" fmla="*/ 97377 h 174207"/>
                  <a:gd name="connsiteX4" fmla="*/ -57 w 213941"/>
                  <a:gd name="connsiteY4" fmla="*/ 174152 h 174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3941" h="174207">
                    <a:moveTo>
                      <a:pt x="-57" y="174152"/>
                    </a:moveTo>
                    <a:cubicBezTo>
                      <a:pt x="87254" y="150565"/>
                      <a:pt x="163176" y="96466"/>
                      <a:pt x="213885" y="21704"/>
                    </a:cubicBezTo>
                    <a:cubicBezTo>
                      <a:pt x="171805" y="11393"/>
                      <a:pt x="129035" y="4121"/>
                      <a:pt x="85908" y="-55"/>
                    </a:cubicBezTo>
                    <a:cubicBezTo>
                      <a:pt x="77464" y="33498"/>
                      <a:pt x="65712" y="66135"/>
                      <a:pt x="50825" y="97377"/>
                    </a:cubicBezTo>
                    <a:cubicBezTo>
                      <a:pt x="37799" y="125360"/>
                      <a:pt x="20648" y="151239"/>
                      <a:pt x="-57" y="174152"/>
                    </a:cubicBezTo>
                    <a:close/>
                  </a:path>
                </a:pathLst>
              </a:custGeom>
              <a:grpFill/>
              <a:ln w="43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2" name="Freihandform: Form 271">
                <a:extLst>
                  <a:ext uri="{FF2B5EF4-FFF2-40B4-BE49-F238E27FC236}">
                    <a16:creationId xmlns:a16="http://schemas.microsoft.com/office/drawing/2014/main" id="{94D7D842-3845-4560-9332-0133B04F85C1}"/>
                  </a:ext>
                </a:extLst>
              </p:cNvPr>
              <p:cNvSpPr/>
              <p:nvPr/>
            </p:nvSpPr>
            <p:spPr>
              <a:xfrm>
                <a:off x="7055996" y="3083682"/>
                <a:ext cx="213985" cy="174251"/>
              </a:xfrm>
              <a:custGeom>
                <a:avLst/>
                <a:gdLst>
                  <a:gd name="connsiteX0" fmla="*/ 127920 w 213985"/>
                  <a:gd name="connsiteY0" fmla="*/ -55 h 174251"/>
                  <a:gd name="connsiteX1" fmla="*/ -57 w 213985"/>
                  <a:gd name="connsiteY1" fmla="*/ 21704 h 174251"/>
                  <a:gd name="connsiteX2" fmla="*/ 213929 w 213985"/>
                  <a:gd name="connsiteY2" fmla="*/ 174196 h 174251"/>
                  <a:gd name="connsiteX3" fmla="*/ 167593 w 213985"/>
                  <a:gd name="connsiteY3" fmla="*/ 106627 h 174251"/>
                  <a:gd name="connsiteX4" fmla="*/ 127920 w 213985"/>
                  <a:gd name="connsiteY4" fmla="*/ -55 h 1742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3985" h="174251">
                    <a:moveTo>
                      <a:pt x="127920" y="-55"/>
                    </a:moveTo>
                    <a:cubicBezTo>
                      <a:pt x="84796" y="4146"/>
                      <a:pt x="42029" y="11417"/>
                      <a:pt x="-57" y="21704"/>
                    </a:cubicBezTo>
                    <a:cubicBezTo>
                      <a:pt x="50578" y="96566"/>
                      <a:pt x="126549" y="150705"/>
                      <a:pt x="213929" y="174196"/>
                    </a:cubicBezTo>
                    <a:cubicBezTo>
                      <a:pt x="195465" y="153891"/>
                      <a:pt x="179875" y="131156"/>
                      <a:pt x="167593" y="106627"/>
                    </a:cubicBezTo>
                    <a:cubicBezTo>
                      <a:pt x="150463" y="72637"/>
                      <a:pt x="137158" y="36858"/>
                      <a:pt x="127920" y="-55"/>
                    </a:cubicBezTo>
                    <a:close/>
                  </a:path>
                </a:pathLst>
              </a:custGeom>
              <a:grpFill/>
              <a:ln w="43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3" name="Freihandform: Form 272">
                <a:extLst>
                  <a:ext uri="{FF2B5EF4-FFF2-40B4-BE49-F238E27FC236}">
                    <a16:creationId xmlns:a16="http://schemas.microsoft.com/office/drawing/2014/main" id="{F7CE1094-D909-42D1-979D-761FAD31FC37}"/>
                  </a:ext>
                </a:extLst>
              </p:cNvPr>
              <p:cNvSpPr/>
              <p:nvPr/>
            </p:nvSpPr>
            <p:spPr>
              <a:xfrm>
                <a:off x="7383792" y="3074916"/>
                <a:ext cx="136140" cy="195658"/>
              </a:xfrm>
              <a:custGeom>
                <a:avLst/>
                <a:gdLst>
                  <a:gd name="connsiteX0" fmla="*/ 11638 w 136140"/>
                  <a:gd name="connsiteY0" fmla="*/ 194810 h 195658"/>
                  <a:gd name="connsiteX1" fmla="*/ 104310 w 136140"/>
                  <a:gd name="connsiteY1" fmla="*/ 92356 h 195658"/>
                  <a:gd name="connsiteX2" fmla="*/ 136084 w 136140"/>
                  <a:gd name="connsiteY2" fmla="*/ 5803 h 195658"/>
                  <a:gd name="connsiteX3" fmla="*/ -57 w 136140"/>
                  <a:gd name="connsiteY3" fmla="*/ -55 h 195658"/>
                  <a:gd name="connsiteX4" fmla="*/ -57 w 136140"/>
                  <a:gd name="connsiteY4" fmla="*/ 195603 h 195658"/>
                  <a:gd name="connsiteX5" fmla="*/ 11638 w 136140"/>
                  <a:gd name="connsiteY5" fmla="*/ 194810 h 1956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6140" h="195658">
                    <a:moveTo>
                      <a:pt x="11638" y="194810"/>
                    </a:moveTo>
                    <a:cubicBezTo>
                      <a:pt x="45706" y="181948"/>
                      <a:pt x="78627" y="145565"/>
                      <a:pt x="104310" y="92356"/>
                    </a:cubicBezTo>
                    <a:cubicBezTo>
                      <a:pt x="117599" y="64564"/>
                      <a:pt x="128237" y="35585"/>
                      <a:pt x="136084" y="5803"/>
                    </a:cubicBezTo>
                    <a:cubicBezTo>
                      <a:pt x="93675" y="2235"/>
                      <a:pt x="47824" y="253"/>
                      <a:pt x="-57" y="-55"/>
                    </a:cubicBezTo>
                    <a:lnTo>
                      <a:pt x="-57" y="195603"/>
                    </a:lnTo>
                    <a:cubicBezTo>
                      <a:pt x="3827" y="195339"/>
                      <a:pt x="7725" y="195075"/>
                      <a:pt x="11638" y="194810"/>
                    </a:cubicBezTo>
                    <a:close/>
                  </a:path>
                </a:pathLst>
              </a:custGeom>
              <a:grpFill/>
              <a:ln w="43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4" name="Freihandform: Form 273">
                <a:extLst>
                  <a:ext uri="{FF2B5EF4-FFF2-40B4-BE49-F238E27FC236}">
                    <a16:creationId xmlns:a16="http://schemas.microsoft.com/office/drawing/2014/main" id="{C60EF713-CB57-45F7-B665-85688B42064E}"/>
                  </a:ext>
                </a:extLst>
              </p:cNvPr>
              <p:cNvSpPr/>
              <p:nvPr/>
            </p:nvSpPr>
            <p:spPr>
              <a:xfrm>
                <a:off x="6992140" y="2911545"/>
                <a:ext cx="184550" cy="165530"/>
              </a:xfrm>
              <a:custGeom>
                <a:avLst/>
                <a:gdLst>
                  <a:gd name="connsiteX0" fmla="*/ 184494 w 184550"/>
                  <a:gd name="connsiteY0" fmla="*/ 140896 h 165530"/>
                  <a:gd name="connsiteX1" fmla="*/ 169181 w 184550"/>
                  <a:gd name="connsiteY1" fmla="*/ -55 h 165530"/>
                  <a:gd name="connsiteX2" fmla="*/ -57 w 184550"/>
                  <a:gd name="connsiteY2" fmla="*/ -55 h 165530"/>
                  <a:gd name="connsiteX3" fmla="*/ 46368 w 184550"/>
                  <a:gd name="connsiteY3" fmla="*/ 165475 h 165530"/>
                  <a:gd name="connsiteX4" fmla="*/ 184494 w 184550"/>
                  <a:gd name="connsiteY4" fmla="*/ 140896 h 165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4550" h="165530">
                    <a:moveTo>
                      <a:pt x="184494" y="140896"/>
                    </a:moveTo>
                    <a:cubicBezTo>
                      <a:pt x="175074" y="94480"/>
                      <a:pt x="169948" y="47298"/>
                      <a:pt x="169181" y="-55"/>
                    </a:cubicBezTo>
                    <a:lnTo>
                      <a:pt x="-57" y="-55"/>
                    </a:lnTo>
                    <a:cubicBezTo>
                      <a:pt x="2402" y="57960"/>
                      <a:pt x="18292" y="114618"/>
                      <a:pt x="46368" y="165475"/>
                    </a:cubicBezTo>
                    <a:cubicBezTo>
                      <a:pt x="72316" y="158295"/>
                      <a:pt x="117020" y="148252"/>
                      <a:pt x="184494" y="140896"/>
                    </a:cubicBezTo>
                    <a:close/>
                  </a:path>
                </a:pathLst>
              </a:custGeom>
              <a:grpFill/>
              <a:ln w="43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5" name="Freihandform: Form 274">
                <a:extLst>
                  <a:ext uri="{FF2B5EF4-FFF2-40B4-BE49-F238E27FC236}">
                    <a16:creationId xmlns:a16="http://schemas.microsoft.com/office/drawing/2014/main" id="{26160A53-AEA4-4636-8BB4-AE21547CAC61}"/>
                  </a:ext>
                </a:extLst>
              </p:cNvPr>
              <p:cNvSpPr/>
              <p:nvPr/>
            </p:nvSpPr>
            <p:spPr>
              <a:xfrm>
                <a:off x="7193196" y="2911677"/>
                <a:ext cx="158867" cy="137736"/>
              </a:xfrm>
              <a:custGeom>
                <a:avLst/>
                <a:gdLst>
                  <a:gd name="connsiteX0" fmla="*/ 158811 w 158867"/>
                  <a:gd name="connsiteY0" fmla="*/ 131382 h 137736"/>
                  <a:gd name="connsiteX1" fmla="*/ 158811 w 158867"/>
                  <a:gd name="connsiteY1" fmla="*/ -55 h 137736"/>
                  <a:gd name="connsiteX2" fmla="*/ -57 w 158867"/>
                  <a:gd name="connsiteY2" fmla="*/ -55 h 137736"/>
                  <a:gd name="connsiteX3" fmla="*/ 15168 w 158867"/>
                  <a:gd name="connsiteY3" fmla="*/ 137681 h 137736"/>
                  <a:gd name="connsiteX4" fmla="*/ 158811 w 158867"/>
                  <a:gd name="connsiteY4" fmla="*/ 131382 h 1377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8867" h="137736">
                    <a:moveTo>
                      <a:pt x="158811" y="131382"/>
                    </a:moveTo>
                    <a:lnTo>
                      <a:pt x="158811" y="-55"/>
                    </a:lnTo>
                    <a:lnTo>
                      <a:pt x="-57" y="-55"/>
                    </a:lnTo>
                    <a:cubicBezTo>
                      <a:pt x="662" y="46233"/>
                      <a:pt x="5759" y="92350"/>
                      <a:pt x="15168" y="137681"/>
                    </a:cubicBezTo>
                    <a:cubicBezTo>
                      <a:pt x="59519" y="133805"/>
                      <a:pt x="107841" y="131734"/>
                      <a:pt x="158811" y="131382"/>
                    </a:cubicBezTo>
                    <a:close/>
                  </a:path>
                </a:pathLst>
              </a:custGeom>
              <a:grpFill/>
              <a:ln w="43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6" name="Freihandform: Form 275">
                <a:extLst>
                  <a:ext uri="{FF2B5EF4-FFF2-40B4-BE49-F238E27FC236}">
                    <a16:creationId xmlns:a16="http://schemas.microsoft.com/office/drawing/2014/main" id="{8743C76F-5771-4F82-8E22-F111BBE164D2}"/>
                  </a:ext>
                </a:extLst>
              </p:cNvPr>
              <p:cNvSpPr/>
              <p:nvPr/>
            </p:nvSpPr>
            <p:spPr>
              <a:xfrm>
                <a:off x="6992094" y="2510048"/>
                <a:ext cx="751709" cy="370090"/>
              </a:xfrm>
              <a:custGeom>
                <a:avLst/>
                <a:gdLst>
                  <a:gd name="connsiteX0" fmla="*/ 751433 w 751709"/>
                  <a:gd name="connsiteY0" fmla="*/ 302599 h 370090"/>
                  <a:gd name="connsiteX1" fmla="*/ 737443 w 751709"/>
                  <a:gd name="connsiteY1" fmla="*/ 250711 h 370090"/>
                  <a:gd name="connsiteX2" fmla="*/ 730383 w 751709"/>
                  <a:gd name="connsiteY2" fmla="*/ 245954 h 370090"/>
                  <a:gd name="connsiteX3" fmla="*/ 630605 w 751709"/>
                  <a:gd name="connsiteY3" fmla="*/ 257010 h 370090"/>
                  <a:gd name="connsiteX4" fmla="*/ 605495 w 751709"/>
                  <a:gd name="connsiteY4" fmla="*/ 213579 h 370090"/>
                  <a:gd name="connsiteX5" fmla="*/ 665335 w 751709"/>
                  <a:gd name="connsiteY5" fmla="*/ 133501 h 370090"/>
                  <a:gd name="connsiteX6" fmla="*/ 664717 w 751709"/>
                  <a:gd name="connsiteY6" fmla="*/ 125000 h 370090"/>
                  <a:gd name="connsiteX7" fmla="*/ 626589 w 751709"/>
                  <a:gd name="connsiteY7" fmla="*/ 86987 h 370090"/>
                  <a:gd name="connsiteX8" fmla="*/ 618028 w 751709"/>
                  <a:gd name="connsiteY8" fmla="*/ 86326 h 370090"/>
                  <a:gd name="connsiteX9" fmla="*/ 537271 w 751709"/>
                  <a:gd name="connsiteY9" fmla="*/ 145482 h 370090"/>
                  <a:gd name="connsiteX10" fmla="*/ 493626 w 751709"/>
                  <a:gd name="connsiteY10" fmla="*/ 120375 h 370090"/>
                  <a:gd name="connsiteX11" fmla="*/ 505144 w 751709"/>
                  <a:gd name="connsiteY11" fmla="*/ 21268 h 370090"/>
                  <a:gd name="connsiteX12" fmla="*/ 500334 w 751709"/>
                  <a:gd name="connsiteY12" fmla="*/ 14220 h 370090"/>
                  <a:gd name="connsiteX13" fmla="*/ 448261 w 751709"/>
                  <a:gd name="connsiteY13" fmla="*/ 257 h 370090"/>
                  <a:gd name="connsiteX14" fmla="*/ 440538 w 751709"/>
                  <a:gd name="connsiteY14" fmla="*/ 3913 h 370090"/>
                  <a:gd name="connsiteX15" fmla="*/ 400247 w 751709"/>
                  <a:gd name="connsiteY15" fmla="*/ 95356 h 370090"/>
                  <a:gd name="connsiteX16" fmla="*/ 349851 w 751709"/>
                  <a:gd name="connsiteY16" fmla="*/ 95356 h 370090"/>
                  <a:gd name="connsiteX17" fmla="*/ 310134 w 751709"/>
                  <a:gd name="connsiteY17" fmla="*/ 3869 h 370090"/>
                  <a:gd name="connsiteX18" fmla="*/ 302412 w 751709"/>
                  <a:gd name="connsiteY18" fmla="*/ 169 h 370090"/>
                  <a:gd name="connsiteX19" fmla="*/ 250250 w 751709"/>
                  <a:gd name="connsiteY19" fmla="*/ 14000 h 370090"/>
                  <a:gd name="connsiteX20" fmla="*/ 245396 w 751709"/>
                  <a:gd name="connsiteY20" fmla="*/ 21004 h 370090"/>
                  <a:gd name="connsiteX21" fmla="*/ 256561 w 751709"/>
                  <a:gd name="connsiteY21" fmla="*/ 120154 h 370090"/>
                  <a:gd name="connsiteX22" fmla="*/ 219536 w 751709"/>
                  <a:gd name="connsiteY22" fmla="*/ 140725 h 370090"/>
                  <a:gd name="connsiteX23" fmla="*/ 211857 w 751709"/>
                  <a:gd name="connsiteY23" fmla="*/ 144336 h 370090"/>
                  <a:gd name="connsiteX24" fmla="*/ 132423 w 751709"/>
                  <a:gd name="connsiteY24" fmla="*/ 85665 h 370090"/>
                  <a:gd name="connsiteX25" fmla="*/ 123553 w 751709"/>
                  <a:gd name="connsiteY25" fmla="*/ 86150 h 370090"/>
                  <a:gd name="connsiteX26" fmla="*/ 85293 w 751709"/>
                  <a:gd name="connsiteY26" fmla="*/ 124031 h 370090"/>
                  <a:gd name="connsiteX27" fmla="*/ 84631 w 751709"/>
                  <a:gd name="connsiteY27" fmla="*/ 132532 h 370090"/>
                  <a:gd name="connsiteX28" fmla="*/ 144162 w 751709"/>
                  <a:gd name="connsiteY28" fmla="*/ 212742 h 370090"/>
                  <a:gd name="connsiteX29" fmla="*/ 118876 w 751709"/>
                  <a:gd name="connsiteY29" fmla="*/ 256129 h 370090"/>
                  <a:gd name="connsiteX30" fmla="*/ 19407 w 751709"/>
                  <a:gd name="connsiteY30" fmla="*/ 244721 h 370090"/>
                  <a:gd name="connsiteX31" fmla="*/ 12346 w 751709"/>
                  <a:gd name="connsiteY31" fmla="*/ 249522 h 370090"/>
                  <a:gd name="connsiteX32" fmla="*/ 166 w 751709"/>
                  <a:gd name="connsiteY32" fmla="*/ 294362 h 370090"/>
                  <a:gd name="connsiteX33" fmla="*/ 3873 w 751709"/>
                  <a:gd name="connsiteY33" fmla="*/ 302026 h 370090"/>
                  <a:gd name="connsiteX34" fmla="*/ 95796 w 751709"/>
                  <a:gd name="connsiteY34" fmla="*/ 342021 h 370090"/>
                  <a:gd name="connsiteX35" fmla="*/ 94648 w 751709"/>
                  <a:gd name="connsiteY35" fmla="*/ 370035 h 370090"/>
                  <a:gd name="connsiteX36" fmla="*/ 169184 w 751709"/>
                  <a:gd name="connsiteY36" fmla="*/ 370035 h 370090"/>
                  <a:gd name="connsiteX37" fmla="*/ 384252 w 751709"/>
                  <a:gd name="connsiteY37" fmla="*/ 172418 h 370090"/>
                  <a:gd name="connsiteX38" fmla="*/ 582239 w 751709"/>
                  <a:gd name="connsiteY38" fmla="*/ 370035 h 370090"/>
                  <a:gd name="connsiteX39" fmla="*/ 656598 w 751709"/>
                  <a:gd name="connsiteY39" fmla="*/ 370035 h 370090"/>
                  <a:gd name="connsiteX40" fmla="*/ 654921 w 751709"/>
                  <a:gd name="connsiteY40" fmla="*/ 342594 h 370090"/>
                  <a:gd name="connsiteX41" fmla="*/ 747593 w 751709"/>
                  <a:gd name="connsiteY41" fmla="*/ 310307 h 370090"/>
                  <a:gd name="connsiteX42" fmla="*/ 751432 w 751709"/>
                  <a:gd name="connsiteY42" fmla="*/ 302599 h 370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</a:cxnLst>
                <a:rect l="l" t="t" r="r" b="b"/>
                <a:pathLst>
                  <a:path w="751709" h="370090">
                    <a:moveTo>
                      <a:pt x="751433" y="302599"/>
                    </a:moveTo>
                    <a:lnTo>
                      <a:pt x="737443" y="250711"/>
                    </a:lnTo>
                    <a:cubicBezTo>
                      <a:pt x="736609" y="247589"/>
                      <a:pt x="733596" y="245559"/>
                      <a:pt x="730383" y="245954"/>
                    </a:cubicBezTo>
                    <a:lnTo>
                      <a:pt x="630605" y="257010"/>
                    </a:lnTo>
                    <a:cubicBezTo>
                      <a:pt x="623542" y="241818"/>
                      <a:pt x="615138" y="227284"/>
                      <a:pt x="605495" y="213579"/>
                    </a:cubicBezTo>
                    <a:lnTo>
                      <a:pt x="665335" y="133501"/>
                    </a:lnTo>
                    <a:cubicBezTo>
                      <a:pt x="667233" y="130896"/>
                      <a:pt x="666972" y="127304"/>
                      <a:pt x="664717" y="125000"/>
                    </a:cubicBezTo>
                    <a:lnTo>
                      <a:pt x="626589" y="86987"/>
                    </a:lnTo>
                    <a:cubicBezTo>
                      <a:pt x="624285" y="84698"/>
                      <a:pt x="620657" y="84418"/>
                      <a:pt x="618028" y="86326"/>
                    </a:cubicBezTo>
                    <a:lnTo>
                      <a:pt x="537271" y="145482"/>
                    </a:lnTo>
                    <a:cubicBezTo>
                      <a:pt x="523508" y="135821"/>
                      <a:pt x="508900" y="127418"/>
                      <a:pt x="493626" y="120375"/>
                    </a:cubicBezTo>
                    <a:lnTo>
                      <a:pt x="505144" y="21268"/>
                    </a:lnTo>
                    <a:cubicBezTo>
                      <a:pt x="505496" y="18058"/>
                      <a:pt x="503456" y="15068"/>
                      <a:pt x="500334" y="14220"/>
                    </a:cubicBezTo>
                    <a:lnTo>
                      <a:pt x="448261" y="257"/>
                    </a:lnTo>
                    <a:cubicBezTo>
                      <a:pt x="445136" y="-588"/>
                      <a:pt x="441859" y="963"/>
                      <a:pt x="440538" y="3913"/>
                    </a:cubicBezTo>
                    <a:lnTo>
                      <a:pt x="400247" y="95356"/>
                    </a:lnTo>
                    <a:cubicBezTo>
                      <a:pt x="383482" y="93858"/>
                      <a:pt x="366616" y="93858"/>
                      <a:pt x="349851" y="95356"/>
                    </a:cubicBezTo>
                    <a:lnTo>
                      <a:pt x="310134" y="3869"/>
                    </a:lnTo>
                    <a:cubicBezTo>
                      <a:pt x="308828" y="902"/>
                      <a:pt x="305548" y="-670"/>
                      <a:pt x="302412" y="169"/>
                    </a:cubicBezTo>
                    <a:lnTo>
                      <a:pt x="250250" y="14000"/>
                    </a:lnTo>
                    <a:cubicBezTo>
                      <a:pt x="247105" y="14795"/>
                      <a:pt x="245032" y="17786"/>
                      <a:pt x="245396" y="21004"/>
                    </a:cubicBezTo>
                    <a:lnTo>
                      <a:pt x="256561" y="120154"/>
                    </a:lnTo>
                    <a:cubicBezTo>
                      <a:pt x="243715" y="126065"/>
                      <a:pt x="231337" y="132941"/>
                      <a:pt x="219536" y="140725"/>
                    </a:cubicBezTo>
                    <a:lnTo>
                      <a:pt x="211857" y="144336"/>
                    </a:lnTo>
                    <a:lnTo>
                      <a:pt x="132423" y="85665"/>
                    </a:lnTo>
                    <a:cubicBezTo>
                      <a:pt x="129781" y="83529"/>
                      <a:pt x="125946" y="83738"/>
                      <a:pt x="123553" y="86150"/>
                    </a:cubicBezTo>
                    <a:lnTo>
                      <a:pt x="85293" y="124031"/>
                    </a:lnTo>
                    <a:cubicBezTo>
                      <a:pt x="82989" y="126308"/>
                      <a:pt x="82707" y="129927"/>
                      <a:pt x="84631" y="132532"/>
                    </a:cubicBezTo>
                    <a:lnTo>
                      <a:pt x="144162" y="212742"/>
                    </a:lnTo>
                    <a:cubicBezTo>
                      <a:pt x="134465" y="226430"/>
                      <a:pt x="126003" y="240949"/>
                      <a:pt x="118876" y="256129"/>
                    </a:cubicBezTo>
                    <a:lnTo>
                      <a:pt x="19407" y="244721"/>
                    </a:lnTo>
                    <a:cubicBezTo>
                      <a:pt x="16190" y="244369"/>
                      <a:pt x="13196" y="246405"/>
                      <a:pt x="12346" y="249522"/>
                    </a:cubicBezTo>
                    <a:lnTo>
                      <a:pt x="166" y="294362"/>
                    </a:lnTo>
                    <a:cubicBezTo>
                      <a:pt x="-670" y="297480"/>
                      <a:pt x="907" y="300740"/>
                      <a:pt x="3873" y="302026"/>
                    </a:cubicBezTo>
                    <a:lnTo>
                      <a:pt x="95796" y="342021"/>
                    </a:lnTo>
                    <a:cubicBezTo>
                      <a:pt x="94957" y="351359"/>
                      <a:pt x="94560" y="360741"/>
                      <a:pt x="94648" y="370035"/>
                    </a:cubicBezTo>
                    <a:lnTo>
                      <a:pt x="169184" y="370035"/>
                    </a:lnTo>
                    <a:cubicBezTo>
                      <a:pt x="173901" y="256186"/>
                      <a:pt x="270190" y="167710"/>
                      <a:pt x="384252" y="172418"/>
                    </a:cubicBezTo>
                    <a:cubicBezTo>
                      <a:pt x="491703" y="176853"/>
                      <a:pt x="577795" y="262785"/>
                      <a:pt x="582239" y="370035"/>
                    </a:cubicBezTo>
                    <a:lnTo>
                      <a:pt x="656598" y="370035"/>
                    </a:lnTo>
                    <a:cubicBezTo>
                      <a:pt x="656598" y="363296"/>
                      <a:pt x="654921" y="342594"/>
                      <a:pt x="654921" y="342594"/>
                    </a:cubicBezTo>
                    <a:lnTo>
                      <a:pt x="747593" y="310307"/>
                    </a:lnTo>
                    <a:cubicBezTo>
                      <a:pt x="750632" y="309066"/>
                      <a:pt x="752276" y="305766"/>
                      <a:pt x="751432" y="302599"/>
                    </a:cubicBezTo>
                    <a:close/>
                  </a:path>
                </a:pathLst>
              </a:custGeom>
              <a:grpFill/>
              <a:ln w="43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277" name="Gruppieren 276">
            <a:extLst>
              <a:ext uri="{FF2B5EF4-FFF2-40B4-BE49-F238E27FC236}">
                <a16:creationId xmlns:a16="http://schemas.microsoft.com/office/drawing/2014/main" id="{E582DD57-4337-40EE-BCFD-FDD1487E7DB7}"/>
              </a:ext>
            </a:extLst>
          </p:cNvPr>
          <p:cNvGrpSpPr/>
          <p:nvPr/>
        </p:nvGrpSpPr>
        <p:grpSpPr>
          <a:xfrm>
            <a:off x="3145969" y="4963667"/>
            <a:ext cx="828109" cy="828109"/>
            <a:chOff x="3145969" y="4963667"/>
            <a:chExt cx="828109" cy="828109"/>
          </a:xfrm>
        </p:grpSpPr>
        <p:sp>
          <p:nvSpPr>
            <p:cNvPr id="278" name="Freihandform: Form 277">
              <a:extLst>
                <a:ext uri="{FF2B5EF4-FFF2-40B4-BE49-F238E27FC236}">
                  <a16:creationId xmlns:a16="http://schemas.microsoft.com/office/drawing/2014/main" id="{4CF7ACD1-34A6-43BF-9598-6187F30AD768}"/>
                </a:ext>
              </a:extLst>
            </p:cNvPr>
            <p:cNvSpPr/>
            <p:nvPr/>
          </p:nvSpPr>
          <p:spPr>
            <a:xfrm>
              <a:off x="3145969" y="4963667"/>
              <a:ext cx="828109" cy="828109"/>
            </a:xfrm>
            <a:custGeom>
              <a:avLst/>
              <a:gdLst>
                <a:gd name="connsiteX0" fmla="*/ 828109 w 828109"/>
                <a:gd name="connsiteY0" fmla="*/ 414055 h 828109"/>
                <a:gd name="connsiteX1" fmla="*/ 414055 w 828109"/>
                <a:gd name="connsiteY1" fmla="*/ 828109 h 828109"/>
                <a:gd name="connsiteX2" fmla="*/ 0 w 828109"/>
                <a:gd name="connsiteY2" fmla="*/ 414055 h 828109"/>
                <a:gd name="connsiteX3" fmla="*/ 414055 w 828109"/>
                <a:gd name="connsiteY3" fmla="*/ 0 h 828109"/>
                <a:gd name="connsiteX4" fmla="*/ 828109 w 828109"/>
                <a:gd name="connsiteY4" fmla="*/ 414055 h 828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8109" h="828109">
                  <a:moveTo>
                    <a:pt x="828109" y="414055"/>
                  </a:moveTo>
                  <a:cubicBezTo>
                    <a:pt x="828109" y="642731"/>
                    <a:pt x="642731" y="828109"/>
                    <a:pt x="414055" y="828109"/>
                  </a:cubicBezTo>
                  <a:cubicBezTo>
                    <a:pt x="185379" y="828109"/>
                    <a:pt x="0" y="642731"/>
                    <a:pt x="0" y="414055"/>
                  </a:cubicBezTo>
                  <a:cubicBezTo>
                    <a:pt x="0" y="185379"/>
                    <a:pt x="185379" y="0"/>
                    <a:pt x="414055" y="0"/>
                  </a:cubicBezTo>
                  <a:cubicBezTo>
                    <a:pt x="642731" y="0"/>
                    <a:pt x="828109" y="185379"/>
                    <a:pt x="828109" y="414055"/>
                  </a:cubicBezTo>
                  <a:close/>
                </a:path>
              </a:pathLst>
            </a:custGeom>
            <a:solidFill>
              <a:srgbClr val="B5B9BC"/>
            </a:solidFill>
            <a:ln w="32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79" name="Gruppieren 278">
              <a:extLst>
                <a:ext uri="{FF2B5EF4-FFF2-40B4-BE49-F238E27FC236}">
                  <a16:creationId xmlns:a16="http://schemas.microsoft.com/office/drawing/2014/main" id="{0C88A895-9EE0-45C6-8912-42C978D9C8E1}"/>
                </a:ext>
              </a:extLst>
            </p:cNvPr>
            <p:cNvGrpSpPr/>
            <p:nvPr/>
          </p:nvGrpSpPr>
          <p:grpSpPr>
            <a:xfrm>
              <a:off x="3379403" y="5080247"/>
              <a:ext cx="377285" cy="594949"/>
              <a:chOff x="3316962" y="2483400"/>
              <a:chExt cx="502167" cy="791877"/>
            </a:xfrm>
            <a:solidFill>
              <a:schemeClr val="bg1"/>
            </a:solidFill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280" name="Freihandform: Form 279">
                <a:extLst>
                  <a:ext uri="{FF2B5EF4-FFF2-40B4-BE49-F238E27FC236}">
                    <a16:creationId xmlns:a16="http://schemas.microsoft.com/office/drawing/2014/main" id="{E195A8C1-8416-4B92-8823-597F522AD383}"/>
                  </a:ext>
                </a:extLst>
              </p:cNvPr>
              <p:cNvSpPr/>
              <p:nvPr/>
            </p:nvSpPr>
            <p:spPr>
              <a:xfrm>
                <a:off x="3316962" y="2740752"/>
                <a:ext cx="223153" cy="384945"/>
              </a:xfrm>
              <a:custGeom>
                <a:avLst/>
                <a:gdLst>
                  <a:gd name="connsiteX0" fmla="*/ 191530 w 223153"/>
                  <a:gd name="connsiteY0" fmla="*/ 384891 h 384945"/>
                  <a:gd name="connsiteX1" fmla="*/ 73952 w 223153"/>
                  <a:gd name="connsiteY1" fmla="*/ 384891 h 384945"/>
                  <a:gd name="connsiteX2" fmla="*/ 73952 w 223153"/>
                  <a:gd name="connsiteY2" fmla="*/ 256503 h 384945"/>
                  <a:gd name="connsiteX3" fmla="*/ 149728 w 223153"/>
                  <a:gd name="connsiteY3" fmla="*/ 256503 h 384945"/>
                  <a:gd name="connsiteX4" fmla="*/ 149728 w 223153"/>
                  <a:gd name="connsiteY4" fmla="*/ 128202 h 384945"/>
                  <a:gd name="connsiteX5" fmla="*/ 73952 w 223153"/>
                  <a:gd name="connsiteY5" fmla="*/ 128202 h 384945"/>
                  <a:gd name="connsiteX6" fmla="*/ 73952 w 223153"/>
                  <a:gd name="connsiteY6" fmla="*/ -54 h 384945"/>
                  <a:gd name="connsiteX7" fmla="*/ 223056 w 223153"/>
                  <a:gd name="connsiteY7" fmla="*/ -54 h 3849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23153" h="384945">
                    <a:moveTo>
                      <a:pt x="191530" y="384891"/>
                    </a:moveTo>
                    <a:lnTo>
                      <a:pt x="73952" y="384891"/>
                    </a:lnTo>
                    <a:cubicBezTo>
                      <a:pt x="-24649" y="384891"/>
                      <a:pt x="-24911" y="256503"/>
                      <a:pt x="73952" y="256503"/>
                    </a:cubicBezTo>
                    <a:lnTo>
                      <a:pt x="149728" y="256503"/>
                    </a:lnTo>
                    <a:cubicBezTo>
                      <a:pt x="246624" y="256503"/>
                      <a:pt x="246624" y="128202"/>
                      <a:pt x="149728" y="128202"/>
                    </a:cubicBezTo>
                    <a:lnTo>
                      <a:pt x="73952" y="128202"/>
                    </a:lnTo>
                    <a:cubicBezTo>
                      <a:pt x="-24081" y="128202"/>
                      <a:pt x="-24081" y="-54"/>
                      <a:pt x="73952" y="-54"/>
                    </a:cubicBezTo>
                    <a:lnTo>
                      <a:pt x="223056" y="-54"/>
                    </a:lnTo>
                  </a:path>
                </a:pathLst>
              </a:custGeom>
              <a:noFill/>
              <a:ln w="34578" cap="rnd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1" name="Freihandform: Form 280">
                <a:extLst>
                  <a:ext uri="{FF2B5EF4-FFF2-40B4-BE49-F238E27FC236}">
                    <a16:creationId xmlns:a16="http://schemas.microsoft.com/office/drawing/2014/main" id="{EE79F264-589D-468E-A440-F50A902D597A}"/>
                  </a:ext>
                </a:extLst>
              </p:cNvPr>
              <p:cNvSpPr/>
              <p:nvPr/>
            </p:nvSpPr>
            <p:spPr>
              <a:xfrm>
                <a:off x="3486857" y="2687301"/>
                <a:ext cx="106602" cy="106902"/>
              </a:xfrm>
              <a:custGeom>
                <a:avLst/>
                <a:gdLst>
                  <a:gd name="connsiteX0" fmla="*/ 106603 w 106602"/>
                  <a:gd name="connsiteY0" fmla="*/ 53451 h 106902"/>
                  <a:gd name="connsiteX1" fmla="*/ 53301 w 106602"/>
                  <a:gd name="connsiteY1" fmla="*/ 106902 h 106902"/>
                  <a:gd name="connsiteX2" fmla="*/ 0 w 106602"/>
                  <a:gd name="connsiteY2" fmla="*/ 53451 h 106902"/>
                  <a:gd name="connsiteX3" fmla="*/ 53301 w 106602"/>
                  <a:gd name="connsiteY3" fmla="*/ 0 h 106902"/>
                  <a:gd name="connsiteX4" fmla="*/ 106603 w 106602"/>
                  <a:gd name="connsiteY4" fmla="*/ 53451 h 106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6602" h="106902">
                    <a:moveTo>
                      <a:pt x="106603" y="53451"/>
                    </a:moveTo>
                    <a:cubicBezTo>
                      <a:pt x="106603" y="82972"/>
                      <a:pt x="82739" y="106902"/>
                      <a:pt x="53301" y="106902"/>
                    </a:cubicBezTo>
                    <a:cubicBezTo>
                      <a:pt x="23864" y="106902"/>
                      <a:pt x="0" y="82972"/>
                      <a:pt x="0" y="53451"/>
                    </a:cubicBezTo>
                    <a:cubicBezTo>
                      <a:pt x="0" y="23931"/>
                      <a:pt x="23864" y="0"/>
                      <a:pt x="53301" y="0"/>
                    </a:cubicBezTo>
                    <a:cubicBezTo>
                      <a:pt x="82739" y="0"/>
                      <a:pt x="106603" y="23931"/>
                      <a:pt x="106603" y="53451"/>
                    </a:cubicBezTo>
                    <a:close/>
                  </a:path>
                </a:pathLst>
              </a:custGeom>
              <a:grpFill/>
              <a:ln w="43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2" name="Freihandform: Form 281">
                <a:extLst>
                  <a:ext uri="{FF2B5EF4-FFF2-40B4-BE49-F238E27FC236}">
                    <a16:creationId xmlns:a16="http://schemas.microsoft.com/office/drawing/2014/main" id="{22ED9675-86DD-4A69-99D0-03060D7BD7C1}"/>
                  </a:ext>
                </a:extLst>
              </p:cNvPr>
              <p:cNvSpPr/>
              <p:nvPr/>
            </p:nvSpPr>
            <p:spPr>
              <a:xfrm>
                <a:off x="3614522" y="2483400"/>
                <a:ext cx="204607" cy="260218"/>
              </a:xfrm>
              <a:custGeom>
                <a:avLst/>
                <a:gdLst>
                  <a:gd name="connsiteX0" fmla="*/ 161701 w 204607"/>
                  <a:gd name="connsiteY0" fmla="*/ 84622 h 260218"/>
                  <a:gd name="connsiteX1" fmla="*/ 17931 w 204607"/>
                  <a:gd name="connsiteY1" fmla="*/ 83 h 260218"/>
                  <a:gd name="connsiteX2" fmla="*/ 38 w 204607"/>
                  <a:gd name="connsiteY2" fmla="*/ 13878 h 260218"/>
                  <a:gd name="connsiteX3" fmla="*/ 3065 w 204607"/>
                  <a:gd name="connsiteY3" fmla="*/ 25515 h 260218"/>
                  <a:gd name="connsiteX4" fmla="*/ 3065 w 204607"/>
                  <a:gd name="connsiteY4" fmla="*/ 25515 h 260218"/>
                  <a:gd name="connsiteX5" fmla="*/ 13603 w 204607"/>
                  <a:gd name="connsiteY5" fmla="*/ 31610 h 260218"/>
                  <a:gd name="connsiteX6" fmla="*/ 170968 w 204607"/>
                  <a:gd name="connsiteY6" fmla="*/ 237788 h 260218"/>
                  <a:gd name="connsiteX7" fmla="*/ 170402 w 204607"/>
                  <a:gd name="connsiteY7" fmla="*/ 241731 h 260218"/>
                  <a:gd name="connsiteX8" fmla="*/ 183695 w 204607"/>
                  <a:gd name="connsiteY8" fmla="*/ 259972 h 260218"/>
                  <a:gd name="connsiteX9" fmla="*/ 201885 w 204607"/>
                  <a:gd name="connsiteY9" fmla="*/ 246642 h 260218"/>
                  <a:gd name="connsiteX10" fmla="*/ 161701 w 204607"/>
                  <a:gd name="connsiteY10" fmla="*/ 84622 h 260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04607" h="260218">
                    <a:moveTo>
                      <a:pt x="161701" y="84622"/>
                    </a:moveTo>
                    <a:cubicBezTo>
                      <a:pt x="127177" y="38075"/>
                      <a:pt x="75296" y="7568"/>
                      <a:pt x="17931" y="83"/>
                    </a:cubicBezTo>
                    <a:cubicBezTo>
                      <a:pt x="9191" y="-1063"/>
                      <a:pt x="1180" y="5113"/>
                      <a:pt x="38" y="13878"/>
                    </a:cubicBezTo>
                    <a:cubicBezTo>
                      <a:pt x="-500" y="18004"/>
                      <a:pt x="585" y="22178"/>
                      <a:pt x="3065" y="25515"/>
                    </a:cubicBezTo>
                    <a:lnTo>
                      <a:pt x="3065" y="25515"/>
                    </a:lnTo>
                    <a:cubicBezTo>
                      <a:pt x="5611" y="28892"/>
                      <a:pt x="9413" y="31091"/>
                      <a:pt x="13603" y="31610"/>
                    </a:cubicBezTo>
                    <a:cubicBezTo>
                      <a:pt x="113833" y="44967"/>
                      <a:pt x="184288" y="137276"/>
                      <a:pt x="170968" y="237788"/>
                    </a:cubicBezTo>
                    <a:cubicBezTo>
                      <a:pt x="170794" y="239105"/>
                      <a:pt x="170605" y="240419"/>
                      <a:pt x="170402" y="241731"/>
                    </a:cubicBezTo>
                    <a:cubicBezTo>
                      <a:pt x="169050" y="250449"/>
                      <a:pt x="175001" y="258616"/>
                      <a:pt x="183695" y="259972"/>
                    </a:cubicBezTo>
                    <a:cubicBezTo>
                      <a:pt x="192389" y="261328"/>
                      <a:pt x="200533" y="255360"/>
                      <a:pt x="201885" y="246642"/>
                    </a:cubicBezTo>
                    <a:cubicBezTo>
                      <a:pt x="210920" y="189407"/>
                      <a:pt x="196420" y="130945"/>
                      <a:pt x="161701" y="84622"/>
                    </a:cubicBezTo>
                    <a:close/>
                  </a:path>
                </a:pathLst>
              </a:custGeom>
              <a:grpFill/>
              <a:ln w="43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3" name="Freihandform: Form 282">
                <a:extLst>
                  <a:ext uri="{FF2B5EF4-FFF2-40B4-BE49-F238E27FC236}">
                    <a16:creationId xmlns:a16="http://schemas.microsoft.com/office/drawing/2014/main" id="{361FD952-247C-4AB6-9B87-EE2AE9D83842}"/>
                  </a:ext>
                </a:extLst>
              </p:cNvPr>
              <p:cNvSpPr/>
              <p:nvPr/>
            </p:nvSpPr>
            <p:spPr>
              <a:xfrm>
                <a:off x="3593459" y="2550054"/>
                <a:ext cx="155528" cy="195189"/>
              </a:xfrm>
              <a:custGeom>
                <a:avLst/>
                <a:gdLst>
                  <a:gd name="connsiteX0" fmla="*/ 124915 w 155528"/>
                  <a:gd name="connsiteY0" fmla="*/ 188758 h 195189"/>
                  <a:gd name="connsiteX1" fmla="*/ 147265 w 155528"/>
                  <a:gd name="connsiteY1" fmla="*/ 191915 h 195189"/>
                  <a:gd name="connsiteX2" fmla="*/ 153424 w 155528"/>
                  <a:gd name="connsiteY2" fmla="*/ 181654 h 195189"/>
                  <a:gd name="connsiteX3" fmla="*/ 22912 w 155528"/>
                  <a:gd name="connsiteY3" fmla="*/ 804 h 195189"/>
                  <a:gd name="connsiteX4" fmla="*/ 17875 w 155528"/>
                  <a:gd name="connsiteY4" fmla="*/ 78 h 195189"/>
                  <a:gd name="connsiteX5" fmla="*/ 35 w 155528"/>
                  <a:gd name="connsiteY5" fmla="*/ 13890 h 195189"/>
                  <a:gd name="connsiteX6" fmla="*/ 13808 w 155528"/>
                  <a:gd name="connsiteY6" fmla="*/ 31781 h 195189"/>
                  <a:gd name="connsiteX7" fmla="*/ 122441 w 155528"/>
                  <a:gd name="connsiteY7" fmla="*/ 172986 h 195189"/>
                  <a:gd name="connsiteX8" fmla="*/ 121942 w 155528"/>
                  <a:gd name="connsiteY8" fmla="*/ 176480 h 195189"/>
                  <a:gd name="connsiteX9" fmla="*/ 124915 w 155528"/>
                  <a:gd name="connsiteY9" fmla="*/ 188758 h 195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5528" h="195189">
                    <a:moveTo>
                      <a:pt x="124915" y="188758"/>
                    </a:moveTo>
                    <a:cubicBezTo>
                      <a:pt x="130217" y="195819"/>
                      <a:pt x="140224" y="197232"/>
                      <a:pt x="147265" y="191915"/>
                    </a:cubicBezTo>
                    <a:cubicBezTo>
                      <a:pt x="150565" y="189423"/>
                      <a:pt x="152773" y="185745"/>
                      <a:pt x="153424" y="181654"/>
                    </a:cubicBezTo>
                    <a:cubicBezTo>
                      <a:pt x="167185" y="95573"/>
                      <a:pt x="108752" y="14604"/>
                      <a:pt x="22912" y="804"/>
                    </a:cubicBezTo>
                    <a:cubicBezTo>
                      <a:pt x="21237" y="535"/>
                      <a:pt x="19558" y="293"/>
                      <a:pt x="17875" y="78"/>
                    </a:cubicBezTo>
                    <a:cubicBezTo>
                      <a:pt x="9145" y="-1048"/>
                      <a:pt x="1158" y="5136"/>
                      <a:pt x="35" y="13890"/>
                    </a:cubicBezTo>
                    <a:cubicBezTo>
                      <a:pt x="-1088" y="22645"/>
                      <a:pt x="5078" y="30654"/>
                      <a:pt x="13808" y="31781"/>
                    </a:cubicBezTo>
                    <a:cubicBezTo>
                      <a:pt x="82690" y="40691"/>
                      <a:pt x="131326" y="103911"/>
                      <a:pt x="122441" y="172986"/>
                    </a:cubicBezTo>
                    <a:cubicBezTo>
                      <a:pt x="122291" y="174153"/>
                      <a:pt x="122124" y="175318"/>
                      <a:pt x="121942" y="176480"/>
                    </a:cubicBezTo>
                    <a:cubicBezTo>
                      <a:pt x="121206" y="180809"/>
                      <a:pt x="122282" y="185250"/>
                      <a:pt x="124915" y="188758"/>
                    </a:cubicBezTo>
                    <a:close/>
                  </a:path>
                </a:pathLst>
              </a:custGeom>
              <a:grpFill/>
              <a:ln w="43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4" name="Freihandform: Form 283">
                <a:extLst>
                  <a:ext uri="{FF2B5EF4-FFF2-40B4-BE49-F238E27FC236}">
                    <a16:creationId xmlns:a16="http://schemas.microsoft.com/office/drawing/2014/main" id="{8F786195-6C5F-40B0-9DE4-215D1FF3AF0B}"/>
                  </a:ext>
                </a:extLst>
              </p:cNvPr>
              <p:cNvSpPr/>
              <p:nvPr/>
            </p:nvSpPr>
            <p:spPr>
              <a:xfrm>
                <a:off x="3565539" y="2617597"/>
                <a:ext cx="110377" cy="135392"/>
              </a:xfrm>
              <a:custGeom>
                <a:avLst/>
                <a:gdLst>
                  <a:gd name="connsiteX0" fmla="*/ 80339 w 110377"/>
                  <a:gd name="connsiteY0" fmla="*/ 128977 h 135392"/>
                  <a:gd name="connsiteX1" fmla="*/ 102693 w 110377"/>
                  <a:gd name="connsiteY1" fmla="*/ 132106 h 135392"/>
                  <a:gd name="connsiteX2" fmla="*/ 108804 w 110377"/>
                  <a:gd name="connsiteY2" fmla="*/ 122049 h 135392"/>
                  <a:gd name="connsiteX3" fmla="*/ 22766 w 110377"/>
                  <a:gd name="connsiteY3" fmla="*/ 784 h 135392"/>
                  <a:gd name="connsiteX4" fmla="*/ 17768 w 110377"/>
                  <a:gd name="connsiteY4" fmla="*/ 62 h 135392"/>
                  <a:gd name="connsiteX5" fmla="*/ 15 w 110377"/>
                  <a:gd name="connsiteY5" fmla="*/ 14006 h 135392"/>
                  <a:gd name="connsiteX6" fmla="*/ 3076 w 110377"/>
                  <a:gd name="connsiteY6" fmla="*/ 25495 h 135392"/>
                  <a:gd name="connsiteX7" fmla="*/ 3294 w 110377"/>
                  <a:gd name="connsiteY7" fmla="*/ 25758 h 135392"/>
                  <a:gd name="connsiteX8" fmla="*/ 13920 w 110377"/>
                  <a:gd name="connsiteY8" fmla="*/ 31765 h 135392"/>
                  <a:gd name="connsiteX9" fmla="*/ 77863 w 110377"/>
                  <a:gd name="connsiteY9" fmla="*/ 113319 h 135392"/>
                  <a:gd name="connsiteX10" fmla="*/ 77365 w 110377"/>
                  <a:gd name="connsiteY10" fmla="*/ 116787 h 135392"/>
                  <a:gd name="connsiteX11" fmla="*/ 80339 w 110377"/>
                  <a:gd name="connsiteY11" fmla="*/ 128977 h 135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0377" h="135392">
                    <a:moveTo>
                      <a:pt x="80339" y="128977"/>
                    </a:moveTo>
                    <a:cubicBezTo>
                      <a:pt x="85650" y="136031"/>
                      <a:pt x="95658" y="137432"/>
                      <a:pt x="102693" y="132106"/>
                    </a:cubicBezTo>
                    <a:cubicBezTo>
                      <a:pt x="105930" y="129654"/>
                      <a:pt x="108116" y="126058"/>
                      <a:pt x="108804" y="122049"/>
                    </a:cubicBezTo>
                    <a:cubicBezTo>
                      <a:pt x="118438" y="64737"/>
                      <a:pt x="79918" y="10445"/>
                      <a:pt x="22766" y="784"/>
                    </a:cubicBezTo>
                    <a:cubicBezTo>
                      <a:pt x="21106" y="503"/>
                      <a:pt x="19439" y="263"/>
                      <a:pt x="17768" y="62"/>
                    </a:cubicBezTo>
                    <a:cubicBezTo>
                      <a:pt x="9028" y="-995"/>
                      <a:pt x="1085" y="5244"/>
                      <a:pt x="15" y="14006"/>
                    </a:cubicBezTo>
                    <a:cubicBezTo>
                      <a:pt x="-469" y="18087"/>
                      <a:pt x="626" y="22199"/>
                      <a:pt x="3076" y="25495"/>
                    </a:cubicBezTo>
                    <a:lnTo>
                      <a:pt x="3294" y="25758"/>
                    </a:lnTo>
                    <a:cubicBezTo>
                      <a:pt x="5884" y="29115"/>
                      <a:pt x="9715" y="31281"/>
                      <a:pt x="13920" y="31765"/>
                    </a:cubicBezTo>
                    <a:cubicBezTo>
                      <a:pt x="54035" y="36578"/>
                      <a:pt x="82663" y="73092"/>
                      <a:pt x="77863" y="113319"/>
                    </a:cubicBezTo>
                    <a:cubicBezTo>
                      <a:pt x="77725" y="114479"/>
                      <a:pt x="77559" y="115635"/>
                      <a:pt x="77365" y="116787"/>
                    </a:cubicBezTo>
                    <a:cubicBezTo>
                      <a:pt x="76676" y="121086"/>
                      <a:pt x="77748" y="125482"/>
                      <a:pt x="80339" y="128977"/>
                    </a:cubicBezTo>
                    <a:close/>
                  </a:path>
                </a:pathLst>
              </a:custGeom>
              <a:grpFill/>
              <a:ln w="43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5" name="Freihandform: Form 284">
                <a:extLst>
                  <a:ext uri="{FF2B5EF4-FFF2-40B4-BE49-F238E27FC236}">
                    <a16:creationId xmlns:a16="http://schemas.microsoft.com/office/drawing/2014/main" id="{2FA452AD-CE82-4EDA-BE8B-0D75949A09DB}"/>
                  </a:ext>
                </a:extLst>
              </p:cNvPr>
              <p:cNvSpPr/>
              <p:nvPr/>
            </p:nvSpPr>
            <p:spPr>
              <a:xfrm>
                <a:off x="3404828" y="2591417"/>
                <a:ext cx="47442" cy="164989"/>
              </a:xfrm>
              <a:custGeom>
                <a:avLst/>
                <a:gdLst>
                  <a:gd name="connsiteX0" fmla="*/ 47345 w 47442"/>
                  <a:gd name="connsiteY0" fmla="*/ 164935 h 164989"/>
                  <a:gd name="connsiteX1" fmla="*/ 47345 w 47442"/>
                  <a:gd name="connsiteY1" fmla="*/ 22734 h 164989"/>
                  <a:gd name="connsiteX2" fmla="*/ 22605 w 47442"/>
                  <a:gd name="connsiteY2" fmla="*/ -32 h 164989"/>
                  <a:gd name="connsiteX3" fmla="*/ -97 w 47442"/>
                  <a:gd name="connsiteY3" fmla="*/ 22734 h 164989"/>
                  <a:gd name="connsiteX4" fmla="*/ -97 w 47442"/>
                  <a:gd name="connsiteY4" fmla="*/ 164935 h 1649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442" h="164989">
                    <a:moveTo>
                      <a:pt x="47345" y="164935"/>
                    </a:moveTo>
                    <a:lnTo>
                      <a:pt x="47345" y="22734"/>
                    </a:lnTo>
                    <a:cubicBezTo>
                      <a:pt x="46782" y="9597"/>
                      <a:pt x="35706" y="-596"/>
                      <a:pt x="22605" y="-32"/>
                    </a:cubicBezTo>
                    <a:cubicBezTo>
                      <a:pt x="10293" y="498"/>
                      <a:pt x="432" y="10387"/>
                      <a:pt x="-97" y="22734"/>
                    </a:cubicBezTo>
                    <a:lnTo>
                      <a:pt x="-97" y="164935"/>
                    </a:lnTo>
                    <a:close/>
                  </a:path>
                </a:pathLst>
              </a:custGeom>
              <a:grpFill/>
              <a:ln w="43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6" name="Freihandform: Form 285">
                <a:extLst>
                  <a:ext uri="{FF2B5EF4-FFF2-40B4-BE49-F238E27FC236}">
                    <a16:creationId xmlns:a16="http://schemas.microsoft.com/office/drawing/2014/main" id="{30469DFB-9595-43CE-A00F-EE57985ABC76}"/>
                  </a:ext>
                </a:extLst>
              </p:cNvPr>
              <p:cNvSpPr/>
              <p:nvPr/>
            </p:nvSpPr>
            <p:spPr>
              <a:xfrm>
                <a:off x="3404872" y="2908165"/>
                <a:ext cx="47442" cy="103438"/>
              </a:xfrm>
              <a:custGeom>
                <a:avLst/>
                <a:gdLst>
                  <a:gd name="connsiteX0" fmla="*/ 0 w 47442"/>
                  <a:gd name="connsiteY0" fmla="*/ 0 h 103438"/>
                  <a:gd name="connsiteX1" fmla="*/ 47442 w 47442"/>
                  <a:gd name="connsiteY1" fmla="*/ 0 h 103438"/>
                  <a:gd name="connsiteX2" fmla="*/ 47442 w 47442"/>
                  <a:gd name="connsiteY2" fmla="*/ 103438 h 103438"/>
                  <a:gd name="connsiteX3" fmla="*/ 0 w 47442"/>
                  <a:gd name="connsiteY3" fmla="*/ 103438 h 103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442" h="103438">
                    <a:moveTo>
                      <a:pt x="0" y="0"/>
                    </a:moveTo>
                    <a:lnTo>
                      <a:pt x="47442" y="0"/>
                    </a:lnTo>
                    <a:lnTo>
                      <a:pt x="47442" y="103438"/>
                    </a:lnTo>
                    <a:lnTo>
                      <a:pt x="0" y="103438"/>
                    </a:lnTo>
                    <a:close/>
                  </a:path>
                </a:pathLst>
              </a:custGeom>
              <a:grpFill/>
              <a:ln w="43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7" name="Freihandform: Form 286">
                <a:extLst>
                  <a:ext uri="{FF2B5EF4-FFF2-40B4-BE49-F238E27FC236}">
                    <a16:creationId xmlns:a16="http://schemas.microsoft.com/office/drawing/2014/main" id="{B59A453A-EF48-4511-9E16-C08AA81C1B83}"/>
                  </a:ext>
                </a:extLst>
              </p:cNvPr>
              <p:cNvSpPr/>
              <p:nvPr/>
            </p:nvSpPr>
            <p:spPr>
              <a:xfrm>
                <a:off x="3404806" y="3164810"/>
                <a:ext cx="47486" cy="110467"/>
              </a:xfrm>
              <a:custGeom>
                <a:avLst/>
                <a:gdLst>
                  <a:gd name="connsiteX0" fmla="*/ -75 w 47486"/>
                  <a:gd name="connsiteY0" fmla="*/ -54 h 110467"/>
                  <a:gd name="connsiteX1" fmla="*/ -75 w 47486"/>
                  <a:gd name="connsiteY1" fmla="*/ 85582 h 110467"/>
                  <a:gd name="connsiteX2" fmla="*/ 22628 w 47486"/>
                  <a:gd name="connsiteY2" fmla="*/ 110391 h 110467"/>
                  <a:gd name="connsiteX3" fmla="*/ 47367 w 47486"/>
                  <a:gd name="connsiteY3" fmla="*/ 87625 h 110467"/>
                  <a:gd name="connsiteX4" fmla="*/ 47367 w 47486"/>
                  <a:gd name="connsiteY4" fmla="*/ 85582 h 110467"/>
                  <a:gd name="connsiteX5" fmla="*/ 47367 w 47486"/>
                  <a:gd name="connsiteY5" fmla="*/ -54 h 110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7486" h="110467">
                    <a:moveTo>
                      <a:pt x="-75" y="-54"/>
                    </a:moveTo>
                    <a:lnTo>
                      <a:pt x="-75" y="85582"/>
                    </a:lnTo>
                    <a:cubicBezTo>
                      <a:pt x="-637" y="98719"/>
                      <a:pt x="9527" y="109827"/>
                      <a:pt x="22628" y="110391"/>
                    </a:cubicBezTo>
                    <a:cubicBezTo>
                      <a:pt x="35728" y="110955"/>
                      <a:pt x="46805" y="100762"/>
                      <a:pt x="47367" y="87625"/>
                    </a:cubicBezTo>
                    <a:cubicBezTo>
                      <a:pt x="47396" y="86944"/>
                      <a:pt x="47396" y="86262"/>
                      <a:pt x="47367" y="85582"/>
                    </a:cubicBezTo>
                    <a:lnTo>
                      <a:pt x="47367" y="-54"/>
                    </a:lnTo>
                    <a:close/>
                  </a:path>
                </a:pathLst>
              </a:custGeom>
              <a:grpFill/>
              <a:ln w="43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8" name="Freihandform: Form 287">
                <a:extLst>
                  <a:ext uri="{FF2B5EF4-FFF2-40B4-BE49-F238E27FC236}">
                    <a16:creationId xmlns:a16="http://schemas.microsoft.com/office/drawing/2014/main" id="{3D0556A4-BA08-476D-994B-AEFAC5A01101}"/>
                  </a:ext>
                </a:extLst>
              </p:cNvPr>
              <p:cNvSpPr/>
              <p:nvPr/>
            </p:nvSpPr>
            <p:spPr>
              <a:xfrm>
                <a:off x="3404872" y="2779953"/>
                <a:ext cx="47442" cy="103175"/>
              </a:xfrm>
              <a:custGeom>
                <a:avLst/>
                <a:gdLst>
                  <a:gd name="connsiteX0" fmla="*/ 0 w 47442"/>
                  <a:gd name="connsiteY0" fmla="*/ 0 h 103175"/>
                  <a:gd name="connsiteX1" fmla="*/ 47442 w 47442"/>
                  <a:gd name="connsiteY1" fmla="*/ 0 h 103175"/>
                  <a:gd name="connsiteX2" fmla="*/ 47442 w 47442"/>
                  <a:gd name="connsiteY2" fmla="*/ 103175 h 103175"/>
                  <a:gd name="connsiteX3" fmla="*/ 0 w 47442"/>
                  <a:gd name="connsiteY3" fmla="*/ 103175 h 103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442" h="103175">
                    <a:moveTo>
                      <a:pt x="0" y="0"/>
                    </a:moveTo>
                    <a:lnTo>
                      <a:pt x="47442" y="0"/>
                    </a:lnTo>
                    <a:lnTo>
                      <a:pt x="47442" y="103175"/>
                    </a:lnTo>
                    <a:lnTo>
                      <a:pt x="0" y="103175"/>
                    </a:lnTo>
                    <a:close/>
                  </a:path>
                </a:pathLst>
              </a:custGeom>
              <a:grpFill/>
              <a:ln w="43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9" name="Freihandform: Form 288">
                <a:extLst>
                  <a:ext uri="{FF2B5EF4-FFF2-40B4-BE49-F238E27FC236}">
                    <a16:creationId xmlns:a16="http://schemas.microsoft.com/office/drawing/2014/main" id="{87BE3F9E-5286-4B87-9417-8C5554B21ADE}"/>
                  </a:ext>
                </a:extLst>
              </p:cNvPr>
              <p:cNvSpPr/>
              <p:nvPr/>
            </p:nvSpPr>
            <p:spPr>
              <a:xfrm>
                <a:off x="3404872" y="3036466"/>
                <a:ext cx="47442" cy="102342"/>
              </a:xfrm>
              <a:custGeom>
                <a:avLst/>
                <a:gdLst>
                  <a:gd name="connsiteX0" fmla="*/ 0 w 47442"/>
                  <a:gd name="connsiteY0" fmla="*/ 0 h 102342"/>
                  <a:gd name="connsiteX1" fmla="*/ 47442 w 47442"/>
                  <a:gd name="connsiteY1" fmla="*/ 0 h 102342"/>
                  <a:gd name="connsiteX2" fmla="*/ 47442 w 47442"/>
                  <a:gd name="connsiteY2" fmla="*/ 102342 h 102342"/>
                  <a:gd name="connsiteX3" fmla="*/ 0 w 47442"/>
                  <a:gd name="connsiteY3" fmla="*/ 102342 h 102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442" h="102342">
                    <a:moveTo>
                      <a:pt x="0" y="0"/>
                    </a:moveTo>
                    <a:lnTo>
                      <a:pt x="47442" y="0"/>
                    </a:lnTo>
                    <a:lnTo>
                      <a:pt x="47442" y="102342"/>
                    </a:lnTo>
                    <a:lnTo>
                      <a:pt x="0" y="102342"/>
                    </a:lnTo>
                    <a:close/>
                  </a:path>
                </a:pathLst>
              </a:custGeom>
              <a:grpFill/>
              <a:ln w="432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290" name="Gruppieren 289">
            <a:extLst>
              <a:ext uri="{FF2B5EF4-FFF2-40B4-BE49-F238E27FC236}">
                <a16:creationId xmlns:a16="http://schemas.microsoft.com/office/drawing/2014/main" id="{3A49C8A3-8DA8-4EDE-B4EA-EB5E76060E39}"/>
              </a:ext>
            </a:extLst>
          </p:cNvPr>
          <p:cNvGrpSpPr/>
          <p:nvPr/>
        </p:nvGrpSpPr>
        <p:grpSpPr>
          <a:xfrm>
            <a:off x="8222393" y="4963667"/>
            <a:ext cx="828109" cy="828109"/>
            <a:chOff x="8222393" y="4963667"/>
            <a:chExt cx="828109" cy="828109"/>
          </a:xfrm>
        </p:grpSpPr>
        <p:sp>
          <p:nvSpPr>
            <p:cNvPr id="291" name="Freihandform: Form 290">
              <a:extLst>
                <a:ext uri="{FF2B5EF4-FFF2-40B4-BE49-F238E27FC236}">
                  <a16:creationId xmlns:a16="http://schemas.microsoft.com/office/drawing/2014/main" id="{652B1C49-1D0B-463D-8FAC-E07F1AF58ABE}"/>
                </a:ext>
              </a:extLst>
            </p:cNvPr>
            <p:cNvSpPr/>
            <p:nvPr/>
          </p:nvSpPr>
          <p:spPr>
            <a:xfrm>
              <a:off x="8222393" y="4963667"/>
              <a:ext cx="828109" cy="828109"/>
            </a:xfrm>
            <a:custGeom>
              <a:avLst/>
              <a:gdLst>
                <a:gd name="connsiteX0" fmla="*/ 828109 w 828109"/>
                <a:gd name="connsiteY0" fmla="*/ 414055 h 828109"/>
                <a:gd name="connsiteX1" fmla="*/ 414055 w 828109"/>
                <a:gd name="connsiteY1" fmla="*/ 828109 h 828109"/>
                <a:gd name="connsiteX2" fmla="*/ 0 w 828109"/>
                <a:gd name="connsiteY2" fmla="*/ 414055 h 828109"/>
                <a:gd name="connsiteX3" fmla="*/ 414055 w 828109"/>
                <a:gd name="connsiteY3" fmla="*/ 0 h 828109"/>
                <a:gd name="connsiteX4" fmla="*/ 828109 w 828109"/>
                <a:gd name="connsiteY4" fmla="*/ 414055 h 828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8109" h="828109">
                  <a:moveTo>
                    <a:pt x="828109" y="414055"/>
                  </a:moveTo>
                  <a:cubicBezTo>
                    <a:pt x="828109" y="642731"/>
                    <a:pt x="642731" y="828109"/>
                    <a:pt x="414055" y="828109"/>
                  </a:cubicBezTo>
                  <a:cubicBezTo>
                    <a:pt x="185379" y="828109"/>
                    <a:pt x="0" y="642731"/>
                    <a:pt x="0" y="414055"/>
                  </a:cubicBezTo>
                  <a:cubicBezTo>
                    <a:pt x="0" y="185379"/>
                    <a:pt x="185379" y="0"/>
                    <a:pt x="414055" y="0"/>
                  </a:cubicBezTo>
                  <a:cubicBezTo>
                    <a:pt x="642731" y="0"/>
                    <a:pt x="828109" y="185379"/>
                    <a:pt x="828109" y="414055"/>
                  </a:cubicBezTo>
                  <a:close/>
                </a:path>
              </a:pathLst>
            </a:custGeom>
            <a:solidFill>
              <a:srgbClr val="B5B9BC"/>
            </a:solidFill>
            <a:ln w="32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2" name="Grafik 116">
              <a:extLst>
                <a:ext uri="{FF2B5EF4-FFF2-40B4-BE49-F238E27FC236}">
                  <a16:creationId xmlns:a16="http://schemas.microsoft.com/office/drawing/2014/main" id="{E91C9280-A158-44A5-BC9D-463A52820F50}"/>
                </a:ext>
              </a:extLst>
            </p:cNvPr>
            <p:cNvSpPr/>
            <p:nvPr/>
          </p:nvSpPr>
          <p:spPr>
            <a:xfrm>
              <a:off x="8340341" y="5266606"/>
              <a:ext cx="592801" cy="222231"/>
            </a:xfrm>
            <a:custGeom>
              <a:avLst/>
              <a:gdLst>
                <a:gd name="connsiteX0" fmla="*/ 740910 w 789018"/>
                <a:gd name="connsiteY0" fmla="*/ 39902 h 295789"/>
                <a:gd name="connsiteX1" fmla="*/ 571321 w 789018"/>
                <a:gd name="connsiteY1" fmla="*/ 19373 h 295789"/>
                <a:gd name="connsiteX2" fmla="*/ 525944 w 789018"/>
                <a:gd name="connsiteY2" fmla="*/ 51255 h 295789"/>
                <a:gd name="connsiteX3" fmla="*/ 262962 w 789018"/>
                <a:gd name="connsiteY3" fmla="*/ 50050 h 295789"/>
                <a:gd name="connsiteX4" fmla="*/ 214635 w 789018"/>
                <a:gd name="connsiteY4" fmla="*/ 16730 h 295789"/>
                <a:gd name="connsiteX5" fmla="*/ 25016 w 789018"/>
                <a:gd name="connsiteY5" fmla="*/ 65213 h 295789"/>
                <a:gd name="connsiteX6" fmla="*/ 42445 w 789018"/>
                <a:gd name="connsiteY6" fmla="*/ 252112 h 295789"/>
                <a:gd name="connsiteX7" fmla="*/ 262457 w 789018"/>
                <a:gd name="connsiteY7" fmla="*/ 243441 h 295789"/>
                <a:gd name="connsiteX8" fmla="*/ 265640 w 789018"/>
                <a:gd name="connsiteY8" fmla="*/ 240214 h 295789"/>
                <a:gd name="connsiteX9" fmla="*/ 273404 w 789018"/>
                <a:gd name="connsiteY9" fmla="*/ 232205 h 295789"/>
                <a:gd name="connsiteX10" fmla="*/ 518724 w 789018"/>
                <a:gd name="connsiteY10" fmla="*/ 232671 h 295789"/>
                <a:gd name="connsiteX11" fmla="*/ 525789 w 789018"/>
                <a:gd name="connsiteY11" fmla="*/ 239475 h 295789"/>
                <a:gd name="connsiteX12" fmla="*/ 532737 w 789018"/>
                <a:gd name="connsiteY12" fmla="*/ 246396 h 295789"/>
                <a:gd name="connsiteX13" fmla="*/ 763152 w 789018"/>
                <a:gd name="connsiteY13" fmla="*/ 231544 h 295789"/>
                <a:gd name="connsiteX14" fmla="*/ 740910 w 789018"/>
                <a:gd name="connsiteY14" fmla="*/ 39902 h 295789"/>
                <a:gd name="connsiteX15" fmla="*/ 204892 w 789018"/>
                <a:gd name="connsiteY15" fmla="*/ 216342 h 295789"/>
                <a:gd name="connsiteX16" fmla="*/ 168055 w 789018"/>
                <a:gd name="connsiteY16" fmla="*/ 216342 h 295789"/>
                <a:gd name="connsiteX17" fmla="*/ 168055 w 789018"/>
                <a:gd name="connsiteY17" fmla="*/ 156932 h 295789"/>
                <a:gd name="connsiteX18" fmla="*/ 124426 w 789018"/>
                <a:gd name="connsiteY18" fmla="*/ 156932 h 295789"/>
                <a:gd name="connsiteX19" fmla="*/ 124426 w 789018"/>
                <a:gd name="connsiteY19" fmla="*/ 216342 h 295789"/>
                <a:gd name="connsiteX20" fmla="*/ 87550 w 789018"/>
                <a:gd name="connsiteY20" fmla="*/ 216342 h 295789"/>
                <a:gd name="connsiteX21" fmla="*/ 87550 w 789018"/>
                <a:gd name="connsiteY21" fmla="*/ 77733 h 295789"/>
                <a:gd name="connsiteX22" fmla="*/ 124426 w 789018"/>
                <a:gd name="connsiteY22" fmla="*/ 77733 h 295789"/>
                <a:gd name="connsiteX23" fmla="*/ 124426 w 789018"/>
                <a:gd name="connsiteY23" fmla="*/ 130727 h 295789"/>
                <a:gd name="connsiteX24" fmla="*/ 168055 w 789018"/>
                <a:gd name="connsiteY24" fmla="*/ 130727 h 295789"/>
                <a:gd name="connsiteX25" fmla="*/ 168055 w 789018"/>
                <a:gd name="connsiteY25" fmla="*/ 77733 h 295789"/>
                <a:gd name="connsiteX26" fmla="*/ 204892 w 789018"/>
                <a:gd name="connsiteY26" fmla="*/ 77733 h 295789"/>
                <a:gd name="connsiteX27" fmla="*/ 700230 w 789018"/>
                <a:gd name="connsiteY27" fmla="*/ 216342 h 295789"/>
                <a:gd name="connsiteX28" fmla="*/ 663277 w 789018"/>
                <a:gd name="connsiteY28" fmla="*/ 216342 h 295789"/>
                <a:gd name="connsiteX29" fmla="*/ 663277 w 789018"/>
                <a:gd name="connsiteY29" fmla="*/ 156932 h 295789"/>
                <a:gd name="connsiteX30" fmla="*/ 619725 w 789018"/>
                <a:gd name="connsiteY30" fmla="*/ 156932 h 295789"/>
                <a:gd name="connsiteX31" fmla="*/ 619725 w 789018"/>
                <a:gd name="connsiteY31" fmla="*/ 216342 h 295789"/>
                <a:gd name="connsiteX32" fmla="*/ 582849 w 789018"/>
                <a:gd name="connsiteY32" fmla="*/ 216342 h 295789"/>
                <a:gd name="connsiteX33" fmla="*/ 582849 w 789018"/>
                <a:gd name="connsiteY33" fmla="*/ 77733 h 295789"/>
                <a:gd name="connsiteX34" fmla="*/ 619725 w 789018"/>
                <a:gd name="connsiteY34" fmla="*/ 77733 h 295789"/>
                <a:gd name="connsiteX35" fmla="*/ 619725 w 789018"/>
                <a:gd name="connsiteY35" fmla="*/ 130727 h 295789"/>
                <a:gd name="connsiteX36" fmla="*/ 663277 w 789018"/>
                <a:gd name="connsiteY36" fmla="*/ 130727 h 295789"/>
                <a:gd name="connsiteX37" fmla="*/ 663277 w 789018"/>
                <a:gd name="connsiteY37" fmla="*/ 77733 h 295789"/>
                <a:gd name="connsiteX38" fmla="*/ 700153 w 789018"/>
                <a:gd name="connsiteY38" fmla="*/ 77733 h 295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789018" h="295789">
                  <a:moveTo>
                    <a:pt x="740910" y="39902"/>
                  </a:moveTo>
                  <a:cubicBezTo>
                    <a:pt x="702288" y="4910"/>
                    <a:pt x="631680" y="-15813"/>
                    <a:pt x="571321" y="19373"/>
                  </a:cubicBezTo>
                  <a:cubicBezTo>
                    <a:pt x="555198" y="28500"/>
                    <a:pt x="540001" y="39178"/>
                    <a:pt x="525944" y="51255"/>
                  </a:cubicBezTo>
                  <a:cubicBezTo>
                    <a:pt x="400683" y="139825"/>
                    <a:pt x="387912" y="140680"/>
                    <a:pt x="262962" y="50050"/>
                  </a:cubicBezTo>
                  <a:cubicBezTo>
                    <a:pt x="246892" y="38386"/>
                    <a:pt x="232180" y="25828"/>
                    <a:pt x="214635" y="16730"/>
                  </a:cubicBezTo>
                  <a:cubicBezTo>
                    <a:pt x="148365" y="-18178"/>
                    <a:pt x="66474" y="2761"/>
                    <a:pt x="25016" y="65213"/>
                  </a:cubicBezTo>
                  <a:cubicBezTo>
                    <a:pt x="-14073" y="123791"/>
                    <a:pt x="-6798" y="201798"/>
                    <a:pt x="42445" y="252112"/>
                  </a:cubicBezTo>
                  <a:cubicBezTo>
                    <a:pt x="100282" y="306544"/>
                    <a:pt x="189172" y="316770"/>
                    <a:pt x="262457" y="243441"/>
                  </a:cubicBezTo>
                  <a:cubicBezTo>
                    <a:pt x="263544" y="242391"/>
                    <a:pt x="264592" y="241303"/>
                    <a:pt x="265640" y="240214"/>
                  </a:cubicBezTo>
                  <a:cubicBezTo>
                    <a:pt x="268280" y="237493"/>
                    <a:pt x="270881" y="234810"/>
                    <a:pt x="273404" y="232205"/>
                  </a:cubicBezTo>
                  <a:cubicBezTo>
                    <a:pt x="362332" y="142780"/>
                    <a:pt x="422925" y="139592"/>
                    <a:pt x="518724" y="232671"/>
                  </a:cubicBezTo>
                  <a:lnTo>
                    <a:pt x="525789" y="239475"/>
                  </a:lnTo>
                  <a:cubicBezTo>
                    <a:pt x="528079" y="241730"/>
                    <a:pt x="530486" y="243986"/>
                    <a:pt x="532737" y="246396"/>
                  </a:cubicBezTo>
                  <a:cubicBezTo>
                    <a:pt x="603694" y="322835"/>
                    <a:pt x="711293" y="303822"/>
                    <a:pt x="763152" y="231544"/>
                  </a:cubicBezTo>
                  <a:cubicBezTo>
                    <a:pt x="805579" y="172601"/>
                    <a:pt x="794050" y="88114"/>
                    <a:pt x="740910" y="39902"/>
                  </a:cubicBezTo>
                  <a:close/>
                  <a:moveTo>
                    <a:pt x="204892" y="216342"/>
                  </a:moveTo>
                  <a:lnTo>
                    <a:pt x="168055" y="216342"/>
                  </a:lnTo>
                  <a:lnTo>
                    <a:pt x="168055" y="156932"/>
                  </a:lnTo>
                  <a:lnTo>
                    <a:pt x="124426" y="156932"/>
                  </a:lnTo>
                  <a:lnTo>
                    <a:pt x="124426" y="216342"/>
                  </a:lnTo>
                  <a:lnTo>
                    <a:pt x="87550" y="216342"/>
                  </a:lnTo>
                  <a:lnTo>
                    <a:pt x="87550" y="77733"/>
                  </a:lnTo>
                  <a:lnTo>
                    <a:pt x="124426" y="77733"/>
                  </a:lnTo>
                  <a:lnTo>
                    <a:pt x="124426" y="130727"/>
                  </a:lnTo>
                  <a:lnTo>
                    <a:pt x="168055" y="130727"/>
                  </a:lnTo>
                  <a:lnTo>
                    <a:pt x="168055" y="77733"/>
                  </a:lnTo>
                  <a:lnTo>
                    <a:pt x="204892" y="77733"/>
                  </a:lnTo>
                  <a:close/>
                  <a:moveTo>
                    <a:pt x="700230" y="216342"/>
                  </a:moveTo>
                  <a:lnTo>
                    <a:pt x="663277" y="216342"/>
                  </a:lnTo>
                  <a:lnTo>
                    <a:pt x="663277" y="156932"/>
                  </a:lnTo>
                  <a:lnTo>
                    <a:pt x="619725" y="156932"/>
                  </a:lnTo>
                  <a:lnTo>
                    <a:pt x="619725" y="216342"/>
                  </a:lnTo>
                  <a:lnTo>
                    <a:pt x="582849" y="216342"/>
                  </a:lnTo>
                  <a:lnTo>
                    <a:pt x="582849" y="77733"/>
                  </a:lnTo>
                  <a:lnTo>
                    <a:pt x="619725" y="77733"/>
                  </a:lnTo>
                  <a:lnTo>
                    <a:pt x="619725" y="130727"/>
                  </a:lnTo>
                  <a:lnTo>
                    <a:pt x="663277" y="130727"/>
                  </a:lnTo>
                  <a:lnTo>
                    <a:pt x="663277" y="77733"/>
                  </a:lnTo>
                  <a:lnTo>
                    <a:pt x="700153" y="77733"/>
                  </a:lnTo>
                  <a:close/>
                </a:path>
              </a:pathLst>
            </a:custGeom>
            <a:solidFill>
              <a:schemeClr val="bg1"/>
            </a:solidFill>
            <a:ln w="3848" cap="flat">
              <a:noFill/>
              <a:prstDash val="solid"/>
              <a:miter/>
            </a:ln>
            <a:effectLst>
              <a:outerShdw blurRad="127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0E56A16-FED2-4B7E-88EB-9FBD375855C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5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4830957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386BF06-4FE5-4ECB-9E48-683B65D8E9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4508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>
            <a:extLst>
              <a:ext uri="{FF2B5EF4-FFF2-40B4-BE49-F238E27FC236}">
                <a16:creationId xmlns:a16="http://schemas.microsoft.com/office/drawing/2014/main" id="{1926AAD5-BF6D-4CAC-A7C3-FD3082A447D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37DBD4C-23EA-4997-B274-B0674ADF01A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371 5397-1xxx</a:t>
            </a:r>
          </a:p>
          <a:p>
            <a:pPr lvl="2"/>
            <a:r>
              <a:rPr lang="de-DE" dirty="0"/>
              <a:t>Fax +49 371 5397-6-1xxx</a:t>
            </a:r>
          </a:p>
          <a:p>
            <a:pPr lvl="2"/>
            <a:r>
              <a:rPr lang="de-DE" dirty="0"/>
              <a:t>vorname.name@iwu.fraunhofer.de</a:t>
            </a:r>
          </a:p>
        </p:txBody>
      </p:sp>
      <p:sp>
        <p:nvSpPr>
          <p:cNvPr id="8" name="Logoarea">
            <a:extLst>
              <a:ext uri="{FF2B5EF4-FFF2-40B4-BE49-F238E27FC236}">
                <a16:creationId xmlns:a16="http://schemas.microsoft.com/office/drawing/2014/main" id="{F8086801-752F-4DF1-8D45-E3460E873F15}"/>
              </a:ext>
            </a:extLst>
          </p:cNvPr>
          <p:cNvSpPr/>
          <p:nvPr/>
        </p:nvSpPr>
        <p:spPr bwMode="gray">
          <a:xfrm>
            <a:off x="9192575" y="476250"/>
            <a:ext cx="2520000" cy="900000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r>
              <a:rPr lang="de-DE"/>
              <a:t>Logobereic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222586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D6A45485-E332-4A89-B193-58CFB27AD99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80F881A-48BC-4B98-B8FD-D0EA69A3164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75388" y="3092956"/>
            <a:ext cx="5916612" cy="2891919"/>
          </a:xfrm>
        </p:spPr>
        <p:txBody>
          <a:bodyPr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Referent/Datum</a:t>
            </a:r>
            <a:br>
              <a:rPr lang="de-DE"/>
            </a:br>
            <a:r>
              <a:rPr lang="de-DE"/>
              <a:t>Frutiger LT Com Bd, 16 pt</a:t>
            </a:r>
            <a:endParaRPr lang="de-DE" dirty="0"/>
          </a:p>
        </p:txBody>
      </p:sp>
      <p:sp>
        <p:nvSpPr>
          <p:cNvPr id="9" name="Logoarea">
            <a:extLst>
              <a:ext uri="{FF2B5EF4-FFF2-40B4-BE49-F238E27FC236}">
                <a16:creationId xmlns:a16="http://schemas.microsoft.com/office/drawing/2014/main" id="{06E9B616-3D75-4FA4-AE7E-118484AAFC3D}"/>
              </a:ext>
            </a:extLst>
          </p:cNvPr>
          <p:cNvSpPr/>
          <p:nvPr/>
        </p:nvSpPr>
        <p:spPr bwMode="gray">
          <a:xfrm>
            <a:off x="485774" y="485775"/>
            <a:ext cx="2520000" cy="900000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r>
              <a:rPr lang="de-DE"/>
              <a:t>Logobereic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95555843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386BF06-4FE5-4ECB-9E48-683B65D8E9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3479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386BF06-4FE5-4ECB-9E48-683B65D8E9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>
            <a:extLst>
              <a:ext uri="{FF2B5EF4-FFF2-40B4-BE49-F238E27FC236}">
                <a16:creationId xmlns:a16="http://schemas.microsoft.com/office/drawing/2014/main" id="{0D1766D8-2FDE-486F-B012-1BF3A715210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37DBD4C-23EA-4997-B274-B0674ADF01A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371 5397-1xxx</a:t>
            </a:r>
          </a:p>
          <a:p>
            <a:pPr lvl="2"/>
            <a:r>
              <a:rPr lang="de-DE" dirty="0"/>
              <a:t>Fax +49 371 5397-6-1xxx</a:t>
            </a:r>
          </a:p>
          <a:p>
            <a:pPr lvl="2"/>
            <a:r>
              <a:rPr lang="de-DE" dirty="0"/>
              <a:t>vorname.name@iwu.fraunhofer.de</a:t>
            </a:r>
          </a:p>
        </p:txBody>
      </p:sp>
      <p:sp>
        <p:nvSpPr>
          <p:cNvPr id="8" name="Logoarea">
            <a:extLst>
              <a:ext uri="{FF2B5EF4-FFF2-40B4-BE49-F238E27FC236}">
                <a16:creationId xmlns:a16="http://schemas.microsoft.com/office/drawing/2014/main" id="{1E89193F-52DD-4991-8610-E3E76D2DCB0C}"/>
              </a:ext>
            </a:extLst>
          </p:cNvPr>
          <p:cNvSpPr/>
          <p:nvPr/>
        </p:nvSpPr>
        <p:spPr bwMode="gray">
          <a:xfrm>
            <a:off x="9192575" y="476250"/>
            <a:ext cx="2520000" cy="900000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r>
              <a:rPr lang="de-DE"/>
              <a:t>Logobereic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3691789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386BF06-4FE5-4ECB-9E48-683B65D8E9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836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386BF06-4FE5-4ECB-9E48-683B65D8E9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37DBD4C-23EA-4997-B274-B0674ADF01A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79425" y="1700213"/>
            <a:ext cx="5916612" cy="4026102"/>
          </a:xfrm>
        </p:spPr>
        <p:txBody>
          <a:bodyPr/>
          <a:lstStyle/>
          <a:p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371 5397-1xxx</a:t>
            </a:r>
          </a:p>
          <a:p>
            <a:pPr lvl="2"/>
            <a:r>
              <a:rPr lang="de-DE" dirty="0"/>
              <a:t>Fax +49 371 5397-6-1xxx</a:t>
            </a:r>
          </a:p>
          <a:p>
            <a:pPr lvl="2"/>
            <a:r>
              <a:rPr lang="de-DE" dirty="0"/>
              <a:t>vorname.name@iwu.fraunhofer.de</a:t>
            </a:r>
          </a:p>
          <a:p>
            <a:pPr lvl="2"/>
            <a:endParaRPr lang="de-DE" dirty="0"/>
          </a:p>
          <a:p>
            <a:pPr lvl="2"/>
            <a:endParaRPr lang="de-DE" dirty="0"/>
          </a:p>
          <a:p>
            <a:pPr lvl="3"/>
            <a:r>
              <a:rPr lang="de-DE" dirty="0"/>
              <a:t>Fraunhofer IWU</a:t>
            </a:r>
          </a:p>
          <a:p>
            <a:pPr lvl="3"/>
            <a:r>
              <a:rPr lang="de-DE" dirty="0" err="1"/>
              <a:t>Reichenhainer</a:t>
            </a:r>
            <a:r>
              <a:rPr lang="de-DE" dirty="0"/>
              <a:t> Straße 88</a:t>
            </a:r>
          </a:p>
          <a:p>
            <a:pPr lvl="3"/>
            <a:r>
              <a:rPr lang="de-DE" dirty="0"/>
              <a:t>09126 Chemnitz</a:t>
            </a:r>
          </a:p>
          <a:p>
            <a:pPr lvl="3"/>
            <a:r>
              <a:rPr lang="de-DE" dirty="0"/>
              <a:t>www.iwu.fraunhofer.de</a:t>
            </a:r>
          </a:p>
        </p:txBody>
      </p:sp>
    </p:spTree>
    <p:extLst>
      <p:ext uri="{BB962C8B-B14F-4D97-AF65-F5344CB8AC3E}">
        <p14:creationId xmlns:p14="http://schemas.microsoft.com/office/powerpoint/2010/main" val="1493152757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969FAB3-F139-4D43-A7C4-4D804D9FD13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79425" y="2255355"/>
            <a:ext cx="11233149" cy="3039294"/>
          </a:xfrm>
        </p:spPr>
        <p:txBody>
          <a:bodyPr/>
          <a:lstStyle/>
          <a:p>
            <a:r>
              <a:rPr lang="de-DE"/>
              <a:t>Vielen Dank für Ihre Aufmerksamkeit</a:t>
            </a:r>
            <a:endParaRPr lang="de-DE" dirty="0"/>
          </a:p>
          <a:p>
            <a:pPr lvl="1"/>
            <a:r>
              <a:rPr lang="de-DE" dirty="0"/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13768982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8FF45249-3E94-4626-8D86-BA35353235A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4E97DF8-C1D4-4738-8989-E78F9E0E989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" y="3243959"/>
            <a:ext cx="5916612" cy="2740916"/>
          </a:xfrm>
        </p:spPr>
        <p:txBody>
          <a:bodyPr/>
          <a:lstStyle/>
          <a:p>
            <a:r>
              <a:rPr lang="de-DE"/>
              <a:t>Subline/Referent/Datum</a:t>
            </a:r>
            <a:br>
              <a:rPr lang="de-DE"/>
            </a:br>
            <a:r>
              <a:rPr lang="de-DE"/>
              <a:t>Frutiger LT Com Bd, 16 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6" name="Logoarea">
            <a:extLst>
              <a:ext uri="{FF2B5EF4-FFF2-40B4-BE49-F238E27FC236}">
                <a16:creationId xmlns:a16="http://schemas.microsoft.com/office/drawing/2014/main" id="{B02279DD-AC55-471B-B382-926F2931DEB0}"/>
              </a:ext>
            </a:extLst>
          </p:cNvPr>
          <p:cNvSpPr/>
          <p:nvPr/>
        </p:nvSpPr>
        <p:spPr bwMode="gray">
          <a:xfrm>
            <a:off x="9192575" y="476250"/>
            <a:ext cx="2520000" cy="900000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r>
              <a:rPr lang="de-DE"/>
              <a:t>Logobereic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734168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7D037E9D-DAE7-487D-A4FB-9017A70BB60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378900C-3DF8-446D-8BFD-EBD50DCA414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75388" y="2965293"/>
            <a:ext cx="5916612" cy="3019582"/>
          </a:xfrm>
          <a:gradFill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9B2AC">
                  <a:alpha val="95000"/>
                </a:srgbClr>
              </a:gs>
            </a:gsLst>
          </a:gradFill>
        </p:spPr>
        <p:txBody>
          <a:bodyPr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, </a:t>
            </a:r>
          </a:p>
          <a:p>
            <a:r>
              <a:rPr lang="de-DE"/>
              <a:t>24 </a:t>
            </a:r>
            <a:r>
              <a:rPr lang="de-DE" dirty="0" err="1"/>
              <a:t>pt</a:t>
            </a:r>
            <a:endParaRPr lang="de-DE" dirty="0"/>
          </a:p>
          <a:p>
            <a:r>
              <a:rPr lang="de-DE"/>
              <a:t>maximal 3 Zeilen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Referent/Datum</a:t>
            </a:r>
            <a:br>
              <a:rPr lang="de-DE"/>
            </a:br>
            <a:r>
              <a:rPr lang="de-DE"/>
              <a:t>Frutiger LT Com Bd, 14 pt, </a:t>
            </a:r>
            <a:br>
              <a:rPr lang="de-DE"/>
            </a:br>
            <a:r>
              <a:rPr lang="de-DE"/>
              <a:t>maximal 3 Zeilen</a:t>
            </a:r>
            <a:endParaRPr lang="de-DE" dirty="0"/>
          </a:p>
        </p:txBody>
      </p:sp>
      <p:sp>
        <p:nvSpPr>
          <p:cNvPr id="9" name="Logoarea">
            <a:extLst>
              <a:ext uri="{FF2B5EF4-FFF2-40B4-BE49-F238E27FC236}">
                <a16:creationId xmlns:a16="http://schemas.microsoft.com/office/drawing/2014/main" id="{AF4C7D2E-36F9-492A-9246-7E4DEAF9C0B3}"/>
              </a:ext>
            </a:extLst>
          </p:cNvPr>
          <p:cNvSpPr/>
          <p:nvPr/>
        </p:nvSpPr>
        <p:spPr bwMode="gray">
          <a:xfrm>
            <a:off x="485775" y="485775"/>
            <a:ext cx="2520000" cy="900000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r>
              <a:rPr lang="de-DE"/>
              <a:t>Logobereic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09339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4A1D0844-EE42-4BA1-978F-C31B518F741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7E28DFE-1DC0-466B-933E-8F0CC5C7A1C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" y="3252679"/>
            <a:ext cx="5916612" cy="2732196"/>
          </a:xfrm>
        </p:spPr>
        <p:txBody>
          <a:bodyPr/>
          <a:lstStyle/>
          <a:p>
            <a:r>
              <a:rPr lang="de-DE"/>
              <a:t>Subline/Referent/Datum</a:t>
            </a:r>
            <a:br>
              <a:rPr lang="de-DE"/>
            </a:br>
            <a:r>
              <a:rPr lang="de-DE"/>
              <a:t>Frutiger LT Com Bd, 14 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/>
              <a:t>24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  <a:p>
            <a:pPr lvl="2"/>
            <a:r>
              <a:rPr lang="de-DE"/>
              <a:t>maximal 3 Zeilen</a:t>
            </a:r>
            <a:endParaRPr lang="de-DE" dirty="0"/>
          </a:p>
        </p:txBody>
      </p:sp>
      <p:sp>
        <p:nvSpPr>
          <p:cNvPr id="8" name="Logoarea">
            <a:extLst>
              <a:ext uri="{FF2B5EF4-FFF2-40B4-BE49-F238E27FC236}">
                <a16:creationId xmlns:a16="http://schemas.microsoft.com/office/drawing/2014/main" id="{132C9434-1205-4EDD-99BD-0AA82A2D3297}"/>
              </a:ext>
            </a:extLst>
          </p:cNvPr>
          <p:cNvSpPr/>
          <p:nvPr/>
        </p:nvSpPr>
        <p:spPr bwMode="gray">
          <a:xfrm>
            <a:off x="9192575" y="476250"/>
            <a:ext cx="2520000" cy="900000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r>
              <a:rPr lang="de-DE"/>
              <a:t>Logobereic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51165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raunhofer_Master_16-9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P_260423_Fraunhofer_Master_16-9.potx" id="{84FA2B15-06B3-4A60-BAF5-A85C6FE95AE4}" vid="{EA34E09A-5447-4AD6-B7AC-7055682B2BA9}"/>
    </a:ext>
  </a:extLst>
</a:theme>
</file>

<file path=ppt/theme/theme2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2C575F93035DC49ACEC4BA479D5C345" ma:contentTypeVersion="2" ma:contentTypeDescription="Ein neues Dokument erstellen." ma:contentTypeScope="" ma:versionID="63167d1e6771e8286c1d51159174c9d2">
  <xsd:schema xmlns:xsd="http://www.w3.org/2001/XMLSchema" xmlns:xs="http://www.w3.org/2001/XMLSchema" xmlns:p="http://schemas.microsoft.com/office/2006/metadata/properties" xmlns:ns2="e85430e1-2a02-464d-9ea0-16ae76420866" targetNamespace="http://schemas.microsoft.com/office/2006/metadata/properties" ma:root="true" ma:fieldsID="58f9840347ac7edb2cf60246186c2118" ns2:_="">
    <xsd:import namespace="e85430e1-2a02-464d-9ea0-16ae7642086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5430e1-2a02-464d-9ea0-16ae764208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C2C50B6-1067-417A-81FE-D1A41986C17E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43EE7905-1AE4-483A-8087-5A84576BC5C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5825797-FA91-4627-AB7A-38637E8A91B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85430e1-2a02-464d-9ea0-16ae7642086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_180623_Fraunhofer_Master_16-9</Template>
  <TotalTime>0</TotalTime>
  <Words>5094</Words>
  <Application>Microsoft Office PowerPoint</Application>
  <PresentationFormat>Breitbild</PresentationFormat>
  <Paragraphs>923</Paragraphs>
  <Slides>62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2</vt:i4>
      </vt:variant>
    </vt:vector>
  </HeadingPairs>
  <TitlesOfParts>
    <vt:vector size="73" baseType="lpstr">
      <vt:lpstr>Arial</vt:lpstr>
      <vt:lpstr>Frutiger LT Com 45 Light</vt:lpstr>
      <vt:lpstr>Frutiger LT Com 65</vt:lpstr>
      <vt:lpstr>Frutiger LT Com 65 Bold</vt:lpstr>
      <vt:lpstr>Frutiger LT Com 75 Black</vt:lpstr>
      <vt:lpstr>Open Sans Semibold</vt:lpstr>
      <vt:lpstr>Segoe UI</vt:lpstr>
      <vt:lpstr>Verdana</vt:lpstr>
      <vt:lpstr>Wingdings</vt:lpstr>
      <vt:lpstr>Fraunhofer_Master_16-9</vt:lpstr>
      <vt:lpstr>think-cell Folie</vt:lpstr>
      <vt:lpstr>Umsetzung von Prozessketten Simulationsmodell und im Versuchsfeld</vt:lpstr>
      <vt:lpstr>Mini-Styleguide</vt:lpstr>
      <vt:lpstr>Mini-Styleguide</vt:lpstr>
      <vt:lpstr>Mini-Styleguide</vt:lpstr>
      <vt:lpstr>Mini-Styleguid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Headline, Frutiger LT Com Bd, 24 pt, Kapiteltrenner</vt:lpstr>
      <vt:lpstr>Headline, Frutiger LT Com Bd, 24 pt, Kapiteltrenner</vt:lpstr>
      <vt:lpstr>PowerPoint-Präsentation</vt:lpstr>
      <vt:lpstr>PowerPoint-Präsentation</vt:lpstr>
      <vt:lpstr>Headline, Frutiger LT Com Bd, 24 pt, Inhaltsverzeichnis</vt:lpstr>
      <vt:lpstr>Headline, Frutiger LT Com Bd, 24 pt</vt:lpstr>
      <vt:lpstr>Headline, Frutiger LT Com Bd, 24 pt</vt:lpstr>
      <vt:lpstr>Headline, Frutiger LT Com Bd, 24 pt, einspaltiger Textblock, kleine Copy</vt:lpstr>
      <vt:lpstr>Headline, Frutiger LT Com Bd, 24 pt, einspaltiger Textblock, große Copy</vt:lpstr>
      <vt:lpstr>Headline, Frutiger LT Com Bd, 24 pt, zweispaltiger Textblock, kleine Copy</vt:lpstr>
      <vt:lpstr>Headline, Frutiger LT Com Bd, 24 pt, zweispaltiger Textblock, große Copy</vt:lpstr>
      <vt:lpstr>PowerPoint-Präsentation</vt:lpstr>
      <vt:lpstr>PowerPoint-Präsentation</vt:lpstr>
      <vt:lpstr>Headline, Frutiger LT Com Bd, 24 pt, einspaltig mit Bild</vt:lpstr>
      <vt:lpstr>Headline, Frutiger LT Com Bd, 24 pt, zweispaltig mit Bildern und Text</vt:lpstr>
      <vt:lpstr>Headline, Frutiger LT Com Bd, 24 pt, zweispaltig mit Infokasten</vt:lpstr>
      <vt:lpstr>Headline, Frutiger LT Com Bd, 24 pt</vt:lpstr>
      <vt:lpstr>Headline, Frutiger LT Com Bd, 24 pt</vt:lpstr>
      <vt:lpstr>Headline, Frutiger LT Com Bd, 24 pt, zweispaltig mit Text und Bildern</vt:lpstr>
      <vt:lpstr>Headline, Frutiger LT Com Bd, 24 pt, zweispaltig mit Text und Grafik</vt:lpstr>
      <vt:lpstr>Headline, Frutiger LT Com Bd, 24 pt, Aufzählung</vt:lpstr>
      <vt:lpstr>Headline, Frutiger LT Com Bd, 24 pt, Aufzählung</vt:lpstr>
      <vt:lpstr>Headline, Frutiger LT Com Bd, 24 pt, dreispaltig</vt:lpstr>
      <vt:lpstr>Headline, Frutiger LT Com Bd, 24 pt, dreispaltig mit Text und Bildern</vt:lpstr>
      <vt:lpstr>Headline, Frutiger LT Com Bd, 24 pt, dreispaltig mit Text und Bildern</vt:lpstr>
      <vt:lpstr>Headline, Frutiger LT Com Bd, 24 pt, vierspaltig mit Text und Bildern</vt:lpstr>
      <vt:lpstr>Headline, Frutiger LT Com Bd, 24 pt, vierspaltig mit Text und Bildern</vt:lpstr>
      <vt:lpstr>Headline, Frutiger LT Com Bd, 24 pt, Ring- und Balkendiagramm, 24 pt</vt:lpstr>
      <vt:lpstr>Headline, Frutiger LT Com Bd, 24 pt, Balkendiagramm </vt:lpstr>
      <vt:lpstr>Headline, Frutiger LT Com Bd, 24 pt, Balkendiagramm </vt:lpstr>
      <vt:lpstr>Headline, Frutiger LT Com Bd, 24 pt, Tabelle</vt:lpstr>
      <vt:lpstr>Headline, Frutiger LT Com Bd, 24 pt, Tabelle</vt:lpstr>
      <vt:lpstr>Headline, Frutiger LT Com Bd, 24 pt, 4-teiliges Kreisdiagramm</vt:lpstr>
      <vt:lpstr>Headline, Frutiger LT Com Bd, 24 pt, 8-teiliges Kreisdiagramm</vt:lpstr>
      <vt:lpstr>Headline, Frutiger LT Com Bd, 24 pt, Zeitplan</vt:lpstr>
      <vt:lpstr>Headline, Frutiger LT Com Bd, 24 pt, Kreislauf</vt:lpstr>
      <vt:lpstr>Headline, Frutiger LT Com Bd, 24 pt, Organigramm</vt:lpstr>
      <vt:lpstr>Headline, Frutiger LT Com Bd, 24 pt, Horizontales Organigramm</vt:lpstr>
      <vt:lpstr>Headline, Frutiger LT Com Bd, 24 pt, Prozess</vt:lpstr>
      <vt:lpstr>Headline, Frutiger LT Com Bd, 24 pt, Prozess</vt:lpstr>
      <vt:lpstr>Headline, Frutiger LT Com Bd, 24 pt, Infografik </vt:lpstr>
      <vt:lpstr>Headline, Frutiger LT Com Bd, 24 pt, allgemeine Icons</vt:lpstr>
      <vt:lpstr>Headline, Frutiger LT Com Bd, 24 pt, Icons der Leitmärkte</vt:lpstr>
      <vt:lpstr>Headline, Frutiger LT Com Bd, 24 pt, Icons Strategische Forschungsfelder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msetzung von Prozessketten Simulationsmodell und im Versuchsfeld</dc:title>
  <dc:creator>Gollee, Christian</dc:creator>
  <cp:lastModifiedBy>Gollee, Christian</cp:lastModifiedBy>
  <cp:revision>3</cp:revision>
  <dcterms:created xsi:type="dcterms:W3CDTF">2024-08-27T12:10:16Z</dcterms:created>
  <dcterms:modified xsi:type="dcterms:W3CDTF">2024-08-27T12:14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2C575F93035DC49ACEC4BA479D5C345</vt:lpwstr>
  </property>
</Properties>
</file>